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drawings/drawing1.xml" ContentType="application/vnd.openxmlformats-officedocument.drawingml.chartshapes+xml"/>
  <Override PartName="/ppt/notesSlides/notesSlide2.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ags/tag5.xml" ContentType="application/vnd.openxmlformats-officedocument.presentationml.tags+xml"/>
  <Override PartName="/ppt/tags/tag6.xml" ContentType="application/vnd.openxmlformats-officedocument.presentationml.tags+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3.xml" ContentType="application/vnd.openxmlformats-officedocument.presentationml.notesSlide+xml"/>
  <Override PartName="/ppt/tags/tag12.xml" ContentType="application/vnd.openxmlformats-officedocument.presentationml.tags+xml"/>
  <Override PartName="/ppt/notesSlides/notesSlide4.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5.xml" ContentType="application/vnd.openxmlformats-officedocument.presentationml.notesSlide+xml"/>
  <Override PartName="/ppt/tags/tag17.xml" ContentType="application/vnd.openxmlformats-officedocument.presentationml.tags+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p:sldMasterIdLst>
    <p:sldMasterId id="2147483660" r:id="rId4"/>
  </p:sldMasterIdLst>
  <p:notesMasterIdLst>
    <p:notesMasterId r:id="rId20"/>
  </p:notesMasterIdLst>
  <p:sldIdLst>
    <p:sldId id="339" r:id="rId5"/>
    <p:sldId id="486" r:id="rId6"/>
    <p:sldId id="558" r:id="rId7"/>
    <p:sldId id="2147483563" r:id="rId8"/>
    <p:sldId id="2147483579" r:id="rId9"/>
    <p:sldId id="548" r:id="rId10"/>
    <p:sldId id="2147483571" r:id="rId11"/>
    <p:sldId id="539" r:id="rId12"/>
    <p:sldId id="2147483582" r:id="rId13"/>
    <p:sldId id="2147483581" r:id="rId14"/>
    <p:sldId id="2147483583" r:id="rId15"/>
    <p:sldId id="2147483584" r:id="rId16"/>
    <p:sldId id="550" r:id="rId17"/>
    <p:sldId id="551" r:id="rId18"/>
    <p:sldId id="301" r:id="rId19"/>
  </p:sldIdLst>
  <p:sldSz cx="12192000" cy="6858000"/>
  <p:notesSz cx="6794500" cy="9931400"/>
  <p:custDataLst>
    <p:tags r:id="rId2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3273" userDrawn="1">
          <p15:clr>
            <a:srgbClr val="A4A3A4"/>
          </p15:clr>
        </p15:guide>
        <p15:guide id="2" orient="horz" pos="2001"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2460E03-7179-797D-D5B9-79A36E563C38}" name="Teneo" initials="TNO" userId="Teneo" providerId="None"/>
  <p188:author id="{649E8707-225E-F6B0-621B-53F1A3A06ECE}" name="Alice Kain" initials="AK" userId="S::alice.kain@asandilimited.com::1948d8d8-ebda-4fd9-a075-6fa236e908fb" providerId="AD"/>
  <p188:author id="{DCF46B43-1A05-9A8C-09B0-1B1CB9F2A797}" name="Bex Hughes" initials="" userId="S::bex.hughes@caledonia.com::c97e3f5f-302c-4479-9227-32d6e7385798" providerId="AD"/>
  <p188:author id="{DC58EA47-ACB7-D950-F016-F9E2E0DC85C1}" name="Rob Memmott" initials="RM" userId="S::rob.memmott@caledonia.com::81da1c05-5045-46e9-a356-fcdab3e78ca9" providerId="AD"/>
  <p188:author id="{91B1A372-1352-CA5B-C147-544A71B70449}" name="Tejal Patel" initials="TP" userId="S::Tejal.Patel@caledonia.com::176e7c83-8784-40d6-b691-cf92e99eac3d" providerId="AD"/>
  <p188:author id="{38C9D4A7-9AAC-0BEE-9A45-8E8D9C777818}" name="Laura Houghton" initials="LH" userId="S::Laura.Houghton@caledonia.com::f35a8afe-3e0a-4923-9e32-f259724a69ec" providerId="AD"/>
  <p188:author id="{B99661D1-5F4C-06A4-2FBF-B1F7350CD6D6}" name="Alice Kain" initials="AK" userId="S::alice.kain_asandilimited.com#ext#@caledoniagroupservices.onmicrosoft.com::4b4eee70-5403-464d-971e-75a3abff5f69" providerId="AD"/>
  <p188:author id="{F0944EDB-CDBE-FE1B-2AD9-DF4D98533A7F}" name="Tom Leader" initials="TL" userId="S::Tom.Leader@caledonia.com::0b085d79-2173-4aed-b27b-fee31387f7fc" providerId="AD"/>
  <p188:author id="{BBDE4DF9-5FDE-9FD2-B984-66354C54A2DF}" name="Ellie Bryant" initials="EB" userId="S::Ellie.Bryant@caledonia.com::840da72a-787f-403f-b9a8-931c97a28afe"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Houghton,  Laura" initials="HL" lastIdx="9" clrIdx="0">
    <p:extLst>
      <p:ext uri="{19B8F6BF-5375-455C-9EA6-DF929625EA0E}">
        <p15:presenceInfo xmlns:p15="http://schemas.microsoft.com/office/powerpoint/2012/main" userId="S-1-5-21-3721739343-1444496906-1087308765-3205" providerId="AD"/>
      </p:ext>
    </p:extLst>
  </p:cmAuthor>
  <p:cmAuthor id="2" name="Bennett, Nick" initials="BN" lastIdx="6" clrIdx="1">
    <p:extLst>
      <p:ext uri="{19B8F6BF-5375-455C-9EA6-DF929625EA0E}">
        <p15:presenceInfo xmlns:p15="http://schemas.microsoft.com/office/powerpoint/2012/main" userId="S-1-5-21-3721739343-1444496906-1087308765-115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00000"/>
    <a:srgbClr val="C3AC78"/>
    <a:srgbClr val="F3EEE4"/>
    <a:srgbClr val="247E74"/>
    <a:srgbClr val="004A87"/>
    <a:srgbClr val="898A92"/>
    <a:srgbClr val="4D4E53"/>
    <a:srgbClr val="BB202B"/>
    <a:srgbClr val="00286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F98CA7B-88F8-4927-A2B0-794D18A48F25}" v="143" dt="2025-05-20T19:46:56.205"/>
    <p1510:client id="{9A049407-E6A1-4A25-8AE2-0C94D34EF7F3}" v="171" dt="2025-05-20T13:57:49.97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180" autoAdjust="0"/>
    <p:restoredTop sz="94411" autoAdjust="0"/>
  </p:normalViewPr>
  <p:slideViewPr>
    <p:cSldViewPr snapToGrid="0">
      <p:cViewPr varScale="1">
        <p:scale>
          <a:sx n="100" d="100"/>
          <a:sy n="100" d="100"/>
        </p:scale>
        <p:origin x="60" y="92"/>
      </p:cViewPr>
      <p:guideLst>
        <p:guide pos="3273"/>
        <p:guide orient="horz" pos="2001"/>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presProps" Target="presProps.xml"/><Relationship Id="rId28" Type="http://schemas.microsoft.com/office/2018/10/relationships/authors" Target="author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commentAuthors" Target="commentAuthors.xml"/><Relationship Id="rId27" Type="http://schemas.microsoft.com/office/2015/10/relationships/revisionInfo" Target="revisionInfo.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11.xml"/><Relationship Id="rId1" Type="http://schemas.microsoft.com/office/2011/relationships/chartStyle" Target="style1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https://caledoniagroupservices-my.sharepoint.com/personal/lukas_brueckner_caledonia_com/Documents/NON-INVESTING%20WORK/2025-05%20HILS%20Slide%20for%20Mat/Submission%204/HILS%20vs%20ASX%20data%20since%20initiation_IRR%20calc.xlsx" TargetMode="Externa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chartUserShapes" Target="../drawings/drawing1.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file:///\\Caledonia\SharePoint\Finance\PlanningandAnalysis\FY24\FY24%20Year%20End\Watsco%20-%20Share%20price%20and%20chartexe.xlsx" TargetMode="External"/><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095077224257842E-2"/>
          <c:y val="0.18114774114774115"/>
          <c:w val="0.88770250253371796"/>
          <c:h val="0.70555180602424694"/>
        </c:manualLayout>
      </c:layout>
      <c:barChart>
        <c:barDir val="col"/>
        <c:grouping val="clustered"/>
        <c:varyColors val="0"/>
        <c:ser>
          <c:idx val="0"/>
          <c:order val="0"/>
          <c:tx>
            <c:strRef>
              <c:f>'At a glance'!$A$146</c:f>
              <c:strCache>
                <c:ptCount val="1"/>
                <c:pt idx="0">
                  <c:v>Annual dividend/share over ten years (p)</c:v>
                </c:pt>
              </c:strCache>
            </c:strRef>
          </c:tx>
          <c:spPr>
            <a:solidFill>
              <a:schemeClr val="accent1"/>
            </a:solidFill>
            <a:ln>
              <a:noFill/>
            </a:ln>
            <a:effectLst/>
          </c:spPr>
          <c:invertIfNegative val="0"/>
          <c:cat>
            <c:numRef>
              <c:f>'At a glance'!$B$145:$V$145</c:f>
              <c:numCache>
                <c:formatCode>General</c:formatCode>
                <c:ptCount val="21"/>
                <c:pt idx="0">
                  <c:v>2005</c:v>
                </c:pt>
                <c:pt idx="5">
                  <c:v>2010</c:v>
                </c:pt>
                <c:pt idx="10">
                  <c:v>2015</c:v>
                </c:pt>
                <c:pt idx="15">
                  <c:v>2020</c:v>
                </c:pt>
                <c:pt idx="20">
                  <c:v>2025</c:v>
                </c:pt>
              </c:numCache>
            </c:numRef>
          </c:cat>
          <c:val>
            <c:numRef>
              <c:f>'At a glance'!$B$146:$V$146</c:f>
              <c:numCache>
                <c:formatCode>General</c:formatCode>
                <c:ptCount val="21"/>
                <c:pt idx="0">
                  <c:v>28.2</c:v>
                </c:pt>
                <c:pt idx="1">
                  <c:v>29.6</c:v>
                </c:pt>
                <c:pt idx="2">
                  <c:v>31.1</c:v>
                </c:pt>
                <c:pt idx="3">
                  <c:v>32.5</c:v>
                </c:pt>
                <c:pt idx="4">
                  <c:v>33.799999999999997</c:v>
                </c:pt>
                <c:pt idx="5">
                  <c:v>35.299999999999997</c:v>
                </c:pt>
                <c:pt idx="6">
                  <c:v>37.1</c:v>
                </c:pt>
                <c:pt idx="7">
                  <c:v>42.9</c:v>
                </c:pt>
                <c:pt idx="8">
                  <c:v>47.2</c:v>
                </c:pt>
                <c:pt idx="9" formatCode="_-* #,##0.0_-;\-* #,##0.0_-;_-* &quot;-&quot;??_-;_-@_-">
                  <c:v>49.1</c:v>
                </c:pt>
                <c:pt idx="10" formatCode="_-* #,##0.0_-;\-* #,##0.0_-;_-* &quot;-&quot;??_-;_-@_-">
                  <c:v>50.6</c:v>
                </c:pt>
                <c:pt idx="11" formatCode="_-* #,##0.0_-;\-* #,##0.0_-;_-* &quot;-&quot;??_-;_-@_-">
                  <c:v>52.6</c:v>
                </c:pt>
                <c:pt idx="12" formatCode="_-* #,##0.0_-;\-* #,##0.0_-;_-* &quot;-&quot;??_-;_-@_-">
                  <c:v>54.8</c:v>
                </c:pt>
                <c:pt idx="13" formatCode="_-* #,##0.0_-;\-* #,##0.0_-;_-* &quot;-&quot;??_-;_-@_-">
                  <c:v>57</c:v>
                </c:pt>
                <c:pt idx="14" formatCode="_-* #,##0.0_-;\-* #,##0.0_-;_-* &quot;-&quot;??_-;_-@_-">
                  <c:v>59.3</c:v>
                </c:pt>
                <c:pt idx="15" formatCode="_-* #,##0.0_-;\-* #,##0.0_-;_-* &quot;-&quot;??_-;_-@_-">
                  <c:v>61.1</c:v>
                </c:pt>
                <c:pt idx="16" formatCode="_-* #,##0.0_-;\-* #,##0.0_-;_-* &quot;-&quot;??_-;_-@_-">
                  <c:v>62.9</c:v>
                </c:pt>
                <c:pt idx="17" formatCode="_-* #,##0.0_-;\-* #,##0.0_-;_-* &quot;-&quot;??_-;_-@_-">
                  <c:v>64.8</c:v>
                </c:pt>
                <c:pt idx="18" formatCode="_-* #,##0.0_-;\-* #,##0.0_-;_-* &quot;-&quot;??_-;_-@_-">
                  <c:v>67.400000000000006</c:v>
                </c:pt>
                <c:pt idx="19" formatCode="_-* #,##0.0_-;\-* #,##0.0_-;_-* &quot;-&quot;??_-;_-@_-">
                  <c:v>70.400000000000006</c:v>
                </c:pt>
                <c:pt idx="20" formatCode="_-* #,##0.0_-;\-* #,##0.0_-;_-* &quot;-&quot;??_-;_-@_-">
                  <c:v>73.599999999999994</c:v>
                </c:pt>
              </c:numCache>
            </c:numRef>
          </c:val>
          <c:extLst>
            <c:ext xmlns:c16="http://schemas.microsoft.com/office/drawing/2014/chart" uri="{C3380CC4-5D6E-409C-BE32-E72D297353CC}">
              <c16:uniqueId val="{00000000-B694-44DA-9F87-8B4134C722FA}"/>
            </c:ext>
          </c:extLst>
        </c:ser>
        <c:dLbls>
          <c:showLegendKey val="0"/>
          <c:showVal val="0"/>
          <c:showCatName val="0"/>
          <c:showSerName val="0"/>
          <c:showPercent val="0"/>
          <c:showBubbleSize val="0"/>
        </c:dLbls>
        <c:gapWidth val="219"/>
        <c:overlap val="-27"/>
        <c:axId val="921105568"/>
        <c:axId val="920525088"/>
      </c:barChart>
      <c:catAx>
        <c:axId val="9211055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920525088"/>
        <c:crosses val="autoZero"/>
        <c:auto val="1"/>
        <c:lblAlgn val="ctr"/>
        <c:lblOffset val="100"/>
        <c:noMultiLvlLbl val="0"/>
      </c:catAx>
      <c:valAx>
        <c:axId val="92052508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9211055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560738890852517"/>
          <c:y val="0.25127145492573133"/>
          <c:w val="0.86699386912163301"/>
          <c:h val="0.58667449224927626"/>
        </c:manualLayout>
      </c:layout>
      <c:barChart>
        <c:barDir val="col"/>
        <c:grouping val="clustered"/>
        <c:varyColors val="0"/>
        <c:ser>
          <c:idx val="0"/>
          <c:order val="0"/>
          <c:tx>
            <c:strRef>
              <c:f>Sheet1!$B$1</c:f>
              <c:strCache>
                <c:ptCount val="1"/>
                <c:pt idx="0">
                  <c:v>Private Capital TR</c:v>
                </c:pt>
              </c:strCache>
            </c:strRef>
          </c:tx>
          <c:spPr>
            <a:solidFill>
              <a:schemeClr val="accent2"/>
            </a:solidFill>
            <a:ln>
              <a:noFill/>
            </a:ln>
            <a:effectLst/>
          </c:spPr>
          <c:invertIfNegative val="0"/>
          <c:dLbls>
            <c:dLbl>
              <c:idx val="0"/>
              <c:layout>
                <c:manualLayout>
                  <c:x val="0"/>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E1A4-40F2-9C48-7A0578667067}"/>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Over 3 years</c:v>
                </c:pt>
                <c:pt idx="1">
                  <c:v>Over 5 years</c:v>
                </c:pt>
                <c:pt idx="2">
                  <c:v>Over 10 years</c:v>
                </c:pt>
              </c:strCache>
            </c:strRef>
          </c:cat>
          <c:val>
            <c:numRef>
              <c:f>Sheet1!$B$2:$B$4</c:f>
              <c:numCache>
                <c:formatCode>0%</c:formatCode>
                <c:ptCount val="3"/>
                <c:pt idx="0">
                  <c:v>8.1000000000000003E-2</c:v>
                </c:pt>
                <c:pt idx="1">
                  <c:v>0.192</c:v>
                </c:pt>
                <c:pt idx="2">
                  <c:v>0.124</c:v>
                </c:pt>
              </c:numCache>
            </c:numRef>
          </c:val>
          <c:extLst>
            <c:ext xmlns:c16="http://schemas.microsoft.com/office/drawing/2014/chart" uri="{C3380CC4-5D6E-409C-BE32-E72D297353CC}">
              <c16:uniqueId val="{00000001-E1A4-40F2-9C48-7A0578667067}"/>
            </c:ext>
          </c:extLst>
        </c:ser>
        <c:dLbls>
          <c:showLegendKey val="0"/>
          <c:showVal val="0"/>
          <c:showCatName val="0"/>
          <c:showSerName val="0"/>
          <c:showPercent val="0"/>
          <c:showBubbleSize val="0"/>
        </c:dLbls>
        <c:gapWidth val="120"/>
        <c:overlap val="-35"/>
        <c:axId val="819828000"/>
        <c:axId val="819834888"/>
      </c:barChart>
      <c:catAx>
        <c:axId val="819828000"/>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819834888"/>
        <c:crosses val="autoZero"/>
        <c:auto val="1"/>
        <c:lblAlgn val="ctr"/>
        <c:lblOffset val="100"/>
        <c:noMultiLvlLbl val="0"/>
      </c:catAx>
      <c:valAx>
        <c:axId val="819834888"/>
        <c:scaling>
          <c:orientation val="minMax"/>
          <c:max val="0.2"/>
        </c:scaling>
        <c:delete val="0"/>
        <c:axPos val="l"/>
        <c:majorGridlines>
          <c:spPr>
            <a:ln w="6350" cap="flat" cmpd="sng" algn="ctr">
              <a:solidFill>
                <a:schemeClr val="bg1">
                  <a:lumMod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819828000"/>
        <c:crosses val="autoZero"/>
        <c:crossBetween val="between"/>
        <c:majorUnit val="5.000000000000001E-2"/>
      </c:valAx>
      <c:spPr>
        <a:noFill/>
        <a:ln>
          <a:noFill/>
        </a:ln>
        <a:effectLst/>
      </c:spPr>
    </c:plotArea>
    <c:plotVisOnly val="1"/>
    <c:dispBlanksAs val="gap"/>
    <c:showDLblsOverMax val="0"/>
  </c:chart>
  <c:spPr>
    <a:noFill/>
    <a:ln>
      <a:noFill/>
    </a:ln>
    <a:effectLst/>
  </c:spPr>
  <c:txPr>
    <a:bodyPr/>
    <a:lstStyle/>
    <a:p>
      <a:pPr>
        <a:defRPr sz="1000"/>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560756015154001"/>
          <c:y val="0.17755313311578369"/>
          <c:w val="0.86699386912163301"/>
          <c:h val="0.60962265498267343"/>
        </c:manualLayout>
      </c:layout>
      <c:barChart>
        <c:barDir val="col"/>
        <c:grouping val="clustered"/>
        <c:varyColors val="0"/>
        <c:ser>
          <c:idx val="0"/>
          <c:order val="0"/>
          <c:tx>
            <c:strRef>
              <c:f>Sheet1!$B$1</c:f>
              <c:strCache>
                <c:ptCount val="1"/>
                <c:pt idx="0">
                  <c:v>Public Companies Total</c:v>
                </c:pt>
              </c:strCache>
            </c:strRef>
          </c:tx>
          <c:spPr>
            <a:solidFill>
              <a:schemeClr val="accent3"/>
            </a:solidFill>
            <a:ln>
              <a:noFill/>
            </a:ln>
            <a:effectLst/>
          </c:spPr>
          <c:invertIfNegative val="0"/>
          <c:dLbls>
            <c:dLbl>
              <c:idx val="0"/>
              <c:layout>
                <c:manualLayout>
                  <c:x val="0"/>
                  <c:y val="2.447996459464648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FE09-4B80-89B7-98F2AEF96B06}"/>
                </c:ext>
              </c:extLst>
            </c:dLbl>
            <c:dLbl>
              <c:idx val="1"/>
              <c:layout>
                <c:manualLayout>
                  <c:x val="-6.6261931171187607E-17"/>
                  <c:y val="1.468805674535219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FE09-4B80-89B7-98F2AEF96B06}"/>
                </c:ext>
              </c:extLst>
            </c:dLbl>
            <c:dLbl>
              <c:idx val="2"/>
              <c:layout>
                <c:manualLayout>
                  <c:x val="3.6143289073456825E-3"/>
                  <c:y val="1.755324368739746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CDA0-45DA-B459-EBFB9FB156D6}"/>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Over 3 years</c:v>
                </c:pt>
                <c:pt idx="1">
                  <c:v>Over 5 years</c:v>
                </c:pt>
                <c:pt idx="2">
                  <c:v>Over 10 years</c:v>
                </c:pt>
              </c:strCache>
            </c:strRef>
          </c:cat>
          <c:val>
            <c:numRef>
              <c:f>Sheet1!$B$2:$B$4</c:f>
              <c:numCache>
                <c:formatCode>0.0%</c:formatCode>
                <c:ptCount val="3"/>
                <c:pt idx="0">
                  <c:v>5.5E-2</c:v>
                </c:pt>
                <c:pt idx="1">
                  <c:v>0.11799999999999999</c:v>
                </c:pt>
                <c:pt idx="2">
                  <c:v>8.4000000000000005E-2</c:v>
                </c:pt>
              </c:numCache>
            </c:numRef>
          </c:val>
          <c:extLst>
            <c:ext xmlns:c16="http://schemas.microsoft.com/office/drawing/2014/chart" uri="{C3380CC4-5D6E-409C-BE32-E72D297353CC}">
              <c16:uniqueId val="{00000002-FE09-4B80-89B7-98F2AEF96B06}"/>
            </c:ext>
          </c:extLst>
        </c:ser>
        <c:dLbls>
          <c:showLegendKey val="0"/>
          <c:showVal val="0"/>
          <c:showCatName val="0"/>
          <c:showSerName val="0"/>
          <c:showPercent val="0"/>
          <c:showBubbleSize val="0"/>
        </c:dLbls>
        <c:gapWidth val="120"/>
        <c:overlap val="-35"/>
        <c:axId val="819828000"/>
        <c:axId val="819834888"/>
      </c:barChart>
      <c:catAx>
        <c:axId val="819828000"/>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819834888"/>
        <c:crosses val="autoZero"/>
        <c:auto val="1"/>
        <c:lblAlgn val="ctr"/>
        <c:lblOffset val="100"/>
        <c:noMultiLvlLbl val="0"/>
      </c:catAx>
      <c:valAx>
        <c:axId val="819834888"/>
        <c:scaling>
          <c:orientation val="minMax"/>
          <c:max val="0.2"/>
        </c:scaling>
        <c:delete val="0"/>
        <c:axPos val="l"/>
        <c:majorGridlines>
          <c:spPr>
            <a:ln w="6350" cap="flat" cmpd="sng" algn="ctr">
              <a:solidFill>
                <a:schemeClr val="bg1">
                  <a:lumMod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819828000"/>
        <c:crosses val="autoZero"/>
        <c:crossBetween val="between"/>
        <c:majorUnit val="5.000000000000001E-2"/>
      </c:valAx>
      <c:spPr>
        <a:noFill/>
        <a:ln>
          <a:noFill/>
        </a:ln>
        <a:effectLst/>
      </c:spPr>
    </c:plotArea>
    <c:legend>
      <c:legendPos val="t"/>
      <c:layout>
        <c:manualLayout>
          <c:xMode val="edge"/>
          <c:yMode val="edge"/>
          <c:x val="0.12496841019616414"/>
          <c:y val="0.21063892424876954"/>
          <c:w val="0.76452021064422704"/>
          <c:h val="9.6217575450153164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sz="1000"/>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At a glance'!$B$97</c:f>
              <c:strCache>
                <c:ptCount val="1"/>
                <c:pt idx="0">
                  <c:v>Caledonia NAV TR</c:v>
                </c:pt>
              </c:strCache>
            </c:strRef>
          </c:tx>
          <c:spPr>
            <a:ln w="28575" cap="rnd">
              <a:solidFill>
                <a:schemeClr val="accent1"/>
              </a:solidFill>
              <a:round/>
            </a:ln>
            <a:effectLst/>
          </c:spPr>
          <c:marker>
            <c:symbol val="none"/>
          </c:marker>
          <c:cat>
            <c:numRef>
              <c:f>'At a glance'!$C$96:$AR$96</c:f>
              <c:numCache>
                <c:formatCode>General</c:formatCode>
                <c:ptCount val="42"/>
                <c:pt idx="0">
                  <c:v>2005</c:v>
                </c:pt>
                <c:pt idx="11" formatCode="0">
                  <c:v>2010</c:v>
                </c:pt>
                <c:pt idx="21" formatCode="0">
                  <c:v>2015</c:v>
                </c:pt>
                <c:pt idx="31" formatCode="0">
                  <c:v>2020</c:v>
                </c:pt>
                <c:pt idx="41" formatCode="0">
                  <c:v>2025</c:v>
                </c:pt>
              </c:numCache>
            </c:numRef>
          </c:cat>
          <c:val>
            <c:numRef>
              <c:f>'At a glance'!$C$97:$AR$97</c:f>
              <c:numCache>
                <c:formatCode>General</c:formatCode>
                <c:ptCount val="42"/>
                <c:pt idx="0">
                  <c:v>135.85460290133264</c:v>
                </c:pt>
                <c:pt idx="1">
                  <c:v>135.85460290133264</c:v>
                </c:pt>
                <c:pt idx="2" formatCode="0">
                  <c:v>157.02946660618352</c:v>
                </c:pt>
                <c:pt idx="3" formatCode="0">
                  <c:v>184.6486178707155</c:v>
                </c:pt>
                <c:pt idx="4" formatCode="0">
                  <c:v>188.17796177233242</c:v>
                </c:pt>
                <c:pt idx="5" formatCode="0">
                  <c:v>207.11174319889335</c:v>
                </c:pt>
                <c:pt idx="6" formatCode="0">
                  <c:v>204.82784174694154</c:v>
                </c:pt>
                <c:pt idx="7" formatCode="0">
                  <c:v>200.39987391589378</c:v>
                </c:pt>
                <c:pt idx="8" formatCode="0">
                  <c:v>180.2900299886432</c:v>
                </c:pt>
                <c:pt idx="9" formatCode="0">
                  <c:v>147.42437019125404</c:v>
                </c:pt>
                <c:pt idx="10" formatCode="0">
                  <c:v>186.49479938182395</c:v>
                </c:pt>
                <c:pt idx="11" formatCode="0">
                  <c:v>198.68863314758116</c:v>
                </c:pt>
                <c:pt idx="12" formatCode="0">
                  <c:v>205.72185909970796</c:v>
                </c:pt>
                <c:pt idx="13" formatCode="0">
                  <c:v>212.5791369586353</c:v>
                </c:pt>
                <c:pt idx="14" formatCode="0">
                  <c:v>186.43945164836197</c:v>
                </c:pt>
                <c:pt idx="15" formatCode="0">
                  <c:v>197.70213694506174</c:v>
                </c:pt>
                <c:pt idx="16" formatCode="0">
                  <c:v>205.24082347564323</c:v>
                </c:pt>
                <c:pt idx="17" formatCode="0">
                  <c:v>235.20097625180102</c:v>
                </c:pt>
                <c:pt idx="18" formatCode="0">
                  <c:v>240.05592226013394</c:v>
                </c:pt>
                <c:pt idx="19" formatCode="0">
                  <c:v>270.8680798304033</c:v>
                </c:pt>
                <c:pt idx="20" formatCode="0">
                  <c:v>283.33481153807867</c:v>
                </c:pt>
                <c:pt idx="21" formatCode="0">
                  <c:v>309.34224441076066</c:v>
                </c:pt>
                <c:pt idx="22" formatCode="0">
                  <c:v>297.54974216557292</c:v>
                </c:pt>
                <c:pt idx="23" formatCode="0">
                  <c:v>317.57505148792717</c:v>
                </c:pt>
                <c:pt idx="24" formatCode="0">
                  <c:v>338.78335077414522</c:v>
                </c:pt>
                <c:pt idx="25" formatCode="0">
                  <c:v>374.88300562472187</c:v>
                </c:pt>
                <c:pt idx="26" formatCode="0">
                  <c:v>379.78533573938506</c:v>
                </c:pt>
                <c:pt idx="27" formatCode="0">
                  <c:v>380.05440943337254</c:v>
                </c:pt>
                <c:pt idx="28" formatCode="0">
                  <c:v>417.33227957633312</c:v>
                </c:pt>
                <c:pt idx="29" formatCode="0">
                  <c:v>421.36569154644457</c:v>
                </c:pt>
                <c:pt idx="30" formatCode="0">
                  <c:v>442.02318316353251</c:v>
                </c:pt>
                <c:pt idx="31" formatCode="0">
                  <c:v>387.08125759655093</c:v>
                </c:pt>
                <c:pt idx="32" formatCode="0">
                  <c:v>427.51674677884841</c:v>
                </c:pt>
                <c:pt idx="33" formatCode="0">
                  <c:v>487.17538713883039</c:v>
                </c:pt>
                <c:pt idx="34" formatCode="0">
                  <c:v>565.3718887504657</c:v>
                </c:pt>
                <c:pt idx="35" formatCode="0">
                  <c:v>622.90268507327721</c:v>
                </c:pt>
                <c:pt idx="36" formatCode="0">
                  <c:v>650.99632218101397</c:v>
                </c:pt>
                <c:pt idx="37" formatCode="0">
                  <c:v>657.1181608400799</c:v>
                </c:pt>
                <c:pt idx="38" formatCode="0">
                  <c:v>681.25951638571405</c:v>
                </c:pt>
                <c:pt idx="39" formatCode="0">
                  <c:v>705.57739038536772</c:v>
                </c:pt>
                <c:pt idx="40" formatCode="0">
                  <c:v>709.35376575889006</c:v>
                </c:pt>
                <c:pt idx="41" formatCode="0">
                  <c:v>729.06603510085824</c:v>
                </c:pt>
              </c:numCache>
            </c:numRef>
          </c:val>
          <c:smooth val="0"/>
          <c:extLst>
            <c:ext xmlns:c16="http://schemas.microsoft.com/office/drawing/2014/chart" uri="{C3380CC4-5D6E-409C-BE32-E72D297353CC}">
              <c16:uniqueId val="{00000000-6BB7-4ADA-AD7F-B70F4FC81F5D}"/>
            </c:ext>
          </c:extLst>
        </c:ser>
        <c:ser>
          <c:idx val="2"/>
          <c:order val="1"/>
          <c:tx>
            <c:strRef>
              <c:f>'At a glance'!$B$99</c:f>
              <c:strCache>
                <c:ptCount val="1"/>
                <c:pt idx="0">
                  <c:v>CPIH+4.5%</c:v>
                </c:pt>
              </c:strCache>
            </c:strRef>
          </c:tx>
          <c:spPr>
            <a:ln w="28575" cap="rnd">
              <a:solidFill>
                <a:schemeClr val="accent3"/>
              </a:solidFill>
              <a:round/>
            </a:ln>
            <a:effectLst/>
          </c:spPr>
          <c:marker>
            <c:symbol val="none"/>
          </c:marker>
          <c:cat>
            <c:numRef>
              <c:f>'At a glance'!$C$96:$AR$96</c:f>
              <c:numCache>
                <c:formatCode>General</c:formatCode>
                <c:ptCount val="42"/>
                <c:pt idx="0">
                  <c:v>2005</c:v>
                </c:pt>
                <c:pt idx="11" formatCode="0">
                  <c:v>2010</c:v>
                </c:pt>
                <c:pt idx="21" formatCode="0">
                  <c:v>2015</c:v>
                </c:pt>
                <c:pt idx="31" formatCode="0">
                  <c:v>2020</c:v>
                </c:pt>
                <c:pt idx="41" formatCode="0">
                  <c:v>2025</c:v>
                </c:pt>
              </c:numCache>
            </c:numRef>
          </c:cat>
          <c:val>
            <c:numRef>
              <c:f>'At a glance'!$C$99:$AR$99</c:f>
              <c:numCache>
                <c:formatCode>General</c:formatCode>
                <c:ptCount val="42"/>
                <c:pt idx="0">
                  <c:v>109.33534084117558</c:v>
                </c:pt>
                <c:pt idx="1">
                  <c:v>109.33534084117558</c:v>
                </c:pt>
                <c:pt idx="2" formatCode="0">
                  <c:v>113.26610612141539</c:v>
                </c:pt>
                <c:pt idx="3" formatCode="0">
                  <c:v>116.57385904739652</c:v>
                </c:pt>
                <c:pt idx="4" formatCode="0">
                  <c:v>121.34376080826603</c:v>
                </c:pt>
                <c:pt idx="5" formatCode="0">
                  <c:v>125.41063603798381</c:v>
                </c:pt>
                <c:pt idx="6" formatCode="0">
                  <c:v>129.29638822783329</c:v>
                </c:pt>
                <c:pt idx="7" formatCode="0">
                  <c:v>134.45990662094741</c:v>
                </c:pt>
                <c:pt idx="8" formatCode="0">
                  <c:v>141.56317338045565</c:v>
                </c:pt>
                <c:pt idx="9" formatCode="0">
                  <c:v>144.45517768492132</c:v>
                </c:pt>
                <c:pt idx="10" formatCode="0">
                  <c:v>149.41351099923469</c:v>
                </c:pt>
                <c:pt idx="11" formatCode="0">
                  <c:v>154.64547661216392</c:v>
                </c:pt>
                <c:pt idx="12" formatCode="0">
                  <c:v>159.84364338437928</c:v>
                </c:pt>
                <c:pt idx="13" formatCode="0">
                  <c:v>167.25098751662173</c:v>
                </c:pt>
                <c:pt idx="14" formatCode="0">
                  <c:v>174.47293457493532</c:v>
                </c:pt>
                <c:pt idx="15" formatCode="0">
                  <c:v>180.1529239077405</c:v>
                </c:pt>
                <c:pt idx="16" formatCode="0">
                  <c:v>186.10546712445824</c:v>
                </c:pt>
                <c:pt idx="17" formatCode="0">
                  <c:v>192.99140889985816</c:v>
                </c:pt>
                <c:pt idx="18" formatCode="0">
                  <c:v>199.05085517234357</c:v>
                </c:pt>
                <c:pt idx="19" formatCode="0">
                  <c:v>204.76068045411421</c:v>
                </c:pt>
                <c:pt idx="20" formatCode="0">
                  <c:v>210.69139896368972</c:v>
                </c:pt>
                <c:pt idx="21" formatCode="0">
                  <c:v>214.69674376383983</c:v>
                </c:pt>
                <c:pt idx="22" formatCode="0">
                  <c:v>220.701153261435</c:v>
                </c:pt>
                <c:pt idx="23" formatCode="0">
                  <c:v>226.04461083043955</c:v>
                </c:pt>
                <c:pt idx="24" formatCode="0">
                  <c:v>233.54217090388033</c:v>
                </c:pt>
                <c:pt idx="25" formatCode="0">
                  <c:v>241.72972768953977</c:v>
                </c:pt>
                <c:pt idx="26" formatCode="0">
                  <c:v>250.90928754137295</c:v>
                </c:pt>
                <c:pt idx="27" formatCode="0">
                  <c:v>258.33679904792848</c:v>
                </c:pt>
                <c:pt idx="28" formatCode="0">
                  <c:v>268.02173776746503</c:v>
                </c:pt>
                <c:pt idx="29" formatCode="0">
                  <c:v>274.90833679283742</c:v>
                </c:pt>
                <c:pt idx="30" formatCode="0">
                  <c:v>284.77405155162307</c:v>
                </c:pt>
                <c:pt idx="31" formatCode="0">
                  <c:v>291.7097567784017</c:v>
                </c:pt>
                <c:pt idx="32" formatCode="0">
                  <c:v>299.79855283962866</c:v>
                </c:pt>
                <c:pt idx="33" formatCode="0">
                  <c:v>307.75214201632309</c:v>
                </c:pt>
                <c:pt idx="34" formatCode="0">
                  <c:v>322.43985043652322</c:v>
                </c:pt>
                <c:pt idx="35" formatCode="0">
                  <c:v>341.61674706771828</c:v>
                </c:pt>
                <c:pt idx="36" formatCode="0">
                  <c:v>366.65818945225357</c:v>
                </c:pt>
                <c:pt idx="37" formatCode="0">
                  <c:v>388.63385506235983</c:v>
                </c:pt>
                <c:pt idx="38" formatCode="0">
                  <c:v>407.52804788985014</c:v>
                </c:pt>
                <c:pt idx="39" formatCode="0">
                  <c:v>421.39971943235298</c:v>
                </c:pt>
                <c:pt idx="40" formatCode="0">
                  <c:v>436.99630392769643</c:v>
                </c:pt>
                <c:pt idx="41" formatCode="0">
                  <c:v>453.74759151218331</c:v>
                </c:pt>
              </c:numCache>
            </c:numRef>
          </c:val>
          <c:smooth val="0"/>
          <c:extLst>
            <c:ext xmlns:c16="http://schemas.microsoft.com/office/drawing/2014/chart" uri="{C3380CC4-5D6E-409C-BE32-E72D297353CC}">
              <c16:uniqueId val="{00000002-6BB7-4ADA-AD7F-B70F4FC81F5D}"/>
            </c:ext>
          </c:extLst>
        </c:ser>
        <c:dLbls>
          <c:showLegendKey val="0"/>
          <c:showVal val="0"/>
          <c:showCatName val="0"/>
          <c:showSerName val="0"/>
          <c:showPercent val="0"/>
          <c:showBubbleSize val="0"/>
        </c:dLbls>
        <c:smooth val="0"/>
        <c:axId val="695751280"/>
        <c:axId val="695753680"/>
      </c:lineChart>
      <c:catAx>
        <c:axId val="6957512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95753680"/>
        <c:crosses val="autoZero"/>
        <c:auto val="1"/>
        <c:lblAlgn val="ctr"/>
        <c:lblOffset val="100"/>
        <c:noMultiLvlLbl val="0"/>
      </c:catAx>
      <c:valAx>
        <c:axId val="69575368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95751280"/>
        <c:crossesAt val="1"/>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ince inception'!$F$7</c:f>
              <c:strCache>
                <c:ptCount val="1"/>
                <c:pt idx="0">
                  <c:v>Hill &amp; Smith (Total Return indexed to 100)</c:v>
                </c:pt>
              </c:strCache>
            </c:strRef>
          </c:tx>
          <c:spPr>
            <a:ln w="28575" cap="rnd">
              <a:solidFill>
                <a:schemeClr val="accent1"/>
              </a:solidFill>
              <a:round/>
            </a:ln>
            <a:effectLst/>
          </c:spPr>
          <c:marker>
            <c:symbol val="none"/>
          </c:marker>
          <c:cat>
            <c:numRef>
              <c:f>'since inception'!$E$8:$E$3444</c:f>
              <c:numCache>
                <c:formatCode>m/d/yyyy</c:formatCode>
                <c:ptCount val="3437"/>
                <c:pt idx="0">
                  <c:v>45747</c:v>
                </c:pt>
                <c:pt idx="1">
                  <c:v>45744</c:v>
                </c:pt>
                <c:pt idx="2">
                  <c:v>45743</c:v>
                </c:pt>
                <c:pt idx="3">
                  <c:v>45742</c:v>
                </c:pt>
                <c:pt idx="4">
                  <c:v>45741</c:v>
                </c:pt>
                <c:pt idx="5">
                  <c:v>45740</c:v>
                </c:pt>
                <c:pt idx="6">
                  <c:v>45737</c:v>
                </c:pt>
                <c:pt idx="7">
                  <c:v>45736</c:v>
                </c:pt>
                <c:pt idx="8">
                  <c:v>45735</c:v>
                </c:pt>
                <c:pt idx="9">
                  <c:v>45734</c:v>
                </c:pt>
                <c:pt idx="10">
                  <c:v>45733</c:v>
                </c:pt>
                <c:pt idx="11">
                  <c:v>45730</c:v>
                </c:pt>
                <c:pt idx="12">
                  <c:v>45729</c:v>
                </c:pt>
                <c:pt idx="13">
                  <c:v>45728</c:v>
                </c:pt>
                <c:pt idx="14">
                  <c:v>45727</c:v>
                </c:pt>
                <c:pt idx="15">
                  <c:v>45726</c:v>
                </c:pt>
                <c:pt idx="16">
                  <c:v>45723</c:v>
                </c:pt>
                <c:pt idx="17">
                  <c:v>45722</c:v>
                </c:pt>
                <c:pt idx="18">
                  <c:v>45721</c:v>
                </c:pt>
                <c:pt idx="19">
                  <c:v>45720</c:v>
                </c:pt>
                <c:pt idx="20">
                  <c:v>45719</c:v>
                </c:pt>
                <c:pt idx="21">
                  <c:v>45716</c:v>
                </c:pt>
                <c:pt idx="22">
                  <c:v>45715</c:v>
                </c:pt>
                <c:pt idx="23">
                  <c:v>45714</c:v>
                </c:pt>
                <c:pt idx="24">
                  <c:v>45713</c:v>
                </c:pt>
                <c:pt idx="25">
                  <c:v>45712</c:v>
                </c:pt>
                <c:pt idx="26">
                  <c:v>45709</c:v>
                </c:pt>
                <c:pt idx="27">
                  <c:v>45708</c:v>
                </c:pt>
                <c:pt idx="28">
                  <c:v>45707</c:v>
                </c:pt>
                <c:pt idx="29">
                  <c:v>45706</c:v>
                </c:pt>
                <c:pt idx="30">
                  <c:v>45705</c:v>
                </c:pt>
                <c:pt idx="31">
                  <c:v>45702</c:v>
                </c:pt>
                <c:pt idx="32">
                  <c:v>45701</c:v>
                </c:pt>
                <c:pt idx="33">
                  <c:v>45700</c:v>
                </c:pt>
                <c:pt idx="34">
                  <c:v>45699</c:v>
                </c:pt>
                <c:pt idx="35">
                  <c:v>45698</c:v>
                </c:pt>
                <c:pt idx="36">
                  <c:v>45695</c:v>
                </c:pt>
                <c:pt idx="37">
                  <c:v>45694</c:v>
                </c:pt>
                <c:pt idx="38">
                  <c:v>45693</c:v>
                </c:pt>
                <c:pt idx="39">
                  <c:v>45692</c:v>
                </c:pt>
                <c:pt idx="40">
                  <c:v>45691</c:v>
                </c:pt>
                <c:pt idx="41">
                  <c:v>45688</c:v>
                </c:pt>
                <c:pt idx="42">
                  <c:v>45687</c:v>
                </c:pt>
                <c:pt idx="43">
                  <c:v>45686</c:v>
                </c:pt>
                <c:pt idx="44">
                  <c:v>45685</c:v>
                </c:pt>
                <c:pt idx="45">
                  <c:v>45684</c:v>
                </c:pt>
                <c:pt idx="46">
                  <c:v>45681</c:v>
                </c:pt>
                <c:pt idx="47">
                  <c:v>45680</c:v>
                </c:pt>
                <c:pt idx="48">
                  <c:v>45679</c:v>
                </c:pt>
                <c:pt idx="49">
                  <c:v>45678</c:v>
                </c:pt>
                <c:pt idx="50">
                  <c:v>45677</c:v>
                </c:pt>
                <c:pt idx="51">
                  <c:v>45674</c:v>
                </c:pt>
                <c:pt idx="52">
                  <c:v>45673</c:v>
                </c:pt>
                <c:pt idx="53">
                  <c:v>45672</c:v>
                </c:pt>
                <c:pt idx="54">
                  <c:v>45671</c:v>
                </c:pt>
                <c:pt idx="55">
                  <c:v>45670</c:v>
                </c:pt>
                <c:pt idx="56">
                  <c:v>45667</c:v>
                </c:pt>
                <c:pt idx="57">
                  <c:v>45666</c:v>
                </c:pt>
                <c:pt idx="58">
                  <c:v>45665</c:v>
                </c:pt>
                <c:pt idx="59">
                  <c:v>45664</c:v>
                </c:pt>
                <c:pt idx="60">
                  <c:v>45663</c:v>
                </c:pt>
                <c:pt idx="61">
                  <c:v>45660</c:v>
                </c:pt>
                <c:pt idx="62">
                  <c:v>45659</c:v>
                </c:pt>
                <c:pt idx="63">
                  <c:v>45657</c:v>
                </c:pt>
                <c:pt idx="64">
                  <c:v>45656</c:v>
                </c:pt>
                <c:pt idx="65">
                  <c:v>45653</c:v>
                </c:pt>
                <c:pt idx="66">
                  <c:v>45650</c:v>
                </c:pt>
                <c:pt idx="67">
                  <c:v>45649</c:v>
                </c:pt>
                <c:pt idx="68">
                  <c:v>45646</c:v>
                </c:pt>
                <c:pt idx="69">
                  <c:v>45645</c:v>
                </c:pt>
                <c:pt idx="70">
                  <c:v>45644</c:v>
                </c:pt>
                <c:pt idx="71">
                  <c:v>45643</c:v>
                </c:pt>
                <c:pt idx="72">
                  <c:v>45642</c:v>
                </c:pt>
                <c:pt idx="73">
                  <c:v>45639</c:v>
                </c:pt>
                <c:pt idx="74">
                  <c:v>45638</c:v>
                </c:pt>
                <c:pt idx="75">
                  <c:v>45637</c:v>
                </c:pt>
                <c:pt idx="76">
                  <c:v>45636</c:v>
                </c:pt>
                <c:pt idx="77">
                  <c:v>45635</c:v>
                </c:pt>
                <c:pt idx="78">
                  <c:v>45632</c:v>
                </c:pt>
                <c:pt idx="79">
                  <c:v>45631</c:v>
                </c:pt>
                <c:pt idx="80">
                  <c:v>45630</c:v>
                </c:pt>
                <c:pt idx="81">
                  <c:v>45629</c:v>
                </c:pt>
                <c:pt idx="82">
                  <c:v>45628</c:v>
                </c:pt>
                <c:pt idx="83">
                  <c:v>45625</c:v>
                </c:pt>
                <c:pt idx="84">
                  <c:v>45624</c:v>
                </c:pt>
                <c:pt idx="85">
                  <c:v>45623</c:v>
                </c:pt>
                <c:pt idx="86">
                  <c:v>45622</c:v>
                </c:pt>
                <c:pt idx="87">
                  <c:v>45621</c:v>
                </c:pt>
                <c:pt idx="88">
                  <c:v>45618</c:v>
                </c:pt>
                <c:pt idx="89">
                  <c:v>45617</c:v>
                </c:pt>
                <c:pt idx="90">
                  <c:v>45616</c:v>
                </c:pt>
                <c:pt idx="91">
                  <c:v>45615</c:v>
                </c:pt>
                <c:pt idx="92">
                  <c:v>45614</c:v>
                </c:pt>
                <c:pt idx="93">
                  <c:v>45611</c:v>
                </c:pt>
                <c:pt idx="94">
                  <c:v>45610</c:v>
                </c:pt>
                <c:pt idx="95">
                  <c:v>45609</c:v>
                </c:pt>
                <c:pt idx="96">
                  <c:v>45608</c:v>
                </c:pt>
                <c:pt idx="97">
                  <c:v>45607</c:v>
                </c:pt>
                <c:pt idx="98">
                  <c:v>45604</c:v>
                </c:pt>
                <c:pt idx="99">
                  <c:v>45603</c:v>
                </c:pt>
                <c:pt idx="100">
                  <c:v>45602</c:v>
                </c:pt>
                <c:pt idx="101">
                  <c:v>45601</c:v>
                </c:pt>
                <c:pt idx="102">
                  <c:v>45600</c:v>
                </c:pt>
                <c:pt idx="103">
                  <c:v>45597</c:v>
                </c:pt>
                <c:pt idx="104">
                  <c:v>45596</c:v>
                </c:pt>
                <c:pt idx="105">
                  <c:v>45595</c:v>
                </c:pt>
                <c:pt idx="106">
                  <c:v>45594</c:v>
                </c:pt>
                <c:pt idx="107">
                  <c:v>45593</c:v>
                </c:pt>
                <c:pt idx="108">
                  <c:v>45590</c:v>
                </c:pt>
                <c:pt idx="109">
                  <c:v>45589</c:v>
                </c:pt>
                <c:pt idx="110">
                  <c:v>45588</c:v>
                </c:pt>
                <c:pt idx="111">
                  <c:v>45587</c:v>
                </c:pt>
                <c:pt idx="112">
                  <c:v>45586</c:v>
                </c:pt>
                <c:pt idx="113">
                  <c:v>45583</c:v>
                </c:pt>
                <c:pt idx="114">
                  <c:v>45582</c:v>
                </c:pt>
                <c:pt idx="115">
                  <c:v>45581</c:v>
                </c:pt>
                <c:pt idx="116">
                  <c:v>45580</c:v>
                </c:pt>
                <c:pt idx="117">
                  <c:v>45579</c:v>
                </c:pt>
                <c:pt idx="118">
                  <c:v>45576</c:v>
                </c:pt>
                <c:pt idx="119">
                  <c:v>45575</c:v>
                </c:pt>
                <c:pt idx="120">
                  <c:v>45574</c:v>
                </c:pt>
                <c:pt idx="121">
                  <c:v>45573</c:v>
                </c:pt>
                <c:pt idx="122">
                  <c:v>45572</c:v>
                </c:pt>
                <c:pt idx="123">
                  <c:v>45569</c:v>
                </c:pt>
                <c:pt idx="124">
                  <c:v>45568</c:v>
                </c:pt>
                <c:pt idx="125">
                  <c:v>45567</c:v>
                </c:pt>
                <c:pt idx="126">
                  <c:v>45566</c:v>
                </c:pt>
                <c:pt idx="127">
                  <c:v>45565</c:v>
                </c:pt>
                <c:pt idx="128">
                  <c:v>45562</c:v>
                </c:pt>
                <c:pt idx="129">
                  <c:v>45561</c:v>
                </c:pt>
                <c:pt idx="130">
                  <c:v>45560</c:v>
                </c:pt>
                <c:pt idx="131">
                  <c:v>45559</c:v>
                </c:pt>
                <c:pt idx="132">
                  <c:v>45558</c:v>
                </c:pt>
                <c:pt idx="133">
                  <c:v>45555</c:v>
                </c:pt>
                <c:pt idx="134">
                  <c:v>45554</c:v>
                </c:pt>
                <c:pt idx="135">
                  <c:v>45553</c:v>
                </c:pt>
                <c:pt idx="136">
                  <c:v>45552</c:v>
                </c:pt>
                <c:pt idx="137">
                  <c:v>45551</c:v>
                </c:pt>
                <c:pt idx="138">
                  <c:v>45548</c:v>
                </c:pt>
                <c:pt idx="139">
                  <c:v>45547</c:v>
                </c:pt>
                <c:pt idx="140">
                  <c:v>45546</c:v>
                </c:pt>
                <c:pt idx="141">
                  <c:v>45545</c:v>
                </c:pt>
                <c:pt idx="142">
                  <c:v>45544</c:v>
                </c:pt>
                <c:pt idx="143">
                  <c:v>45541</c:v>
                </c:pt>
                <c:pt idx="144">
                  <c:v>45540</c:v>
                </c:pt>
                <c:pt idx="145">
                  <c:v>45539</c:v>
                </c:pt>
                <c:pt idx="146">
                  <c:v>45538</c:v>
                </c:pt>
                <c:pt idx="147">
                  <c:v>45537</c:v>
                </c:pt>
                <c:pt idx="148">
                  <c:v>45534</c:v>
                </c:pt>
                <c:pt idx="149">
                  <c:v>45533</c:v>
                </c:pt>
                <c:pt idx="150">
                  <c:v>45532</c:v>
                </c:pt>
                <c:pt idx="151">
                  <c:v>45531</c:v>
                </c:pt>
                <c:pt idx="152">
                  <c:v>45527</c:v>
                </c:pt>
                <c:pt idx="153">
                  <c:v>45526</c:v>
                </c:pt>
                <c:pt idx="154">
                  <c:v>45525</c:v>
                </c:pt>
                <c:pt idx="155">
                  <c:v>45524</c:v>
                </c:pt>
                <c:pt idx="156">
                  <c:v>45523</c:v>
                </c:pt>
                <c:pt idx="157">
                  <c:v>45520</c:v>
                </c:pt>
                <c:pt idx="158">
                  <c:v>45519</c:v>
                </c:pt>
                <c:pt idx="159">
                  <c:v>45518</c:v>
                </c:pt>
                <c:pt idx="160">
                  <c:v>45517</c:v>
                </c:pt>
                <c:pt idx="161">
                  <c:v>45516</c:v>
                </c:pt>
                <c:pt idx="162">
                  <c:v>45513</c:v>
                </c:pt>
                <c:pt idx="163">
                  <c:v>45512</c:v>
                </c:pt>
                <c:pt idx="164">
                  <c:v>45511</c:v>
                </c:pt>
                <c:pt idx="165">
                  <c:v>45510</c:v>
                </c:pt>
                <c:pt idx="166">
                  <c:v>45509</c:v>
                </c:pt>
                <c:pt idx="167">
                  <c:v>45506</c:v>
                </c:pt>
                <c:pt idx="168">
                  <c:v>45505</c:v>
                </c:pt>
                <c:pt idx="169">
                  <c:v>45504</c:v>
                </c:pt>
                <c:pt idx="170">
                  <c:v>45503</c:v>
                </c:pt>
                <c:pt idx="171">
                  <c:v>45502</c:v>
                </c:pt>
                <c:pt idx="172">
                  <c:v>45499</c:v>
                </c:pt>
                <c:pt idx="173">
                  <c:v>45498</c:v>
                </c:pt>
                <c:pt idx="174">
                  <c:v>45497</c:v>
                </c:pt>
                <c:pt idx="175">
                  <c:v>45496</c:v>
                </c:pt>
                <c:pt idx="176">
                  <c:v>45495</c:v>
                </c:pt>
                <c:pt idx="177">
                  <c:v>45492</c:v>
                </c:pt>
                <c:pt idx="178">
                  <c:v>45491</c:v>
                </c:pt>
                <c:pt idx="179">
                  <c:v>45490</c:v>
                </c:pt>
                <c:pt idx="180">
                  <c:v>45489</c:v>
                </c:pt>
                <c:pt idx="181">
                  <c:v>45488</c:v>
                </c:pt>
                <c:pt idx="182">
                  <c:v>45485</c:v>
                </c:pt>
                <c:pt idx="183">
                  <c:v>45484</c:v>
                </c:pt>
                <c:pt idx="184">
                  <c:v>45483</c:v>
                </c:pt>
                <c:pt idx="185">
                  <c:v>45482</c:v>
                </c:pt>
                <c:pt idx="186">
                  <c:v>45481</c:v>
                </c:pt>
                <c:pt idx="187">
                  <c:v>45478</c:v>
                </c:pt>
                <c:pt idx="188">
                  <c:v>45477</c:v>
                </c:pt>
                <c:pt idx="189">
                  <c:v>45476</c:v>
                </c:pt>
                <c:pt idx="190">
                  <c:v>45475</c:v>
                </c:pt>
                <c:pt idx="191">
                  <c:v>45474</c:v>
                </c:pt>
                <c:pt idx="192">
                  <c:v>45471</c:v>
                </c:pt>
                <c:pt idx="193">
                  <c:v>45470</c:v>
                </c:pt>
                <c:pt idx="194">
                  <c:v>45469</c:v>
                </c:pt>
                <c:pt idx="195">
                  <c:v>45468</c:v>
                </c:pt>
                <c:pt idx="196">
                  <c:v>45467</c:v>
                </c:pt>
                <c:pt idx="197">
                  <c:v>45464</c:v>
                </c:pt>
                <c:pt idx="198">
                  <c:v>45463</c:v>
                </c:pt>
                <c:pt idx="199">
                  <c:v>45462</c:v>
                </c:pt>
                <c:pt idx="200">
                  <c:v>45461</c:v>
                </c:pt>
                <c:pt idx="201">
                  <c:v>45460</c:v>
                </c:pt>
                <c:pt idx="202">
                  <c:v>45457</c:v>
                </c:pt>
                <c:pt idx="203">
                  <c:v>45456</c:v>
                </c:pt>
                <c:pt idx="204">
                  <c:v>45455</c:v>
                </c:pt>
                <c:pt idx="205">
                  <c:v>45454</c:v>
                </c:pt>
                <c:pt idx="206">
                  <c:v>45453</c:v>
                </c:pt>
                <c:pt idx="207">
                  <c:v>45450</c:v>
                </c:pt>
                <c:pt idx="208">
                  <c:v>45449</c:v>
                </c:pt>
                <c:pt idx="209">
                  <c:v>45448</c:v>
                </c:pt>
                <c:pt idx="210">
                  <c:v>45447</c:v>
                </c:pt>
                <c:pt idx="211">
                  <c:v>45446</c:v>
                </c:pt>
                <c:pt idx="212">
                  <c:v>45443</c:v>
                </c:pt>
                <c:pt idx="213">
                  <c:v>45442</c:v>
                </c:pt>
                <c:pt idx="214">
                  <c:v>45441</c:v>
                </c:pt>
                <c:pt idx="215">
                  <c:v>45440</c:v>
                </c:pt>
                <c:pt idx="216">
                  <c:v>45436</c:v>
                </c:pt>
                <c:pt idx="217">
                  <c:v>45435</c:v>
                </c:pt>
                <c:pt idx="218">
                  <c:v>45434</c:v>
                </c:pt>
                <c:pt idx="219">
                  <c:v>45433</c:v>
                </c:pt>
                <c:pt idx="220">
                  <c:v>45432</c:v>
                </c:pt>
                <c:pt idx="221">
                  <c:v>45429</c:v>
                </c:pt>
                <c:pt idx="222">
                  <c:v>45428</c:v>
                </c:pt>
                <c:pt idx="223">
                  <c:v>45427</c:v>
                </c:pt>
                <c:pt idx="224">
                  <c:v>45426</c:v>
                </c:pt>
                <c:pt idx="225">
                  <c:v>45425</c:v>
                </c:pt>
                <c:pt idx="226">
                  <c:v>45422</c:v>
                </c:pt>
                <c:pt idx="227">
                  <c:v>45421</c:v>
                </c:pt>
                <c:pt idx="228">
                  <c:v>45420</c:v>
                </c:pt>
                <c:pt idx="229">
                  <c:v>45419</c:v>
                </c:pt>
                <c:pt idx="230">
                  <c:v>45415</c:v>
                </c:pt>
                <c:pt idx="231">
                  <c:v>45414</c:v>
                </c:pt>
                <c:pt idx="232">
                  <c:v>45413</c:v>
                </c:pt>
                <c:pt idx="233">
                  <c:v>45412</c:v>
                </c:pt>
                <c:pt idx="234">
                  <c:v>45411</c:v>
                </c:pt>
                <c:pt idx="235">
                  <c:v>45408</c:v>
                </c:pt>
                <c:pt idx="236">
                  <c:v>45407</c:v>
                </c:pt>
                <c:pt idx="237">
                  <c:v>45406</c:v>
                </c:pt>
                <c:pt idx="238">
                  <c:v>45405</c:v>
                </c:pt>
                <c:pt idx="239">
                  <c:v>45404</c:v>
                </c:pt>
                <c:pt idx="240">
                  <c:v>45401</c:v>
                </c:pt>
                <c:pt idx="241">
                  <c:v>45400</c:v>
                </c:pt>
                <c:pt idx="242">
                  <c:v>45399</c:v>
                </c:pt>
                <c:pt idx="243">
                  <c:v>45398</c:v>
                </c:pt>
                <c:pt idx="244">
                  <c:v>45397</c:v>
                </c:pt>
                <c:pt idx="245">
                  <c:v>45394</c:v>
                </c:pt>
                <c:pt idx="246">
                  <c:v>45393</c:v>
                </c:pt>
                <c:pt idx="247">
                  <c:v>45392</c:v>
                </c:pt>
                <c:pt idx="248">
                  <c:v>45391</c:v>
                </c:pt>
                <c:pt idx="249">
                  <c:v>45390</c:v>
                </c:pt>
                <c:pt idx="250">
                  <c:v>45387</c:v>
                </c:pt>
                <c:pt idx="251">
                  <c:v>45386</c:v>
                </c:pt>
                <c:pt idx="252">
                  <c:v>45385</c:v>
                </c:pt>
                <c:pt idx="253">
                  <c:v>45384</c:v>
                </c:pt>
                <c:pt idx="254">
                  <c:v>45379</c:v>
                </c:pt>
                <c:pt idx="255">
                  <c:v>45378</c:v>
                </c:pt>
                <c:pt idx="256">
                  <c:v>45377</c:v>
                </c:pt>
                <c:pt idx="257">
                  <c:v>45376</c:v>
                </c:pt>
                <c:pt idx="258">
                  <c:v>45373</c:v>
                </c:pt>
                <c:pt idx="259">
                  <c:v>45372</c:v>
                </c:pt>
                <c:pt idx="260">
                  <c:v>45371</c:v>
                </c:pt>
                <c:pt idx="261">
                  <c:v>45370</c:v>
                </c:pt>
                <c:pt idx="262">
                  <c:v>45369</c:v>
                </c:pt>
                <c:pt idx="263">
                  <c:v>45366</c:v>
                </c:pt>
                <c:pt idx="264">
                  <c:v>45365</c:v>
                </c:pt>
                <c:pt idx="265">
                  <c:v>45364</c:v>
                </c:pt>
                <c:pt idx="266">
                  <c:v>45363</c:v>
                </c:pt>
                <c:pt idx="267">
                  <c:v>45362</c:v>
                </c:pt>
                <c:pt idx="268">
                  <c:v>45359</c:v>
                </c:pt>
                <c:pt idx="269">
                  <c:v>45358</c:v>
                </c:pt>
                <c:pt idx="270">
                  <c:v>45357</c:v>
                </c:pt>
                <c:pt idx="271">
                  <c:v>45356</c:v>
                </c:pt>
                <c:pt idx="272">
                  <c:v>45355</c:v>
                </c:pt>
                <c:pt idx="273">
                  <c:v>45352</c:v>
                </c:pt>
                <c:pt idx="274">
                  <c:v>45351</c:v>
                </c:pt>
                <c:pt idx="275">
                  <c:v>45350</c:v>
                </c:pt>
                <c:pt idx="276">
                  <c:v>45349</c:v>
                </c:pt>
                <c:pt idx="277">
                  <c:v>45348</c:v>
                </c:pt>
                <c:pt idx="278">
                  <c:v>45345</c:v>
                </c:pt>
                <c:pt idx="279">
                  <c:v>45344</c:v>
                </c:pt>
                <c:pt idx="280">
                  <c:v>45343</c:v>
                </c:pt>
                <c:pt idx="281">
                  <c:v>45342</c:v>
                </c:pt>
                <c:pt idx="282">
                  <c:v>45341</c:v>
                </c:pt>
                <c:pt idx="283">
                  <c:v>45338</c:v>
                </c:pt>
                <c:pt idx="284">
                  <c:v>45337</c:v>
                </c:pt>
                <c:pt idx="285">
                  <c:v>45336</c:v>
                </c:pt>
                <c:pt idx="286">
                  <c:v>45335</c:v>
                </c:pt>
                <c:pt idx="287">
                  <c:v>45334</c:v>
                </c:pt>
                <c:pt idx="288">
                  <c:v>45331</c:v>
                </c:pt>
                <c:pt idx="289">
                  <c:v>45330</c:v>
                </c:pt>
                <c:pt idx="290">
                  <c:v>45329</c:v>
                </c:pt>
                <c:pt idx="291">
                  <c:v>45328</c:v>
                </c:pt>
                <c:pt idx="292">
                  <c:v>45327</c:v>
                </c:pt>
                <c:pt idx="293">
                  <c:v>45324</c:v>
                </c:pt>
                <c:pt idx="294">
                  <c:v>45323</c:v>
                </c:pt>
                <c:pt idx="295">
                  <c:v>45322</c:v>
                </c:pt>
                <c:pt idx="296">
                  <c:v>45321</c:v>
                </c:pt>
                <c:pt idx="297">
                  <c:v>45320</c:v>
                </c:pt>
                <c:pt idx="298">
                  <c:v>45317</c:v>
                </c:pt>
                <c:pt idx="299">
                  <c:v>45316</c:v>
                </c:pt>
                <c:pt idx="300">
                  <c:v>45315</c:v>
                </c:pt>
                <c:pt idx="301">
                  <c:v>45314</c:v>
                </c:pt>
                <c:pt idx="302">
                  <c:v>45313</c:v>
                </c:pt>
                <c:pt idx="303">
                  <c:v>45310</c:v>
                </c:pt>
                <c:pt idx="304">
                  <c:v>45309</c:v>
                </c:pt>
                <c:pt idx="305">
                  <c:v>45308</c:v>
                </c:pt>
                <c:pt idx="306">
                  <c:v>45307</c:v>
                </c:pt>
                <c:pt idx="307">
                  <c:v>45306</c:v>
                </c:pt>
                <c:pt idx="308">
                  <c:v>45303</c:v>
                </c:pt>
                <c:pt idx="309">
                  <c:v>45302</c:v>
                </c:pt>
                <c:pt idx="310">
                  <c:v>45301</c:v>
                </c:pt>
                <c:pt idx="311">
                  <c:v>45300</c:v>
                </c:pt>
                <c:pt idx="312">
                  <c:v>45299</c:v>
                </c:pt>
                <c:pt idx="313">
                  <c:v>45296</c:v>
                </c:pt>
                <c:pt idx="314">
                  <c:v>45295</c:v>
                </c:pt>
                <c:pt idx="315">
                  <c:v>45294</c:v>
                </c:pt>
                <c:pt idx="316">
                  <c:v>45293</c:v>
                </c:pt>
                <c:pt idx="317">
                  <c:v>45289</c:v>
                </c:pt>
                <c:pt idx="318">
                  <c:v>45288</c:v>
                </c:pt>
                <c:pt idx="319">
                  <c:v>45287</c:v>
                </c:pt>
                <c:pt idx="320">
                  <c:v>45282</c:v>
                </c:pt>
                <c:pt idx="321">
                  <c:v>45281</c:v>
                </c:pt>
                <c:pt idx="322">
                  <c:v>45280</c:v>
                </c:pt>
                <c:pt idx="323">
                  <c:v>45279</c:v>
                </c:pt>
                <c:pt idx="324">
                  <c:v>45278</c:v>
                </c:pt>
                <c:pt idx="325">
                  <c:v>45275</c:v>
                </c:pt>
                <c:pt idx="326">
                  <c:v>45274</c:v>
                </c:pt>
                <c:pt idx="327">
                  <c:v>45273</c:v>
                </c:pt>
                <c:pt idx="328">
                  <c:v>45272</c:v>
                </c:pt>
                <c:pt idx="329">
                  <c:v>45271</c:v>
                </c:pt>
                <c:pt idx="330">
                  <c:v>45268</c:v>
                </c:pt>
                <c:pt idx="331">
                  <c:v>45267</c:v>
                </c:pt>
                <c:pt idx="332">
                  <c:v>45266</c:v>
                </c:pt>
                <c:pt idx="333">
                  <c:v>45265</c:v>
                </c:pt>
                <c:pt idx="334">
                  <c:v>45264</c:v>
                </c:pt>
                <c:pt idx="335">
                  <c:v>45261</c:v>
                </c:pt>
                <c:pt idx="336">
                  <c:v>45260</c:v>
                </c:pt>
                <c:pt idx="337">
                  <c:v>45259</c:v>
                </c:pt>
                <c:pt idx="338">
                  <c:v>45258</c:v>
                </c:pt>
                <c:pt idx="339">
                  <c:v>45257</c:v>
                </c:pt>
                <c:pt idx="340">
                  <c:v>45254</c:v>
                </c:pt>
                <c:pt idx="341">
                  <c:v>45253</c:v>
                </c:pt>
                <c:pt idx="342">
                  <c:v>45252</c:v>
                </c:pt>
                <c:pt idx="343">
                  <c:v>45251</c:v>
                </c:pt>
                <c:pt idx="344">
                  <c:v>45250</c:v>
                </c:pt>
                <c:pt idx="345">
                  <c:v>45247</c:v>
                </c:pt>
                <c:pt idx="346">
                  <c:v>45246</c:v>
                </c:pt>
                <c:pt idx="347">
                  <c:v>45245</c:v>
                </c:pt>
                <c:pt idx="348">
                  <c:v>45244</c:v>
                </c:pt>
                <c:pt idx="349">
                  <c:v>45243</c:v>
                </c:pt>
                <c:pt idx="350">
                  <c:v>45240</c:v>
                </c:pt>
                <c:pt idx="351">
                  <c:v>45239</c:v>
                </c:pt>
                <c:pt idx="352">
                  <c:v>45238</c:v>
                </c:pt>
                <c:pt idx="353">
                  <c:v>45237</c:v>
                </c:pt>
                <c:pt idx="354">
                  <c:v>45236</c:v>
                </c:pt>
                <c:pt idx="355">
                  <c:v>45233</c:v>
                </c:pt>
                <c:pt idx="356">
                  <c:v>45232</c:v>
                </c:pt>
                <c:pt idx="357">
                  <c:v>45231</c:v>
                </c:pt>
                <c:pt idx="358">
                  <c:v>45230</c:v>
                </c:pt>
                <c:pt idx="359">
                  <c:v>45229</c:v>
                </c:pt>
                <c:pt idx="360">
                  <c:v>45226</c:v>
                </c:pt>
                <c:pt idx="361">
                  <c:v>45225</c:v>
                </c:pt>
                <c:pt idx="362">
                  <c:v>45224</c:v>
                </c:pt>
                <c:pt idx="363">
                  <c:v>45223</c:v>
                </c:pt>
                <c:pt idx="364">
                  <c:v>45222</c:v>
                </c:pt>
                <c:pt idx="365">
                  <c:v>45219</c:v>
                </c:pt>
                <c:pt idx="366">
                  <c:v>45218</c:v>
                </c:pt>
                <c:pt idx="367">
                  <c:v>45217</c:v>
                </c:pt>
                <c:pt idx="368">
                  <c:v>45216</c:v>
                </c:pt>
                <c:pt idx="369">
                  <c:v>45215</c:v>
                </c:pt>
                <c:pt idx="370">
                  <c:v>45212</c:v>
                </c:pt>
                <c:pt idx="371">
                  <c:v>45211</c:v>
                </c:pt>
                <c:pt idx="372">
                  <c:v>45210</c:v>
                </c:pt>
                <c:pt idx="373">
                  <c:v>45209</c:v>
                </c:pt>
                <c:pt idx="374">
                  <c:v>45208</c:v>
                </c:pt>
                <c:pt idx="375">
                  <c:v>45205</c:v>
                </c:pt>
                <c:pt idx="376">
                  <c:v>45204</c:v>
                </c:pt>
                <c:pt idx="377">
                  <c:v>45203</c:v>
                </c:pt>
                <c:pt idx="378">
                  <c:v>45202</c:v>
                </c:pt>
                <c:pt idx="379">
                  <c:v>45201</c:v>
                </c:pt>
                <c:pt idx="380">
                  <c:v>45198</c:v>
                </c:pt>
                <c:pt idx="381">
                  <c:v>45197</c:v>
                </c:pt>
                <c:pt idx="382">
                  <c:v>45196</c:v>
                </c:pt>
                <c:pt idx="383">
                  <c:v>45195</c:v>
                </c:pt>
                <c:pt idx="384">
                  <c:v>45194</c:v>
                </c:pt>
                <c:pt idx="385">
                  <c:v>45191</c:v>
                </c:pt>
                <c:pt idx="386">
                  <c:v>45190</c:v>
                </c:pt>
                <c:pt idx="387">
                  <c:v>45189</c:v>
                </c:pt>
                <c:pt idx="388">
                  <c:v>45188</c:v>
                </c:pt>
                <c:pt idx="389">
                  <c:v>45187</c:v>
                </c:pt>
                <c:pt idx="390">
                  <c:v>45184</c:v>
                </c:pt>
                <c:pt idx="391">
                  <c:v>45183</c:v>
                </c:pt>
                <c:pt idx="392">
                  <c:v>45182</c:v>
                </c:pt>
                <c:pt idx="393">
                  <c:v>45181</c:v>
                </c:pt>
                <c:pt idx="394">
                  <c:v>45180</c:v>
                </c:pt>
                <c:pt idx="395">
                  <c:v>45177</c:v>
                </c:pt>
                <c:pt idx="396">
                  <c:v>45176</c:v>
                </c:pt>
                <c:pt idx="397">
                  <c:v>45175</c:v>
                </c:pt>
                <c:pt idx="398">
                  <c:v>45174</c:v>
                </c:pt>
                <c:pt idx="399">
                  <c:v>45173</c:v>
                </c:pt>
                <c:pt idx="400">
                  <c:v>45170</c:v>
                </c:pt>
                <c:pt idx="401">
                  <c:v>45169</c:v>
                </c:pt>
                <c:pt idx="402">
                  <c:v>45168</c:v>
                </c:pt>
                <c:pt idx="403">
                  <c:v>45167</c:v>
                </c:pt>
                <c:pt idx="404">
                  <c:v>45163</c:v>
                </c:pt>
                <c:pt idx="405">
                  <c:v>45162</c:v>
                </c:pt>
                <c:pt idx="406">
                  <c:v>45161</c:v>
                </c:pt>
                <c:pt idx="407">
                  <c:v>45160</c:v>
                </c:pt>
                <c:pt idx="408">
                  <c:v>45159</c:v>
                </c:pt>
                <c:pt idx="409">
                  <c:v>45156</c:v>
                </c:pt>
                <c:pt idx="410">
                  <c:v>45155</c:v>
                </c:pt>
                <c:pt idx="411">
                  <c:v>45154</c:v>
                </c:pt>
                <c:pt idx="412">
                  <c:v>45153</c:v>
                </c:pt>
                <c:pt idx="413">
                  <c:v>45152</c:v>
                </c:pt>
                <c:pt idx="414">
                  <c:v>45149</c:v>
                </c:pt>
                <c:pt idx="415">
                  <c:v>45148</c:v>
                </c:pt>
                <c:pt idx="416">
                  <c:v>45147</c:v>
                </c:pt>
                <c:pt idx="417">
                  <c:v>45146</c:v>
                </c:pt>
                <c:pt idx="418">
                  <c:v>45145</c:v>
                </c:pt>
                <c:pt idx="419">
                  <c:v>45142</c:v>
                </c:pt>
                <c:pt idx="420">
                  <c:v>45141</c:v>
                </c:pt>
                <c:pt idx="421">
                  <c:v>45140</c:v>
                </c:pt>
                <c:pt idx="422">
                  <c:v>45139</c:v>
                </c:pt>
                <c:pt idx="423">
                  <c:v>45138</c:v>
                </c:pt>
                <c:pt idx="424">
                  <c:v>45135</c:v>
                </c:pt>
                <c:pt idx="425">
                  <c:v>45134</c:v>
                </c:pt>
                <c:pt idx="426">
                  <c:v>45133</c:v>
                </c:pt>
                <c:pt idx="427">
                  <c:v>45132</c:v>
                </c:pt>
                <c:pt idx="428">
                  <c:v>45131</c:v>
                </c:pt>
                <c:pt idx="429">
                  <c:v>45128</c:v>
                </c:pt>
                <c:pt idx="430">
                  <c:v>45127</c:v>
                </c:pt>
                <c:pt idx="431">
                  <c:v>45126</c:v>
                </c:pt>
                <c:pt idx="432">
                  <c:v>45125</c:v>
                </c:pt>
                <c:pt idx="433">
                  <c:v>45124</c:v>
                </c:pt>
                <c:pt idx="434">
                  <c:v>45121</c:v>
                </c:pt>
                <c:pt idx="435">
                  <c:v>45120</c:v>
                </c:pt>
                <c:pt idx="436">
                  <c:v>45119</c:v>
                </c:pt>
                <c:pt idx="437">
                  <c:v>45118</c:v>
                </c:pt>
                <c:pt idx="438">
                  <c:v>45117</c:v>
                </c:pt>
                <c:pt idx="439">
                  <c:v>45114</c:v>
                </c:pt>
                <c:pt idx="440">
                  <c:v>45113</c:v>
                </c:pt>
                <c:pt idx="441">
                  <c:v>45112</c:v>
                </c:pt>
                <c:pt idx="442">
                  <c:v>45111</c:v>
                </c:pt>
                <c:pt idx="443">
                  <c:v>45110</c:v>
                </c:pt>
                <c:pt idx="444">
                  <c:v>45107</c:v>
                </c:pt>
                <c:pt idx="445">
                  <c:v>45106</c:v>
                </c:pt>
                <c:pt idx="446">
                  <c:v>45105</c:v>
                </c:pt>
                <c:pt idx="447">
                  <c:v>45104</c:v>
                </c:pt>
                <c:pt idx="448">
                  <c:v>45103</c:v>
                </c:pt>
                <c:pt idx="449">
                  <c:v>45100</c:v>
                </c:pt>
                <c:pt idx="450">
                  <c:v>45099</c:v>
                </c:pt>
                <c:pt idx="451">
                  <c:v>45098</c:v>
                </c:pt>
                <c:pt idx="452">
                  <c:v>45097</c:v>
                </c:pt>
                <c:pt idx="453">
                  <c:v>45096</c:v>
                </c:pt>
                <c:pt idx="454">
                  <c:v>45093</c:v>
                </c:pt>
                <c:pt idx="455">
                  <c:v>45092</c:v>
                </c:pt>
                <c:pt idx="456">
                  <c:v>45091</c:v>
                </c:pt>
                <c:pt idx="457">
                  <c:v>45090</c:v>
                </c:pt>
                <c:pt idx="458">
                  <c:v>45089</c:v>
                </c:pt>
                <c:pt idx="459">
                  <c:v>45086</c:v>
                </c:pt>
                <c:pt idx="460">
                  <c:v>45085</c:v>
                </c:pt>
                <c:pt idx="461">
                  <c:v>45084</c:v>
                </c:pt>
                <c:pt idx="462">
                  <c:v>45083</c:v>
                </c:pt>
                <c:pt idx="463">
                  <c:v>45082</c:v>
                </c:pt>
                <c:pt idx="464">
                  <c:v>45079</c:v>
                </c:pt>
                <c:pt idx="465">
                  <c:v>45078</c:v>
                </c:pt>
                <c:pt idx="466">
                  <c:v>45077</c:v>
                </c:pt>
                <c:pt idx="467">
                  <c:v>45076</c:v>
                </c:pt>
                <c:pt idx="468">
                  <c:v>45072</c:v>
                </c:pt>
                <c:pt idx="469">
                  <c:v>45071</c:v>
                </c:pt>
                <c:pt idx="470">
                  <c:v>45070</c:v>
                </c:pt>
                <c:pt idx="471">
                  <c:v>45069</c:v>
                </c:pt>
                <c:pt idx="472">
                  <c:v>45068</c:v>
                </c:pt>
                <c:pt idx="473">
                  <c:v>45065</c:v>
                </c:pt>
                <c:pt idx="474">
                  <c:v>45064</c:v>
                </c:pt>
                <c:pt idx="475">
                  <c:v>45063</c:v>
                </c:pt>
                <c:pt idx="476">
                  <c:v>45062</c:v>
                </c:pt>
                <c:pt idx="477">
                  <c:v>45061</c:v>
                </c:pt>
                <c:pt idx="478">
                  <c:v>45058</c:v>
                </c:pt>
                <c:pt idx="479">
                  <c:v>45057</c:v>
                </c:pt>
                <c:pt idx="480">
                  <c:v>45056</c:v>
                </c:pt>
                <c:pt idx="481">
                  <c:v>45055</c:v>
                </c:pt>
                <c:pt idx="482">
                  <c:v>45051</c:v>
                </c:pt>
                <c:pt idx="483">
                  <c:v>45050</c:v>
                </c:pt>
                <c:pt idx="484">
                  <c:v>45049</c:v>
                </c:pt>
                <c:pt idx="485">
                  <c:v>45048</c:v>
                </c:pt>
                <c:pt idx="486">
                  <c:v>45044</c:v>
                </c:pt>
                <c:pt idx="487">
                  <c:v>45043</c:v>
                </c:pt>
                <c:pt idx="488">
                  <c:v>45042</c:v>
                </c:pt>
                <c:pt idx="489">
                  <c:v>45041</c:v>
                </c:pt>
                <c:pt idx="490">
                  <c:v>45040</c:v>
                </c:pt>
                <c:pt idx="491">
                  <c:v>45037</c:v>
                </c:pt>
                <c:pt idx="492">
                  <c:v>45036</c:v>
                </c:pt>
                <c:pt idx="493">
                  <c:v>45035</c:v>
                </c:pt>
                <c:pt idx="494">
                  <c:v>45034</c:v>
                </c:pt>
                <c:pt idx="495">
                  <c:v>45033</c:v>
                </c:pt>
                <c:pt idx="496">
                  <c:v>45030</c:v>
                </c:pt>
                <c:pt idx="497">
                  <c:v>45029</c:v>
                </c:pt>
                <c:pt idx="498">
                  <c:v>45028</c:v>
                </c:pt>
                <c:pt idx="499">
                  <c:v>45027</c:v>
                </c:pt>
                <c:pt idx="500">
                  <c:v>45022</c:v>
                </c:pt>
                <c:pt idx="501">
                  <c:v>45021</c:v>
                </c:pt>
                <c:pt idx="502">
                  <c:v>45020</c:v>
                </c:pt>
                <c:pt idx="503">
                  <c:v>45019</c:v>
                </c:pt>
                <c:pt idx="504">
                  <c:v>45016</c:v>
                </c:pt>
                <c:pt idx="505">
                  <c:v>45015</c:v>
                </c:pt>
                <c:pt idx="506">
                  <c:v>45014</c:v>
                </c:pt>
                <c:pt idx="507">
                  <c:v>45013</c:v>
                </c:pt>
                <c:pt idx="508">
                  <c:v>45012</c:v>
                </c:pt>
                <c:pt idx="509">
                  <c:v>45009</c:v>
                </c:pt>
                <c:pt idx="510">
                  <c:v>45008</c:v>
                </c:pt>
                <c:pt idx="511">
                  <c:v>45007</c:v>
                </c:pt>
                <c:pt idx="512">
                  <c:v>45006</c:v>
                </c:pt>
                <c:pt idx="513">
                  <c:v>45005</c:v>
                </c:pt>
                <c:pt idx="514">
                  <c:v>45002</c:v>
                </c:pt>
                <c:pt idx="515">
                  <c:v>45001</c:v>
                </c:pt>
                <c:pt idx="516">
                  <c:v>45000</c:v>
                </c:pt>
                <c:pt idx="517">
                  <c:v>44999</c:v>
                </c:pt>
                <c:pt idx="518">
                  <c:v>44998</c:v>
                </c:pt>
                <c:pt idx="519">
                  <c:v>44995</c:v>
                </c:pt>
                <c:pt idx="520">
                  <c:v>44994</c:v>
                </c:pt>
                <c:pt idx="521">
                  <c:v>44993</c:v>
                </c:pt>
                <c:pt idx="522">
                  <c:v>44992</c:v>
                </c:pt>
                <c:pt idx="523">
                  <c:v>44991</c:v>
                </c:pt>
                <c:pt idx="524">
                  <c:v>44988</c:v>
                </c:pt>
                <c:pt idx="525">
                  <c:v>44987</c:v>
                </c:pt>
                <c:pt idx="526">
                  <c:v>44986</c:v>
                </c:pt>
                <c:pt idx="527">
                  <c:v>44985</c:v>
                </c:pt>
                <c:pt idx="528">
                  <c:v>44984</c:v>
                </c:pt>
                <c:pt idx="529">
                  <c:v>44981</c:v>
                </c:pt>
                <c:pt idx="530">
                  <c:v>44980</c:v>
                </c:pt>
                <c:pt idx="531">
                  <c:v>44979</c:v>
                </c:pt>
                <c:pt idx="532">
                  <c:v>44978</c:v>
                </c:pt>
                <c:pt idx="533">
                  <c:v>44977</c:v>
                </c:pt>
                <c:pt idx="534">
                  <c:v>44974</c:v>
                </c:pt>
                <c:pt idx="535">
                  <c:v>44973</c:v>
                </c:pt>
                <c:pt idx="536">
                  <c:v>44972</c:v>
                </c:pt>
                <c:pt idx="537">
                  <c:v>44971</c:v>
                </c:pt>
                <c:pt idx="538">
                  <c:v>44970</c:v>
                </c:pt>
                <c:pt idx="539">
                  <c:v>44967</c:v>
                </c:pt>
                <c:pt idx="540">
                  <c:v>44966</c:v>
                </c:pt>
                <c:pt idx="541">
                  <c:v>44965</c:v>
                </c:pt>
                <c:pt idx="542">
                  <c:v>44964</c:v>
                </c:pt>
                <c:pt idx="543">
                  <c:v>44963</c:v>
                </c:pt>
                <c:pt idx="544">
                  <c:v>44960</c:v>
                </c:pt>
                <c:pt idx="545">
                  <c:v>44959</c:v>
                </c:pt>
                <c:pt idx="546">
                  <c:v>44958</c:v>
                </c:pt>
                <c:pt idx="547">
                  <c:v>44957</c:v>
                </c:pt>
                <c:pt idx="548">
                  <c:v>44956</c:v>
                </c:pt>
                <c:pt idx="549">
                  <c:v>44953</c:v>
                </c:pt>
                <c:pt idx="550">
                  <c:v>44952</c:v>
                </c:pt>
                <c:pt idx="551">
                  <c:v>44951</c:v>
                </c:pt>
                <c:pt idx="552">
                  <c:v>44950</c:v>
                </c:pt>
                <c:pt idx="553">
                  <c:v>44949</c:v>
                </c:pt>
                <c:pt idx="554">
                  <c:v>44946</c:v>
                </c:pt>
                <c:pt idx="555">
                  <c:v>44945</c:v>
                </c:pt>
                <c:pt idx="556">
                  <c:v>44944</c:v>
                </c:pt>
                <c:pt idx="557">
                  <c:v>44943</c:v>
                </c:pt>
                <c:pt idx="558">
                  <c:v>44942</c:v>
                </c:pt>
                <c:pt idx="559">
                  <c:v>44939</c:v>
                </c:pt>
                <c:pt idx="560">
                  <c:v>44938</c:v>
                </c:pt>
                <c:pt idx="561">
                  <c:v>44937</c:v>
                </c:pt>
                <c:pt idx="562">
                  <c:v>44936</c:v>
                </c:pt>
                <c:pt idx="563">
                  <c:v>44935</c:v>
                </c:pt>
                <c:pt idx="564">
                  <c:v>44932</c:v>
                </c:pt>
                <c:pt idx="565">
                  <c:v>44931</c:v>
                </c:pt>
                <c:pt idx="566">
                  <c:v>44930</c:v>
                </c:pt>
                <c:pt idx="567">
                  <c:v>44929</c:v>
                </c:pt>
                <c:pt idx="568">
                  <c:v>44925</c:v>
                </c:pt>
                <c:pt idx="569">
                  <c:v>44924</c:v>
                </c:pt>
                <c:pt idx="570">
                  <c:v>44923</c:v>
                </c:pt>
                <c:pt idx="571">
                  <c:v>44918</c:v>
                </c:pt>
                <c:pt idx="572">
                  <c:v>44917</c:v>
                </c:pt>
                <c:pt idx="573">
                  <c:v>44916</c:v>
                </c:pt>
                <c:pt idx="574">
                  <c:v>44915</c:v>
                </c:pt>
                <c:pt idx="575">
                  <c:v>44914</c:v>
                </c:pt>
                <c:pt idx="576">
                  <c:v>44911</c:v>
                </c:pt>
                <c:pt idx="577">
                  <c:v>44910</c:v>
                </c:pt>
                <c:pt idx="578">
                  <c:v>44909</c:v>
                </c:pt>
                <c:pt idx="579">
                  <c:v>44908</c:v>
                </c:pt>
                <c:pt idx="580">
                  <c:v>44907</c:v>
                </c:pt>
                <c:pt idx="581">
                  <c:v>44904</c:v>
                </c:pt>
                <c:pt idx="582">
                  <c:v>44903</c:v>
                </c:pt>
                <c:pt idx="583">
                  <c:v>44902</c:v>
                </c:pt>
                <c:pt idx="584">
                  <c:v>44901</c:v>
                </c:pt>
                <c:pt idx="585">
                  <c:v>44900</c:v>
                </c:pt>
                <c:pt idx="586">
                  <c:v>44897</c:v>
                </c:pt>
                <c:pt idx="587">
                  <c:v>44896</c:v>
                </c:pt>
                <c:pt idx="588">
                  <c:v>44895</c:v>
                </c:pt>
                <c:pt idx="589">
                  <c:v>44894</c:v>
                </c:pt>
                <c:pt idx="590">
                  <c:v>44893</c:v>
                </c:pt>
                <c:pt idx="591">
                  <c:v>44890</c:v>
                </c:pt>
                <c:pt idx="592">
                  <c:v>44889</c:v>
                </c:pt>
                <c:pt idx="593">
                  <c:v>44888</c:v>
                </c:pt>
                <c:pt idx="594">
                  <c:v>44887</c:v>
                </c:pt>
                <c:pt idx="595">
                  <c:v>44886</c:v>
                </c:pt>
                <c:pt idx="596">
                  <c:v>44883</c:v>
                </c:pt>
                <c:pt idx="597">
                  <c:v>44882</c:v>
                </c:pt>
                <c:pt idx="598">
                  <c:v>44881</c:v>
                </c:pt>
                <c:pt idx="599">
                  <c:v>44880</c:v>
                </c:pt>
                <c:pt idx="600">
                  <c:v>44879</c:v>
                </c:pt>
                <c:pt idx="601">
                  <c:v>44876</c:v>
                </c:pt>
                <c:pt idx="602">
                  <c:v>44875</c:v>
                </c:pt>
                <c:pt idx="603">
                  <c:v>44874</c:v>
                </c:pt>
                <c:pt idx="604">
                  <c:v>44873</c:v>
                </c:pt>
                <c:pt idx="605">
                  <c:v>44872</c:v>
                </c:pt>
                <c:pt idx="606">
                  <c:v>44869</c:v>
                </c:pt>
                <c:pt idx="607">
                  <c:v>44868</c:v>
                </c:pt>
                <c:pt idx="608">
                  <c:v>44867</c:v>
                </c:pt>
                <c:pt idx="609">
                  <c:v>44866</c:v>
                </c:pt>
                <c:pt idx="610">
                  <c:v>44865</c:v>
                </c:pt>
                <c:pt idx="611">
                  <c:v>44862</c:v>
                </c:pt>
                <c:pt idx="612">
                  <c:v>44861</c:v>
                </c:pt>
                <c:pt idx="613">
                  <c:v>44860</c:v>
                </c:pt>
                <c:pt idx="614">
                  <c:v>44859</c:v>
                </c:pt>
                <c:pt idx="615">
                  <c:v>44858</c:v>
                </c:pt>
                <c:pt idx="616">
                  <c:v>44855</c:v>
                </c:pt>
                <c:pt idx="617">
                  <c:v>44854</c:v>
                </c:pt>
                <c:pt idx="618">
                  <c:v>44853</c:v>
                </c:pt>
                <c:pt idx="619">
                  <c:v>44852</c:v>
                </c:pt>
                <c:pt idx="620">
                  <c:v>44851</c:v>
                </c:pt>
                <c:pt idx="621">
                  <c:v>44848</c:v>
                </c:pt>
                <c:pt idx="622">
                  <c:v>44847</c:v>
                </c:pt>
                <c:pt idx="623">
                  <c:v>44846</c:v>
                </c:pt>
                <c:pt idx="624">
                  <c:v>44845</c:v>
                </c:pt>
                <c:pt idx="625">
                  <c:v>44844</c:v>
                </c:pt>
                <c:pt idx="626">
                  <c:v>44841</c:v>
                </c:pt>
                <c:pt idx="627">
                  <c:v>44840</c:v>
                </c:pt>
                <c:pt idx="628">
                  <c:v>44839</c:v>
                </c:pt>
                <c:pt idx="629">
                  <c:v>44838</c:v>
                </c:pt>
                <c:pt idx="630">
                  <c:v>44837</c:v>
                </c:pt>
                <c:pt idx="631">
                  <c:v>44834</c:v>
                </c:pt>
                <c:pt idx="632">
                  <c:v>44833</c:v>
                </c:pt>
                <c:pt idx="633">
                  <c:v>44832</c:v>
                </c:pt>
                <c:pt idx="634">
                  <c:v>44831</c:v>
                </c:pt>
                <c:pt idx="635">
                  <c:v>44830</c:v>
                </c:pt>
                <c:pt idx="636">
                  <c:v>44827</c:v>
                </c:pt>
                <c:pt idx="637">
                  <c:v>44826</c:v>
                </c:pt>
                <c:pt idx="638">
                  <c:v>44825</c:v>
                </c:pt>
                <c:pt idx="639">
                  <c:v>44824</c:v>
                </c:pt>
                <c:pt idx="640">
                  <c:v>44820</c:v>
                </c:pt>
                <c:pt idx="641">
                  <c:v>44819</c:v>
                </c:pt>
                <c:pt idx="642">
                  <c:v>44818</c:v>
                </c:pt>
                <c:pt idx="643">
                  <c:v>44817</c:v>
                </c:pt>
                <c:pt idx="644">
                  <c:v>44816</c:v>
                </c:pt>
                <c:pt idx="645">
                  <c:v>44813</c:v>
                </c:pt>
                <c:pt idx="646">
                  <c:v>44812</c:v>
                </c:pt>
                <c:pt idx="647">
                  <c:v>44811</c:v>
                </c:pt>
                <c:pt idx="648">
                  <c:v>44810</c:v>
                </c:pt>
                <c:pt idx="649">
                  <c:v>44809</c:v>
                </c:pt>
                <c:pt idx="650">
                  <c:v>44806</c:v>
                </c:pt>
                <c:pt idx="651">
                  <c:v>44805</c:v>
                </c:pt>
                <c:pt idx="652">
                  <c:v>44804</c:v>
                </c:pt>
                <c:pt idx="653">
                  <c:v>44803</c:v>
                </c:pt>
                <c:pt idx="654">
                  <c:v>44799</c:v>
                </c:pt>
                <c:pt idx="655">
                  <c:v>44798</c:v>
                </c:pt>
                <c:pt idx="656">
                  <c:v>44797</c:v>
                </c:pt>
                <c:pt idx="657">
                  <c:v>44796</c:v>
                </c:pt>
                <c:pt idx="658">
                  <c:v>44795</c:v>
                </c:pt>
                <c:pt idx="659">
                  <c:v>44792</c:v>
                </c:pt>
                <c:pt idx="660">
                  <c:v>44791</c:v>
                </c:pt>
                <c:pt idx="661">
                  <c:v>44790</c:v>
                </c:pt>
                <c:pt idx="662">
                  <c:v>44789</c:v>
                </c:pt>
                <c:pt idx="663">
                  <c:v>44788</c:v>
                </c:pt>
                <c:pt idx="664">
                  <c:v>44785</c:v>
                </c:pt>
                <c:pt idx="665">
                  <c:v>44784</c:v>
                </c:pt>
                <c:pt idx="666">
                  <c:v>44783</c:v>
                </c:pt>
                <c:pt idx="667">
                  <c:v>44782</c:v>
                </c:pt>
                <c:pt idx="668">
                  <c:v>44781</c:v>
                </c:pt>
                <c:pt idx="669">
                  <c:v>44778</c:v>
                </c:pt>
                <c:pt idx="670">
                  <c:v>44777</c:v>
                </c:pt>
                <c:pt idx="671">
                  <c:v>44776</c:v>
                </c:pt>
                <c:pt idx="672">
                  <c:v>44775</c:v>
                </c:pt>
                <c:pt idx="673">
                  <c:v>44774</c:v>
                </c:pt>
                <c:pt idx="674">
                  <c:v>44771</c:v>
                </c:pt>
                <c:pt idx="675">
                  <c:v>44770</c:v>
                </c:pt>
                <c:pt idx="676">
                  <c:v>44769</c:v>
                </c:pt>
                <c:pt idx="677">
                  <c:v>44768</c:v>
                </c:pt>
                <c:pt idx="678">
                  <c:v>44767</c:v>
                </c:pt>
                <c:pt idx="679">
                  <c:v>44764</c:v>
                </c:pt>
                <c:pt idx="680">
                  <c:v>44763</c:v>
                </c:pt>
                <c:pt idx="681">
                  <c:v>44762</c:v>
                </c:pt>
                <c:pt idx="682">
                  <c:v>44761</c:v>
                </c:pt>
                <c:pt idx="683">
                  <c:v>44760</c:v>
                </c:pt>
                <c:pt idx="684">
                  <c:v>44757</c:v>
                </c:pt>
                <c:pt idx="685">
                  <c:v>44756</c:v>
                </c:pt>
                <c:pt idx="686">
                  <c:v>44755</c:v>
                </c:pt>
                <c:pt idx="687">
                  <c:v>44754</c:v>
                </c:pt>
                <c:pt idx="688">
                  <c:v>44753</c:v>
                </c:pt>
                <c:pt idx="689">
                  <c:v>44750</c:v>
                </c:pt>
                <c:pt idx="690">
                  <c:v>44749</c:v>
                </c:pt>
                <c:pt idx="691">
                  <c:v>44748</c:v>
                </c:pt>
                <c:pt idx="692">
                  <c:v>44747</c:v>
                </c:pt>
                <c:pt idx="693">
                  <c:v>44746</c:v>
                </c:pt>
                <c:pt idx="694">
                  <c:v>44743</c:v>
                </c:pt>
                <c:pt idx="695">
                  <c:v>44742</c:v>
                </c:pt>
                <c:pt idx="696">
                  <c:v>44741</c:v>
                </c:pt>
                <c:pt idx="697">
                  <c:v>44740</c:v>
                </c:pt>
                <c:pt idx="698">
                  <c:v>44739</c:v>
                </c:pt>
                <c:pt idx="699">
                  <c:v>44736</c:v>
                </c:pt>
                <c:pt idx="700">
                  <c:v>44735</c:v>
                </c:pt>
                <c:pt idx="701">
                  <c:v>44734</c:v>
                </c:pt>
                <c:pt idx="702">
                  <c:v>44733</c:v>
                </c:pt>
                <c:pt idx="703">
                  <c:v>44732</c:v>
                </c:pt>
                <c:pt idx="704">
                  <c:v>44729</c:v>
                </c:pt>
                <c:pt idx="705">
                  <c:v>44728</c:v>
                </c:pt>
                <c:pt idx="706">
                  <c:v>44727</c:v>
                </c:pt>
                <c:pt idx="707">
                  <c:v>44726</c:v>
                </c:pt>
                <c:pt idx="708">
                  <c:v>44725</c:v>
                </c:pt>
                <c:pt idx="709">
                  <c:v>44722</c:v>
                </c:pt>
                <c:pt idx="710">
                  <c:v>44721</c:v>
                </c:pt>
                <c:pt idx="711">
                  <c:v>44720</c:v>
                </c:pt>
                <c:pt idx="712">
                  <c:v>44719</c:v>
                </c:pt>
                <c:pt idx="713">
                  <c:v>44718</c:v>
                </c:pt>
                <c:pt idx="714">
                  <c:v>44713</c:v>
                </c:pt>
                <c:pt idx="715">
                  <c:v>44712</c:v>
                </c:pt>
                <c:pt idx="716">
                  <c:v>44711</c:v>
                </c:pt>
                <c:pt idx="717">
                  <c:v>44708</c:v>
                </c:pt>
                <c:pt idx="718">
                  <c:v>44707</c:v>
                </c:pt>
                <c:pt idx="719">
                  <c:v>44706</c:v>
                </c:pt>
                <c:pt idx="720">
                  <c:v>44705</c:v>
                </c:pt>
                <c:pt idx="721">
                  <c:v>44704</c:v>
                </c:pt>
                <c:pt idx="722">
                  <c:v>44701</c:v>
                </c:pt>
                <c:pt idx="723">
                  <c:v>44700</c:v>
                </c:pt>
                <c:pt idx="724">
                  <c:v>44699</c:v>
                </c:pt>
                <c:pt idx="725">
                  <c:v>44698</c:v>
                </c:pt>
                <c:pt idx="726">
                  <c:v>44697</c:v>
                </c:pt>
                <c:pt idx="727">
                  <c:v>44694</c:v>
                </c:pt>
                <c:pt idx="728">
                  <c:v>44693</c:v>
                </c:pt>
                <c:pt idx="729">
                  <c:v>44692</c:v>
                </c:pt>
                <c:pt idx="730">
                  <c:v>44691</c:v>
                </c:pt>
                <c:pt idx="731">
                  <c:v>44690</c:v>
                </c:pt>
                <c:pt idx="732">
                  <c:v>44687</c:v>
                </c:pt>
                <c:pt idx="733">
                  <c:v>44686</c:v>
                </c:pt>
                <c:pt idx="734">
                  <c:v>44685</c:v>
                </c:pt>
                <c:pt idx="735">
                  <c:v>44684</c:v>
                </c:pt>
                <c:pt idx="736">
                  <c:v>44680</c:v>
                </c:pt>
                <c:pt idx="737">
                  <c:v>44679</c:v>
                </c:pt>
                <c:pt idx="738">
                  <c:v>44678</c:v>
                </c:pt>
                <c:pt idx="739">
                  <c:v>44677</c:v>
                </c:pt>
                <c:pt idx="740">
                  <c:v>44676</c:v>
                </c:pt>
                <c:pt idx="741">
                  <c:v>44673</c:v>
                </c:pt>
                <c:pt idx="742">
                  <c:v>44672</c:v>
                </c:pt>
                <c:pt idx="743">
                  <c:v>44671</c:v>
                </c:pt>
                <c:pt idx="744">
                  <c:v>44670</c:v>
                </c:pt>
                <c:pt idx="745">
                  <c:v>44665</c:v>
                </c:pt>
                <c:pt idx="746">
                  <c:v>44664</c:v>
                </c:pt>
                <c:pt idx="747">
                  <c:v>44663</c:v>
                </c:pt>
                <c:pt idx="748">
                  <c:v>44662</c:v>
                </c:pt>
                <c:pt idx="749">
                  <c:v>44659</c:v>
                </c:pt>
                <c:pt idx="750">
                  <c:v>44658</c:v>
                </c:pt>
                <c:pt idx="751">
                  <c:v>44657</c:v>
                </c:pt>
                <c:pt idx="752">
                  <c:v>44656</c:v>
                </c:pt>
                <c:pt idx="753">
                  <c:v>44655</c:v>
                </c:pt>
                <c:pt idx="754">
                  <c:v>44652</c:v>
                </c:pt>
                <c:pt idx="755">
                  <c:v>44651</c:v>
                </c:pt>
                <c:pt idx="756">
                  <c:v>44650</c:v>
                </c:pt>
                <c:pt idx="757">
                  <c:v>44649</c:v>
                </c:pt>
                <c:pt idx="758">
                  <c:v>44648</c:v>
                </c:pt>
                <c:pt idx="759">
                  <c:v>44645</c:v>
                </c:pt>
                <c:pt idx="760">
                  <c:v>44644</c:v>
                </c:pt>
                <c:pt idx="761">
                  <c:v>44643</c:v>
                </c:pt>
                <c:pt idx="762">
                  <c:v>44642</c:v>
                </c:pt>
                <c:pt idx="763">
                  <c:v>44641</c:v>
                </c:pt>
                <c:pt idx="764">
                  <c:v>44638</c:v>
                </c:pt>
                <c:pt idx="765">
                  <c:v>44637</c:v>
                </c:pt>
                <c:pt idx="766">
                  <c:v>44636</c:v>
                </c:pt>
                <c:pt idx="767">
                  <c:v>44635</c:v>
                </c:pt>
                <c:pt idx="768">
                  <c:v>44634</c:v>
                </c:pt>
                <c:pt idx="769">
                  <c:v>44631</c:v>
                </c:pt>
                <c:pt idx="770">
                  <c:v>44630</c:v>
                </c:pt>
                <c:pt idx="771">
                  <c:v>44629</c:v>
                </c:pt>
                <c:pt idx="772">
                  <c:v>44628</c:v>
                </c:pt>
                <c:pt idx="773">
                  <c:v>44627</c:v>
                </c:pt>
                <c:pt idx="774">
                  <c:v>44624</c:v>
                </c:pt>
                <c:pt idx="775">
                  <c:v>44623</c:v>
                </c:pt>
                <c:pt idx="776">
                  <c:v>44622</c:v>
                </c:pt>
                <c:pt idx="777">
                  <c:v>44621</c:v>
                </c:pt>
                <c:pt idx="778">
                  <c:v>44620</c:v>
                </c:pt>
                <c:pt idx="779">
                  <c:v>44617</c:v>
                </c:pt>
                <c:pt idx="780">
                  <c:v>44616</c:v>
                </c:pt>
                <c:pt idx="781">
                  <c:v>44615</c:v>
                </c:pt>
                <c:pt idx="782">
                  <c:v>44614</c:v>
                </c:pt>
                <c:pt idx="783">
                  <c:v>44613</c:v>
                </c:pt>
                <c:pt idx="784">
                  <c:v>44610</c:v>
                </c:pt>
                <c:pt idx="785">
                  <c:v>44609</c:v>
                </c:pt>
                <c:pt idx="786">
                  <c:v>44608</c:v>
                </c:pt>
                <c:pt idx="787">
                  <c:v>44607</c:v>
                </c:pt>
                <c:pt idx="788">
                  <c:v>44606</c:v>
                </c:pt>
                <c:pt idx="789">
                  <c:v>44603</c:v>
                </c:pt>
                <c:pt idx="790">
                  <c:v>44602</c:v>
                </c:pt>
                <c:pt idx="791">
                  <c:v>44601</c:v>
                </c:pt>
                <c:pt idx="792">
                  <c:v>44600</c:v>
                </c:pt>
                <c:pt idx="793">
                  <c:v>44599</c:v>
                </c:pt>
                <c:pt idx="794">
                  <c:v>44596</c:v>
                </c:pt>
                <c:pt idx="795">
                  <c:v>44595</c:v>
                </c:pt>
                <c:pt idx="796">
                  <c:v>44594</c:v>
                </c:pt>
                <c:pt idx="797">
                  <c:v>44593</c:v>
                </c:pt>
                <c:pt idx="798">
                  <c:v>44592</c:v>
                </c:pt>
                <c:pt idx="799">
                  <c:v>44589</c:v>
                </c:pt>
                <c:pt idx="800">
                  <c:v>44588</c:v>
                </c:pt>
                <c:pt idx="801">
                  <c:v>44587</c:v>
                </c:pt>
                <c:pt idx="802">
                  <c:v>44586</c:v>
                </c:pt>
                <c:pt idx="803">
                  <c:v>44585</c:v>
                </c:pt>
                <c:pt idx="804">
                  <c:v>44582</c:v>
                </c:pt>
                <c:pt idx="805">
                  <c:v>44581</c:v>
                </c:pt>
                <c:pt idx="806">
                  <c:v>44580</c:v>
                </c:pt>
                <c:pt idx="807">
                  <c:v>44579</c:v>
                </c:pt>
                <c:pt idx="808">
                  <c:v>44578</c:v>
                </c:pt>
                <c:pt idx="809">
                  <c:v>44575</c:v>
                </c:pt>
                <c:pt idx="810">
                  <c:v>44574</c:v>
                </c:pt>
                <c:pt idx="811">
                  <c:v>44573</c:v>
                </c:pt>
                <c:pt idx="812">
                  <c:v>44572</c:v>
                </c:pt>
                <c:pt idx="813">
                  <c:v>44571</c:v>
                </c:pt>
                <c:pt idx="814">
                  <c:v>44568</c:v>
                </c:pt>
                <c:pt idx="815">
                  <c:v>44567</c:v>
                </c:pt>
                <c:pt idx="816">
                  <c:v>44566</c:v>
                </c:pt>
                <c:pt idx="817">
                  <c:v>44565</c:v>
                </c:pt>
                <c:pt idx="818">
                  <c:v>44561</c:v>
                </c:pt>
                <c:pt idx="819">
                  <c:v>44560</c:v>
                </c:pt>
                <c:pt idx="820">
                  <c:v>44559</c:v>
                </c:pt>
                <c:pt idx="821">
                  <c:v>44554</c:v>
                </c:pt>
                <c:pt idx="822">
                  <c:v>44553</c:v>
                </c:pt>
                <c:pt idx="823">
                  <c:v>44552</c:v>
                </c:pt>
                <c:pt idx="824">
                  <c:v>44551</c:v>
                </c:pt>
                <c:pt idx="825">
                  <c:v>44550</c:v>
                </c:pt>
                <c:pt idx="826">
                  <c:v>44547</c:v>
                </c:pt>
                <c:pt idx="827">
                  <c:v>44546</c:v>
                </c:pt>
                <c:pt idx="828">
                  <c:v>44545</c:v>
                </c:pt>
                <c:pt idx="829">
                  <c:v>44544</c:v>
                </c:pt>
                <c:pt idx="830">
                  <c:v>44543</c:v>
                </c:pt>
                <c:pt idx="831">
                  <c:v>44540</c:v>
                </c:pt>
                <c:pt idx="832">
                  <c:v>44539</c:v>
                </c:pt>
                <c:pt idx="833">
                  <c:v>44538</c:v>
                </c:pt>
                <c:pt idx="834">
                  <c:v>44537</c:v>
                </c:pt>
                <c:pt idx="835">
                  <c:v>44536</c:v>
                </c:pt>
                <c:pt idx="836">
                  <c:v>44533</c:v>
                </c:pt>
                <c:pt idx="837">
                  <c:v>44532</c:v>
                </c:pt>
                <c:pt idx="838">
                  <c:v>44531</c:v>
                </c:pt>
                <c:pt idx="839">
                  <c:v>44530</c:v>
                </c:pt>
                <c:pt idx="840">
                  <c:v>44529</c:v>
                </c:pt>
                <c:pt idx="841">
                  <c:v>44526</c:v>
                </c:pt>
                <c:pt idx="842">
                  <c:v>44525</c:v>
                </c:pt>
                <c:pt idx="843">
                  <c:v>44524</c:v>
                </c:pt>
                <c:pt idx="844">
                  <c:v>44523</c:v>
                </c:pt>
                <c:pt idx="845">
                  <c:v>44522</c:v>
                </c:pt>
                <c:pt idx="846">
                  <c:v>44519</c:v>
                </c:pt>
                <c:pt idx="847">
                  <c:v>44518</c:v>
                </c:pt>
                <c:pt idx="848">
                  <c:v>44517</c:v>
                </c:pt>
                <c:pt idx="849">
                  <c:v>44516</c:v>
                </c:pt>
                <c:pt idx="850">
                  <c:v>44515</c:v>
                </c:pt>
                <c:pt idx="851">
                  <c:v>44512</c:v>
                </c:pt>
                <c:pt idx="852">
                  <c:v>44511</c:v>
                </c:pt>
                <c:pt idx="853">
                  <c:v>44510</c:v>
                </c:pt>
                <c:pt idx="854">
                  <c:v>44509</c:v>
                </c:pt>
                <c:pt idx="855">
                  <c:v>44508</c:v>
                </c:pt>
                <c:pt idx="856">
                  <c:v>44505</c:v>
                </c:pt>
                <c:pt idx="857">
                  <c:v>44504</c:v>
                </c:pt>
                <c:pt idx="858">
                  <c:v>44503</c:v>
                </c:pt>
                <c:pt idx="859">
                  <c:v>44502</c:v>
                </c:pt>
                <c:pt idx="860">
                  <c:v>44501</c:v>
                </c:pt>
                <c:pt idx="861">
                  <c:v>44498</c:v>
                </c:pt>
                <c:pt idx="862">
                  <c:v>44497</c:v>
                </c:pt>
                <c:pt idx="863">
                  <c:v>44496</c:v>
                </c:pt>
                <c:pt idx="864">
                  <c:v>44495</c:v>
                </c:pt>
                <c:pt idx="865">
                  <c:v>44494</c:v>
                </c:pt>
                <c:pt idx="866">
                  <c:v>44491</c:v>
                </c:pt>
                <c:pt idx="867">
                  <c:v>44490</c:v>
                </c:pt>
                <c:pt idx="868">
                  <c:v>44489</c:v>
                </c:pt>
                <c:pt idx="869">
                  <c:v>44488</c:v>
                </c:pt>
                <c:pt idx="870">
                  <c:v>44487</c:v>
                </c:pt>
                <c:pt idx="871">
                  <c:v>44484</c:v>
                </c:pt>
                <c:pt idx="872">
                  <c:v>44483</c:v>
                </c:pt>
                <c:pt idx="873">
                  <c:v>44482</c:v>
                </c:pt>
                <c:pt idx="874">
                  <c:v>44481</c:v>
                </c:pt>
                <c:pt idx="875">
                  <c:v>44480</c:v>
                </c:pt>
                <c:pt idx="876">
                  <c:v>44477</c:v>
                </c:pt>
                <c:pt idx="877">
                  <c:v>44476</c:v>
                </c:pt>
                <c:pt idx="878">
                  <c:v>44475</c:v>
                </c:pt>
                <c:pt idx="879">
                  <c:v>44474</c:v>
                </c:pt>
                <c:pt idx="880">
                  <c:v>44473</c:v>
                </c:pt>
                <c:pt idx="881">
                  <c:v>44470</c:v>
                </c:pt>
                <c:pt idx="882">
                  <c:v>44469</c:v>
                </c:pt>
                <c:pt idx="883">
                  <c:v>44468</c:v>
                </c:pt>
                <c:pt idx="884">
                  <c:v>44467</c:v>
                </c:pt>
                <c:pt idx="885">
                  <c:v>44466</c:v>
                </c:pt>
                <c:pt idx="886">
                  <c:v>44463</c:v>
                </c:pt>
                <c:pt idx="887">
                  <c:v>44462</c:v>
                </c:pt>
                <c:pt idx="888">
                  <c:v>44461</c:v>
                </c:pt>
                <c:pt idx="889">
                  <c:v>44460</c:v>
                </c:pt>
                <c:pt idx="890">
                  <c:v>44459</c:v>
                </c:pt>
                <c:pt idx="891">
                  <c:v>44456</c:v>
                </c:pt>
                <c:pt idx="892">
                  <c:v>44455</c:v>
                </c:pt>
                <c:pt idx="893">
                  <c:v>44454</c:v>
                </c:pt>
                <c:pt idx="894">
                  <c:v>44453</c:v>
                </c:pt>
                <c:pt idx="895">
                  <c:v>44452</c:v>
                </c:pt>
                <c:pt idx="896">
                  <c:v>44449</c:v>
                </c:pt>
                <c:pt idx="897">
                  <c:v>44448</c:v>
                </c:pt>
                <c:pt idx="898">
                  <c:v>44447</c:v>
                </c:pt>
                <c:pt idx="899">
                  <c:v>44446</c:v>
                </c:pt>
                <c:pt idx="900">
                  <c:v>44445</c:v>
                </c:pt>
                <c:pt idx="901">
                  <c:v>44442</c:v>
                </c:pt>
                <c:pt idx="902">
                  <c:v>44441</c:v>
                </c:pt>
                <c:pt idx="903">
                  <c:v>44440</c:v>
                </c:pt>
                <c:pt idx="904">
                  <c:v>44439</c:v>
                </c:pt>
                <c:pt idx="905">
                  <c:v>44435</c:v>
                </c:pt>
                <c:pt idx="906">
                  <c:v>44434</c:v>
                </c:pt>
                <c:pt idx="907">
                  <c:v>44433</c:v>
                </c:pt>
                <c:pt idx="908">
                  <c:v>44432</c:v>
                </c:pt>
                <c:pt idx="909">
                  <c:v>44431</c:v>
                </c:pt>
                <c:pt idx="910">
                  <c:v>44428</c:v>
                </c:pt>
                <c:pt idx="911">
                  <c:v>44427</c:v>
                </c:pt>
                <c:pt idx="912">
                  <c:v>44426</c:v>
                </c:pt>
                <c:pt idx="913">
                  <c:v>44425</c:v>
                </c:pt>
                <c:pt idx="914">
                  <c:v>44424</c:v>
                </c:pt>
                <c:pt idx="915">
                  <c:v>44421</c:v>
                </c:pt>
                <c:pt idx="916">
                  <c:v>44420</c:v>
                </c:pt>
                <c:pt idx="917">
                  <c:v>44419</c:v>
                </c:pt>
                <c:pt idx="918">
                  <c:v>44418</c:v>
                </c:pt>
                <c:pt idx="919">
                  <c:v>44417</c:v>
                </c:pt>
                <c:pt idx="920">
                  <c:v>44414</c:v>
                </c:pt>
                <c:pt idx="921">
                  <c:v>44413</c:v>
                </c:pt>
                <c:pt idx="922">
                  <c:v>44412</c:v>
                </c:pt>
                <c:pt idx="923">
                  <c:v>44411</c:v>
                </c:pt>
                <c:pt idx="924">
                  <c:v>44410</c:v>
                </c:pt>
                <c:pt idx="925">
                  <c:v>44407</c:v>
                </c:pt>
                <c:pt idx="926">
                  <c:v>44406</c:v>
                </c:pt>
                <c:pt idx="927">
                  <c:v>44405</c:v>
                </c:pt>
                <c:pt idx="928">
                  <c:v>44404</c:v>
                </c:pt>
                <c:pt idx="929">
                  <c:v>44403</c:v>
                </c:pt>
                <c:pt idx="930">
                  <c:v>44400</c:v>
                </c:pt>
                <c:pt idx="931">
                  <c:v>44399</c:v>
                </c:pt>
                <c:pt idx="932">
                  <c:v>44398</c:v>
                </c:pt>
                <c:pt idx="933">
                  <c:v>44397</c:v>
                </c:pt>
                <c:pt idx="934">
                  <c:v>44396</c:v>
                </c:pt>
                <c:pt idx="935">
                  <c:v>44393</c:v>
                </c:pt>
                <c:pt idx="936">
                  <c:v>44392</c:v>
                </c:pt>
                <c:pt idx="937">
                  <c:v>44391</c:v>
                </c:pt>
                <c:pt idx="938">
                  <c:v>44390</c:v>
                </c:pt>
                <c:pt idx="939">
                  <c:v>44389</c:v>
                </c:pt>
                <c:pt idx="940">
                  <c:v>44386</c:v>
                </c:pt>
                <c:pt idx="941">
                  <c:v>44385</c:v>
                </c:pt>
                <c:pt idx="942">
                  <c:v>44384</c:v>
                </c:pt>
                <c:pt idx="943">
                  <c:v>44383</c:v>
                </c:pt>
                <c:pt idx="944">
                  <c:v>44382</c:v>
                </c:pt>
                <c:pt idx="945">
                  <c:v>44379</c:v>
                </c:pt>
                <c:pt idx="946">
                  <c:v>44378</c:v>
                </c:pt>
                <c:pt idx="947">
                  <c:v>44377</c:v>
                </c:pt>
                <c:pt idx="948">
                  <c:v>44376</c:v>
                </c:pt>
                <c:pt idx="949">
                  <c:v>44375</c:v>
                </c:pt>
                <c:pt idx="950">
                  <c:v>44372</c:v>
                </c:pt>
                <c:pt idx="951">
                  <c:v>44371</c:v>
                </c:pt>
                <c:pt idx="952">
                  <c:v>44370</c:v>
                </c:pt>
                <c:pt idx="953">
                  <c:v>44369</c:v>
                </c:pt>
                <c:pt idx="954">
                  <c:v>44368</c:v>
                </c:pt>
                <c:pt idx="955">
                  <c:v>44365</c:v>
                </c:pt>
                <c:pt idx="956">
                  <c:v>44364</c:v>
                </c:pt>
                <c:pt idx="957">
                  <c:v>44363</c:v>
                </c:pt>
                <c:pt idx="958">
                  <c:v>44362</c:v>
                </c:pt>
                <c:pt idx="959">
                  <c:v>44361</c:v>
                </c:pt>
                <c:pt idx="960">
                  <c:v>44358</c:v>
                </c:pt>
                <c:pt idx="961">
                  <c:v>44357</c:v>
                </c:pt>
                <c:pt idx="962">
                  <c:v>44356</c:v>
                </c:pt>
                <c:pt idx="963">
                  <c:v>44355</c:v>
                </c:pt>
                <c:pt idx="964">
                  <c:v>44354</c:v>
                </c:pt>
                <c:pt idx="965">
                  <c:v>44351</c:v>
                </c:pt>
                <c:pt idx="966">
                  <c:v>44350</c:v>
                </c:pt>
                <c:pt idx="967">
                  <c:v>44349</c:v>
                </c:pt>
                <c:pt idx="968">
                  <c:v>44348</c:v>
                </c:pt>
                <c:pt idx="969">
                  <c:v>44344</c:v>
                </c:pt>
                <c:pt idx="970">
                  <c:v>44343</c:v>
                </c:pt>
                <c:pt idx="971">
                  <c:v>44342</c:v>
                </c:pt>
                <c:pt idx="972">
                  <c:v>44341</c:v>
                </c:pt>
                <c:pt idx="973">
                  <c:v>44340</c:v>
                </c:pt>
                <c:pt idx="974">
                  <c:v>44337</c:v>
                </c:pt>
                <c:pt idx="975">
                  <c:v>44336</c:v>
                </c:pt>
                <c:pt idx="976">
                  <c:v>44335</c:v>
                </c:pt>
                <c:pt idx="977">
                  <c:v>44334</c:v>
                </c:pt>
                <c:pt idx="978">
                  <c:v>44333</c:v>
                </c:pt>
                <c:pt idx="979">
                  <c:v>44330</c:v>
                </c:pt>
                <c:pt idx="980">
                  <c:v>44329</c:v>
                </c:pt>
                <c:pt idx="981">
                  <c:v>44328</c:v>
                </c:pt>
                <c:pt idx="982">
                  <c:v>44327</c:v>
                </c:pt>
                <c:pt idx="983">
                  <c:v>44326</c:v>
                </c:pt>
                <c:pt idx="984">
                  <c:v>44323</c:v>
                </c:pt>
                <c:pt idx="985">
                  <c:v>44322</c:v>
                </c:pt>
                <c:pt idx="986">
                  <c:v>44321</c:v>
                </c:pt>
                <c:pt idx="987">
                  <c:v>44320</c:v>
                </c:pt>
                <c:pt idx="988">
                  <c:v>44316</c:v>
                </c:pt>
                <c:pt idx="989">
                  <c:v>44315</c:v>
                </c:pt>
                <c:pt idx="990">
                  <c:v>44314</c:v>
                </c:pt>
                <c:pt idx="991">
                  <c:v>44313</c:v>
                </c:pt>
                <c:pt idx="992">
                  <c:v>44312</c:v>
                </c:pt>
                <c:pt idx="993">
                  <c:v>44309</c:v>
                </c:pt>
                <c:pt idx="994">
                  <c:v>44308</c:v>
                </c:pt>
                <c:pt idx="995">
                  <c:v>44307</c:v>
                </c:pt>
                <c:pt idx="996">
                  <c:v>44306</c:v>
                </c:pt>
                <c:pt idx="997">
                  <c:v>44305</c:v>
                </c:pt>
                <c:pt idx="998">
                  <c:v>44302</c:v>
                </c:pt>
                <c:pt idx="999">
                  <c:v>44301</c:v>
                </c:pt>
                <c:pt idx="1000">
                  <c:v>44300</c:v>
                </c:pt>
                <c:pt idx="1001">
                  <c:v>44299</c:v>
                </c:pt>
                <c:pt idx="1002">
                  <c:v>44298</c:v>
                </c:pt>
                <c:pt idx="1003">
                  <c:v>44295</c:v>
                </c:pt>
                <c:pt idx="1004">
                  <c:v>44294</c:v>
                </c:pt>
                <c:pt idx="1005">
                  <c:v>44293</c:v>
                </c:pt>
                <c:pt idx="1006">
                  <c:v>44292</c:v>
                </c:pt>
                <c:pt idx="1007">
                  <c:v>44287</c:v>
                </c:pt>
                <c:pt idx="1008">
                  <c:v>44286</c:v>
                </c:pt>
                <c:pt idx="1009">
                  <c:v>44285</c:v>
                </c:pt>
                <c:pt idx="1010">
                  <c:v>44284</c:v>
                </c:pt>
                <c:pt idx="1011">
                  <c:v>44281</c:v>
                </c:pt>
                <c:pt idx="1012">
                  <c:v>44280</c:v>
                </c:pt>
                <c:pt idx="1013">
                  <c:v>44279</c:v>
                </c:pt>
                <c:pt idx="1014">
                  <c:v>44278</c:v>
                </c:pt>
                <c:pt idx="1015">
                  <c:v>44277</c:v>
                </c:pt>
                <c:pt idx="1016">
                  <c:v>44274</c:v>
                </c:pt>
                <c:pt idx="1017">
                  <c:v>44273</c:v>
                </c:pt>
                <c:pt idx="1018">
                  <c:v>44272</c:v>
                </c:pt>
                <c:pt idx="1019">
                  <c:v>44271</c:v>
                </c:pt>
                <c:pt idx="1020">
                  <c:v>44270</c:v>
                </c:pt>
                <c:pt idx="1021">
                  <c:v>44267</c:v>
                </c:pt>
                <c:pt idx="1022">
                  <c:v>44266</c:v>
                </c:pt>
                <c:pt idx="1023">
                  <c:v>44265</c:v>
                </c:pt>
                <c:pt idx="1024">
                  <c:v>44264</c:v>
                </c:pt>
                <c:pt idx="1025">
                  <c:v>44263</c:v>
                </c:pt>
                <c:pt idx="1026">
                  <c:v>44260</c:v>
                </c:pt>
                <c:pt idx="1027">
                  <c:v>44259</c:v>
                </c:pt>
                <c:pt idx="1028">
                  <c:v>44258</c:v>
                </c:pt>
                <c:pt idx="1029">
                  <c:v>44257</c:v>
                </c:pt>
                <c:pt idx="1030">
                  <c:v>44256</c:v>
                </c:pt>
                <c:pt idx="1031">
                  <c:v>44253</c:v>
                </c:pt>
                <c:pt idx="1032">
                  <c:v>44252</c:v>
                </c:pt>
                <c:pt idx="1033">
                  <c:v>44251</c:v>
                </c:pt>
                <c:pt idx="1034">
                  <c:v>44250</c:v>
                </c:pt>
                <c:pt idx="1035">
                  <c:v>44249</c:v>
                </c:pt>
                <c:pt idx="1036">
                  <c:v>44246</c:v>
                </c:pt>
                <c:pt idx="1037">
                  <c:v>44245</c:v>
                </c:pt>
                <c:pt idx="1038">
                  <c:v>44244</c:v>
                </c:pt>
                <c:pt idx="1039">
                  <c:v>44243</c:v>
                </c:pt>
                <c:pt idx="1040">
                  <c:v>44242</c:v>
                </c:pt>
                <c:pt idx="1041">
                  <c:v>44239</c:v>
                </c:pt>
                <c:pt idx="1042">
                  <c:v>44238</c:v>
                </c:pt>
                <c:pt idx="1043">
                  <c:v>44237</c:v>
                </c:pt>
                <c:pt idx="1044">
                  <c:v>44236</c:v>
                </c:pt>
                <c:pt idx="1045">
                  <c:v>44235</c:v>
                </c:pt>
                <c:pt idx="1046">
                  <c:v>44232</c:v>
                </c:pt>
                <c:pt idx="1047">
                  <c:v>44231</c:v>
                </c:pt>
                <c:pt idx="1048">
                  <c:v>44230</c:v>
                </c:pt>
                <c:pt idx="1049">
                  <c:v>44229</c:v>
                </c:pt>
                <c:pt idx="1050">
                  <c:v>44228</c:v>
                </c:pt>
                <c:pt idx="1051">
                  <c:v>44225</c:v>
                </c:pt>
                <c:pt idx="1052">
                  <c:v>44224</c:v>
                </c:pt>
                <c:pt idx="1053">
                  <c:v>44223</c:v>
                </c:pt>
                <c:pt idx="1054">
                  <c:v>44222</c:v>
                </c:pt>
                <c:pt idx="1055">
                  <c:v>44221</c:v>
                </c:pt>
                <c:pt idx="1056">
                  <c:v>44218</c:v>
                </c:pt>
                <c:pt idx="1057">
                  <c:v>44217</c:v>
                </c:pt>
                <c:pt idx="1058">
                  <c:v>44216</c:v>
                </c:pt>
                <c:pt idx="1059">
                  <c:v>44215</c:v>
                </c:pt>
                <c:pt idx="1060">
                  <c:v>44214</c:v>
                </c:pt>
                <c:pt idx="1061">
                  <c:v>44211</c:v>
                </c:pt>
                <c:pt idx="1062">
                  <c:v>44210</c:v>
                </c:pt>
                <c:pt idx="1063">
                  <c:v>44209</c:v>
                </c:pt>
                <c:pt idx="1064">
                  <c:v>44208</c:v>
                </c:pt>
                <c:pt idx="1065">
                  <c:v>44207</c:v>
                </c:pt>
                <c:pt idx="1066">
                  <c:v>44204</c:v>
                </c:pt>
                <c:pt idx="1067">
                  <c:v>44203</c:v>
                </c:pt>
                <c:pt idx="1068">
                  <c:v>44202</c:v>
                </c:pt>
                <c:pt idx="1069">
                  <c:v>44201</c:v>
                </c:pt>
                <c:pt idx="1070">
                  <c:v>44200</c:v>
                </c:pt>
                <c:pt idx="1071">
                  <c:v>44196</c:v>
                </c:pt>
                <c:pt idx="1072">
                  <c:v>44195</c:v>
                </c:pt>
                <c:pt idx="1073">
                  <c:v>44194</c:v>
                </c:pt>
                <c:pt idx="1074">
                  <c:v>44189</c:v>
                </c:pt>
                <c:pt idx="1075">
                  <c:v>44188</c:v>
                </c:pt>
                <c:pt idx="1076">
                  <c:v>44187</c:v>
                </c:pt>
                <c:pt idx="1077">
                  <c:v>44186</c:v>
                </c:pt>
                <c:pt idx="1078">
                  <c:v>44183</c:v>
                </c:pt>
                <c:pt idx="1079">
                  <c:v>44182</c:v>
                </c:pt>
                <c:pt idx="1080">
                  <c:v>44181</c:v>
                </c:pt>
                <c:pt idx="1081">
                  <c:v>44180</c:v>
                </c:pt>
                <c:pt idx="1082">
                  <c:v>44179</c:v>
                </c:pt>
                <c:pt idx="1083">
                  <c:v>44176</c:v>
                </c:pt>
                <c:pt idx="1084">
                  <c:v>44175</c:v>
                </c:pt>
                <c:pt idx="1085">
                  <c:v>44174</c:v>
                </c:pt>
                <c:pt idx="1086">
                  <c:v>44173</c:v>
                </c:pt>
                <c:pt idx="1087">
                  <c:v>44172</c:v>
                </c:pt>
                <c:pt idx="1088">
                  <c:v>44169</c:v>
                </c:pt>
                <c:pt idx="1089">
                  <c:v>44168</c:v>
                </c:pt>
                <c:pt idx="1090">
                  <c:v>44167</c:v>
                </c:pt>
                <c:pt idx="1091">
                  <c:v>44166</c:v>
                </c:pt>
                <c:pt idx="1092">
                  <c:v>44165</c:v>
                </c:pt>
                <c:pt idx="1093">
                  <c:v>44162</c:v>
                </c:pt>
                <c:pt idx="1094">
                  <c:v>44161</c:v>
                </c:pt>
                <c:pt idx="1095">
                  <c:v>44160</c:v>
                </c:pt>
                <c:pt idx="1096">
                  <c:v>44159</c:v>
                </c:pt>
                <c:pt idx="1097">
                  <c:v>44158</c:v>
                </c:pt>
                <c:pt idx="1098">
                  <c:v>44155</c:v>
                </c:pt>
                <c:pt idx="1099">
                  <c:v>44154</c:v>
                </c:pt>
                <c:pt idx="1100">
                  <c:v>44153</c:v>
                </c:pt>
                <c:pt idx="1101">
                  <c:v>44152</c:v>
                </c:pt>
                <c:pt idx="1102">
                  <c:v>44151</c:v>
                </c:pt>
                <c:pt idx="1103">
                  <c:v>44148</c:v>
                </c:pt>
                <c:pt idx="1104">
                  <c:v>44147</c:v>
                </c:pt>
                <c:pt idx="1105">
                  <c:v>44146</c:v>
                </c:pt>
                <c:pt idx="1106">
                  <c:v>44145</c:v>
                </c:pt>
                <c:pt idx="1107">
                  <c:v>44144</c:v>
                </c:pt>
                <c:pt idx="1108">
                  <c:v>44141</c:v>
                </c:pt>
                <c:pt idx="1109">
                  <c:v>44140</c:v>
                </c:pt>
                <c:pt idx="1110">
                  <c:v>44139</c:v>
                </c:pt>
                <c:pt idx="1111">
                  <c:v>44138</c:v>
                </c:pt>
                <c:pt idx="1112">
                  <c:v>44137</c:v>
                </c:pt>
                <c:pt idx="1113">
                  <c:v>44134</c:v>
                </c:pt>
                <c:pt idx="1114">
                  <c:v>44133</c:v>
                </c:pt>
                <c:pt idx="1115">
                  <c:v>44132</c:v>
                </c:pt>
                <c:pt idx="1116">
                  <c:v>44131</c:v>
                </c:pt>
                <c:pt idx="1117">
                  <c:v>44130</c:v>
                </c:pt>
                <c:pt idx="1118">
                  <c:v>44127</c:v>
                </c:pt>
                <c:pt idx="1119">
                  <c:v>44126</c:v>
                </c:pt>
                <c:pt idx="1120">
                  <c:v>44125</c:v>
                </c:pt>
                <c:pt idx="1121">
                  <c:v>44124</c:v>
                </c:pt>
                <c:pt idx="1122">
                  <c:v>44123</c:v>
                </c:pt>
                <c:pt idx="1123">
                  <c:v>44120</c:v>
                </c:pt>
                <c:pt idx="1124">
                  <c:v>44119</c:v>
                </c:pt>
                <c:pt idx="1125">
                  <c:v>44118</c:v>
                </c:pt>
                <c:pt idx="1126">
                  <c:v>44117</c:v>
                </c:pt>
                <c:pt idx="1127">
                  <c:v>44116</c:v>
                </c:pt>
                <c:pt idx="1128">
                  <c:v>44113</c:v>
                </c:pt>
                <c:pt idx="1129">
                  <c:v>44112</c:v>
                </c:pt>
                <c:pt idx="1130">
                  <c:v>44111</c:v>
                </c:pt>
                <c:pt idx="1131">
                  <c:v>44110</c:v>
                </c:pt>
                <c:pt idx="1132">
                  <c:v>44109</c:v>
                </c:pt>
                <c:pt idx="1133">
                  <c:v>44106</c:v>
                </c:pt>
                <c:pt idx="1134">
                  <c:v>44105</c:v>
                </c:pt>
                <c:pt idx="1135">
                  <c:v>44104</c:v>
                </c:pt>
                <c:pt idx="1136">
                  <c:v>44103</c:v>
                </c:pt>
                <c:pt idx="1137">
                  <c:v>44102</c:v>
                </c:pt>
                <c:pt idx="1138">
                  <c:v>44099</c:v>
                </c:pt>
                <c:pt idx="1139">
                  <c:v>44098</c:v>
                </c:pt>
                <c:pt idx="1140">
                  <c:v>44097</c:v>
                </c:pt>
                <c:pt idx="1141">
                  <c:v>44096</c:v>
                </c:pt>
                <c:pt idx="1142">
                  <c:v>44095</c:v>
                </c:pt>
                <c:pt idx="1143">
                  <c:v>44092</c:v>
                </c:pt>
                <c:pt idx="1144">
                  <c:v>44091</c:v>
                </c:pt>
                <c:pt idx="1145">
                  <c:v>44090</c:v>
                </c:pt>
                <c:pt idx="1146">
                  <c:v>44089</c:v>
                </c:pt>
                <c:pt idx="1147">
                  <c:v>44088</c:v>
                </c:pt>
                <c:pt idx="1148">
                  <c:v>44085</c:v>
                </c:pt>
                <c:pt idx="1149">
                  <c:v>44084</c:v>
                </c:pt>
                <c:pt idx="1150">
                  <c:v>44083</c:v>
                </c:pt>
                <c:pt idx="1151">
                  <c:v>44082</c:v>
                </c:pt>
                <c:pt idx="1152">
                  <c:v>44081</c:v>
                </c:pt>
                <c:pt idx="1153">
                  <c:v>44078</c:v>
                </c:pt>
                <c:pt idx="1154">
                  <c:v>44077</c:v>
                </c:pt>
                <c:pt idx="1155">
                  <c:v>44076</c:v>
                </c:pt>
                <c:pt idx="1156">
                  <c:v>44075</c:v>
                </c:pt>
                <c:pt idx="1157">
                  <c:v>44071</c:v>
                </c:pt>
                <c:pt idx="1158">
                  <c:v>44070</c:v>
                </c:pt>
                <c:pt idx="1159">
                  <c:v>44069</c:v>
                </c:pt>
                <c:pt idx="1160">
                  <c:v>44068</c:v>
                </c:pt>
                <c:pt idx="1161">
                  <c:v>44067</c:v>
                </c:pt>
                <c:pt idx="1162">
                  <c:v>44064</c:v>
                </c:pt>
                <c:pt idx="1163">
                  <c:v>44063</c:v>
                </c:pt>
                <c:pt idx="1164">
                  <c:v>44062</c:v>
                </c:pt>
                <c:pt idx="1165">
                  <c:v>44061</c:v>
                </c:pt>
                <c:pt idx="1166">
                  <c:v>44060</c:v>
                </c:pt>
                <c:pt idx="1167">
                  <c:v>44057</c:v>
                </c:pt>
                <c:pt idx="1168">
                  <c:v>44056</c:v>
                </c:pt>
                <c:pt idx="1169">
                  <c:v>44055</c:v>
                </c:pt>
                <c:pt idx="1170">
                  <c:v>44054</c:v>
                </c:pt>
                <c:pt idx="1171">
                  <c:v>44053</c:v>
                </c:pt>
                <c:pt idx="1172">
                  <c:v>44050</c:v>
                </c:pt>
                <c:pt idx="1173">
                  <c:v>44049</c:v>
                </c:pt>
                <c:pt idx="1174">
                  <c:v>44048</c:v>
                </c:pt>
                <c:pt idx="1175">
                  <c:v>44047</c:v>
                </c:pt>
                <c:pt idx="1176">
                  <c:v>44046</c:v>
                </c:pt>
                <c:pt idx="1177">
                  <c:v>44043</c:v>
                </c:pt>
                <c:pt idx="1178">
                  <c:v>44042</c:v>
                </c:pt>
                <c:pt idx="1179">
                  <c:v>44041</c:v>
                </c:pt>
                <c:pt idx="1180">
                  <c:v>44040</c:v>
                </c:pt>
                <c:pt idx="1181">
                  <c:v>44039</c:v>
                </c:pt>
                <c:pt idx="1182">
                  <c:v>44036</c:v>
                </c:pt>
                <c:pt idx="1183">
                  <c:v>44035</c:v>
                </c:pt>
                <c:pt idx="1184">
                  <c:v>44034</c:v>
                </c:pt>
                <c:pt idx="1185">
                  <c:v>44033</c:v>
                </c:pt>
                <c:pt idx="1186">
                  <c:v>44032</c:v>
                </c:pt>
                <c:pt idx="1187">
                  <c:v>44029</c:v>
                </c:pt>
                <c:pt idx="1188">
                  <c:v>44028</c:v>
                </c:pt>
                <c:pt idx="1189">
                  <c:v>44027</c:v>
                </c:pt>
                <c:pt idx="1190">
                  <c:v>44026</c:v>
                </c:pt>
                <c:pt idx="1191">
                  <c:v>44025</c:v>
                </c:pt>
                <c:pt idx="1192">
                  <c:v>44022</c:v>
                </c:pt>
                <c:pt idx="1193">
                  <c:v>44021</c:v>
                </c:pt>
                <c:pt idx="1194">
                  <c:v>44020</c:v>
                </c:pt>
                <c:pt idx="1195">
                  <c:v>44019</c:v>
                </c:pt>
                <c:pt idx="1196">
                  <c:v>44018</c:v>
                </c:pt>
                <c:pt idx="1197">
                  <c:v>44015</c:v>
                </c:pt>
                <c:pt idx="1198">
                  <c:v>44014</c:v>
                </c:pt>
                <c:pt idx="1199">
                  <c:v>44013</c:v>
                </c:pt>
                <c:pt idx="1200">
                  <c:v>44012</c:v>
                </c:pt>
                <c:pt idx="1201">
                  <c:v>44011</c:v>
                </c:pt>
                <c:pt idx="1202">
                  <c:v>44008</c:v>
                </c:pt>
                <c:pt idx="1203">
                  <c:v>44007</c:v>
                </c:pt>
                <c:pt idx="1204">
                  <c:v>44006</c:v>
                </c:pt>
                <c:pt idx="1205">
                  <c:v>44005</c:v>
                </c:pt>
                <c:pt idx="1206">
                  <c:v>44004</c:v>
                </c:pt>
                <c:pt idx="1207">
                  <c:v>44001</c:v>
                </c:pt>
                <c:pt idx="1208">
                  <c:v>44000</c:v>
                </c:pt>
                <c:pt idx="1209">
                  <c:v>43999</c:v>
                </c:pt>
                <c:pt idx="1210">
                  <c:v>43998</c:v>
                </c:pt>
                <c:pt idx="1211">
                  <c:v>43997</c:v>
                </c:pt>
                <c:pt idx="1212">
                  <c:v>43994</c:v>
                </c:pt>
                <c:pt idx="1213">
                  <c:v>43993</c:v>
                </c:pt>
                <c:pt idx="1214">
                  <c:v>43992</c:v>
                </c:pt>
                <c:pt idx="1215">
                  <c:v>43991</c:v>
                </c:pt>
                <c:pt idx="1216">
                  <c:v>43990</c:v>
                </c:pt>
                <c:pt idx="1217">
                  <c:v>43987</c:v>
                </c:pt>
                <c:pt idx="1218">
                  <c:v>43986</c:v>
                </c:pt>
                <c:pt idx="1219">
                  <c:v>43985</c:v>
                </c:pt>
                <c:pt idx="1220">
                  <c:v>43984</c:v>
                </c:pt>
                <c:pt idx="1221">
                  <c:v>43983</c:v>
                </c:pt>
                <c:pt idx="1222">
                  <c:v>43980</c:v>
                </c:pt>
                <c:pt idx="1223">
                  <c:v>43979</c:v>
                </c:pt>
                <c:pt idx="1224">
                  <c:v>43978</c:v>
                </c:pt>
                <c:pt idx="1225">
                  <c:v>43977</c:v>
                </c:pt>
                <c:pt idx="1226">
                  <c:v>43973</c:v>
                </c:pt>
                <c:pt idx="1227">
                  <c:v>43972</c:v>
                </c:pt>
                <c:pt idx="1228">
                  <c:v>43971</c:v>
                </c:pt>
                <c:pt idx="1229">
                  <c:v>43970</c:v>
                </c:pt>
                <c:pt idx="1230">
                  <c:v>43969</c:v>
                </c:pt>
                <c:pt idx="1231">
                  <c:v>43966</c:v>
                </c:pt>
                <c:pt idx="1232">
                  <c:v>43965</c:v>
                </c:pt>
                <c:pt idx="1233">
                  <c:v>43964</c:v>
                </c:pt>
                <c:pt idx="1234">
                  <c:v>43963</c:v>
                </c:pt>
                <c:pt idx="1235">
                  <c:v>43962</c:v>
                </c:pt>
                <c:pt idx="1236">
                  <c:v>43958</c:v>
                </c:pt>
                <c:pt idx="1237">
                  <c:v>43957</c:v>
                </c:pt>
                <c:pt idx="1238">
                  <c:v>43956</c:v>
                </c:pt>
                <c:pt idx="1239">
                  <c:v>43955</c:v>
                </c:pt>
                <c:pt idx="1240">
                  <c:v>43952</c:v>
                </c:pt>
                <c:pt idx="1241">
                  <c:v>43951</c:v>
                </c:pt>
                <c:pt idx="1242">
                  <c:v>43950</c:v>
                </c:pt>
                <c:pt idx="1243">
                  <c:v>43949</c:v>
                </c:pt>
                <c:pt idx="1244">
                  <c:v>43948</c:v>
                </c:pt>
                <c:pt idx="1245">
                  <c:v>43945</c:v>
                </c:pt>
                <c:pt idx="1246">
                  <c:v>43944</c:v>
                </c:pt>
                <c:pt idx="1247">
                  <c:v>43943</c:v>
                </c:pt>
                <c:pt idx="1248">
                  <c:v>43942</c:v>
                </c:pt>
                <c:pt idx="1249">
                  <c:v>43941</c:v>
                </c:pt>
                <c:pt idx="1250">
                  <c:v>43938</c:v>
                </c:pt>
                <c:pt idx="1251">
                  <c:v>43937</c:v>
                </c:pt>
                <c:pt idx="1252">
                  <c:v>43936</c:v>
                </c:pt>
                <c:pt idx="1253">
                  <c:v>43935</c:v>
                </c:pt>
                <c:pt idx="1254">
                  <c:v>43930</c:v>
                </c:pt>
                <c:pt idx="1255">
                  <c:v>43929</c:v>
                </c:pt>
                <c:pt idx="1256">
                  <c:v>43928</c:v>
                </c:pt>
                <c:pt idx="1257">
                  <c:v>43927</c:v>
                </c:pt>
                <c:pt idx="1258">
                  <c:v>43924</c:v>
                </c:pt>
                <c:pt idx="1259">
                  <c:v>43923</c:v>
                </c:pt>
                <c:pt idx="1260">
                  <c:v>43922</c:v>
                </c:pt>
                <c:pt idx="1261">
                  <c:v>43921</c:v>
                </c:pt>
                <c:pt idx="1262">
                  <c:v>43920</c:v>
                </c:pt>
                <c:pt idx="1263">
                  <c:v>43917</c:v>
                </c:pt>
                <c:pt idx="1264">
                  <c:v>43916</c:v>
                </c:pt>
                <c:pt idx="1265">
                  <c:v>43915</c:v>
                </c:pt>
                <c:pt idx="1266">
                  <c:v>43914</c:v>
                </c:pt>
                <c:pt idx="1267">
                  <c:v>43913</c:v>
                </c:pt>
                <c:pt idx="1268">
                  <c:v>43910</c:v>
                </c:pt>
                <c:pt idx="1269">
                  <c:v>43909</c:v>
                </c:pt>
                <c:pt idx="1270">
                  <c:v>43908</c:v>
                </c:pt>
                <c:pt idx="1271">
                  <c:v>43907</c:v>
                </c:pt>
                <c:pt idx="1272">
                  <c:v>43906</c:v>
                </c:pt>
                <c:pt idx="1273">
                  <c:v>43903</c:v>
                </c:pt>
                <c:pt idx="1274">
                  <c:v>43902</c:v>
                </c:pt>
                <c:pt idx="1275">
                  <c:v>43901</c:v>
                </c:pt>
                <c:pt idx="1276">
                  <c:v>43900</c:v>
                </c:pt>
                <c:pt idx="1277">
                  <c:v>43899</c:v>
                </c:pt>
                <c:pt idx="1278">
                  <c:v>43896</c:v>
                </c:pt>
                <c:pt idx="1279">
                  <c:v>43895</c:v>
                </c:pt>
                <c:pt idx="1280">
                  <c:v>43894</c:v>
                </c:pt>
                <c:pt idx="1281">
                  <c:v>43893</c:v>
                </c:pt>
                <c:pt idx="1282">
                  <c:v>43892</c:v>
                </c:pt>
                <c:pt idx="1283">
                  <c:v>43889</c:v>
                </c:pt>
                <c:pt idx="1284">
                  <c:v>43888</c:v>
                </c:pt>
                <c:pt idx="1285">
                  <c:v>43887</c:v>
                </c:pt>
                <c:pt idx="1286">
                  <c:v>43886</c:v>
                </c:pt>
                <c:pt idx="1287">
                  <c:v>43885</c:v>
                </c:pt>
                <c:pt idx="1288">
                  <c:v>43882</c:v>
                </c:pt>
                <c:pt idx="1289">
                  <c:v>43881</c:v>
                </c:pt>
                <c:pt idx="1290">
                  <c:v>43880</c:v>
                </c:pt>
                <c:pt idx="1291">
                  <c:v>43879</c:v>
                </c:pt>
                <c:pt idx="1292">
                  <c:v>43878</c:v>
                </c:pt>
                <c:pt idx="1293">
                  <c:v>43875</c:v>
                </c:pt>
                <c:pt idx="1294">
                  <c:v>43874</c:v>
                </c:pt>
                <c:pt idx="1295">
                  <c:v>43873</c:v>
                </c:pt>
                <c:pt idx="1296">
                  <c:v>43872</c:v>
                </c:pt>
                <c:pt idx="1297">
                  <c:v>43871</c:v>
                </c:pt>
                <c:pt idx="1298">
                  <c:v>43868</c:v>
                </c:pt>
                <c:pt idx="1299">
                  <c:v>43867</c:v>
                </c:pt>
                <c:pt idx="1300">
                  <c:v>43866</c:v>
                </c:pt>
                <c:pt idx="1301">
                  <c:v>43865</c:v>
                </c:pt>
                <c:pt idx="1302">
                  <c:v>43864</c:v>
                </c:pt>
                <c:pt idx="1303">
                  <c:v>43861</c:v>
                </c:pt>
                <c:pt idx="1304">
                  <c:v>43860</c:v>
                </c:pt>
                <c:pt idx="1305">
                  <c:v>43859</c:v>
                </c:pt>
                <c:pt idx="1306">
                  <c:v>43858</c:v>
                </c:pt>
                <c:pt idx="1307">
                  <c:v>43857</c:v>
                </c:pt>
                <c:pt idx="1308">
                  <c:v>43854</c:v>
                </c:pt>
                <c:pt idx="1309">
                  <c:v>43853</c:v>
                </c:pt>
                <c:pt idx="1310">
                  <c:v>43852</c:v>
                </c:pt>
                <c:pt idx="1311">
                  <c:v>43851</c:v>
                </c:pt>
                <c:pt idx="1312">
                  <c:v>43850</c:v>
                </c:pt>
                <c:pt idx="1313">
                  <c:v>43847</c:v>
                </c:pt>
                <c:pt idx="1314">
                  <c:v>43846</c:v>
                </c:pt>
                <c:pt idx="1315">
                  <c:v>43845</c:v>
                </c:pt>
                <c:pt idx="1316">
                  <c:v>43844</c:v>
                </c:pt>
                <c:pt idx="1317">
                  <c:v>43843</c:v>
                </c:pt>
                <c:pt idx="1318">
                  <c:v>43840</c:v>
                </c:pt>
                <c:pt idx="1319">
                  <c:v>43839</c:v>
                </c:pt>
                <c:pt idx="1320">
                  <c:v>43838</c:v>
                </c:pt>
                <c:pt idx="1321">
                  <c:v>43837</c:v>
                </c:pt>
                <c:pt idx="1322">
                  <c:v>43836</c:v>
                </c:pt>
                <c:pt idx="1323">
                  <c:v>43833</c:v>
                </c:pt>
                <c:pt idx="1324">
                  <c:v>43832</c:v>
                </c:pt>
                <c:pt idx="1325">
                  <c:v>43830</c:v>
                </c:pt>
                <c:pt idx="1326">
                  <c:v>43829</c:v>
                </c:pt>
                <c:pt idx="1327">
                  <c:v>43826</c:v>
                </c:pt>
                <c:pt idx="1328">
                  <c:v>43823</c:v>
                </c:pt>
                <c:pt idx="1329">
                  <c:v>43822</c:v>
                </c:pt>
                <c:pt idx="1330">
                  <c:v>43819</c:v>
                </c:pt>
                <c:pt idx="1331">
                  <c:v>43818</c:v>
                </c:pt>
                <c:pt idx="1332">
                  <c:v>43817</c:v>
                </c:pt>
                <c:pt idx="1333">
                  <c:v>43816</c:v>
                </c:pt>
                <c:pt idx="1334">
                  <c:v>43815</c:v>
                </c:pt>
                <c:pt idx="1335">
                  <c:v>43812</c:v>
                </c:pt>
                <c:pt idx="1336">
                  <c:v>43811</c:v>
                </c:pt>
                <c:pt idx="1337">
                  <c:v>43810</c:v>
                </c:pt>
                <c:pt idx="1338">
                  <c:v>43809</c:v>
                </c:pt>
                <c:pt idx="1339">
                  <c:v>43808</c:v>
                </c:pt>
                <c:pt idx="1340">
                  <c:v>43805</c:v>
                </c:pt>
                <c:pt idx="1341">
                  <c:v>43804</c:v>
                </c:pt>
                <c:pt idx="1342">
                  <c:v>43803</c:v>
                </c:pt>
                <c:pt idx="1343">
                  <c:v>43802</c:v>
                </c:pt>
                <c:pt idx="1344">
                  <c:v>43801</c:v>
                </c:pt>
                <c:pt idx="1345">
                  <c:v>43798</c:v>
                </c:pt>
                <c:pt idx="1346">
                  <c:v>43797</c:v>
                </c:pt>
                <c:pt idx="1347">
                  <c:v>43796</c:v>
                </c:pt>
                <c:pt idx="1348">
                  <c:v>43795</c:v>
                </c:pt>
                <c:pt idx="1349">
                  <c:v>43794</c:v>
                </c:pt>
                <c:pt idx="1350">
                  <c:v>43791</c:v>
                </c:pt>
                <c:pt idx="1351">
                  <c:v>43790</c:v>
                </c:pt>
                <c:pt idx="1352">
                  <c:v>43789</c:v>
                </c:pt>
                <c:pt idx="1353">
                  <c:v>43788</c:v>
                </c:pt>
                <c:pt idx="1354">
                  <c:v>43787</c:v>
                </c:pt>
                <c:pt idx="1355">
                  <c:v>43784</c:v>
                </c:pt>
                <c:pt idx="1356">
                  <c:v>43783</c:v>
                </c:pt>
                <c:pt idx="1357">
                  <c:v>43782</c:v>
                </c:pt>
                <c:pt idx="1358">
                  <c:v>43781</c:v>
                </c:pt>
                <c:pt idx="1359">
                  <c:v>43780</c:v>
                </c:pt>
                <c:pt idx="1360">
                  <c:v>43777</c:v>
                </c:pt>
                <c:pt idx="1361">
                  <c:v>43776</c:v>
                </c:pt>
                <c:pt idx="1362">
                  <c:v>43775</c:v>
                </c:pt>
                <c:pt idx="1363">
                  <c:v>43774</c:v>
                </c:pt>
                <c:pt idx="1364">
                  <c:v>43773</c:v>
                </c:pt>
                <c:pt idx="1365">
                  <c:v>43770</c:v>
                </c:pt>
                <c:pt idx="1366">
                  <c:v>43769</c:v>
                </c:pt>
                <c:pt idx="1367">
                  <c:v>43768</c:v>
                </c:pt>
                <c:pt idx="1368">
                  <c:v>43767</c:v>
                </c:pt>
                <c:pt idx="1369">
                  <c:v>43766</c:v>
                </c:pt>
                <c:pt idx="1370">
                  <c:v>43763</c:v>
                </c:pt>
                <c:pt idx="1371">
                  <c:v>43762</c:v>
                </c:pt>
                <c:pt idx="1372">
                  <c:v>43761</c:v>
                </c:pt>
                <c:pt idx="1373">
                  <c:v>43760</c:v>
                </c:pt>
                <c:pt idx="1374">
                  <c:v>43759</c:v>
                </c:pt>
                <c:pt idx="1375">
                  <c:v>43756</c:v>
                </c:pt>
                <c:pt idx="1376">
                  <c:v>43755</c:v>
                </c:pt>
                <c:pt idx="1377">
                  <c:v>43754</c:v>
                </c:pt>
                <c:pt idx="1378">
                  <c:v>43753</c:v>
                </c:pt>
                <c:pt idx="1379">
                  <c:v>43752</c:v>
                </c:pt>
                <c:pt idx="1380">
                  <c:v>43749</c:v>
                </c:pt>
                <c:pt idx="1381">
                  <c:v>43748</c:v>
                </c:pt>
                <c:pt idx="1382">
                  <c:v>43747</c:v>
                </c:pt>
                <c:pt idx="1383">
                  <c:v>43746</c:v>
                </c:pt>
                <c:pt idx="1384">
                  <c:v>43745</c:v>
                </c:pt>
                <c:pt idx="1385">
                  <c:v>43742</c:v>
                </c:pt>
                <c:pt idx="1386">
                  <c:v>43741</c:v>
                </c:pt>
                <c:pt idx="1387">
                  <c:v>43740</c:v>
                </c:pt>
                <c:pt idx="1388">
                  <c:v>43739</c:v>
                </c:pt>
                <c:pt idx="1389">
                  <c:v>43738</c:v>
                </c:pt>
                <c:pt idx="1390">
                  <c:v>43735</c:v>
                </c:pt>
                <c:pt idx="1391">
                  <c:v>43734</c:v>
                </c:pt>
                <c:pt idx="1392">
                  <c:v>43733</c:v>
                </c:pt>
                <c:pt idx="1393">
                  <c:v>43732</c:v>
                </c:pt>
                <c:pt idx="1394">
                  <c:v>43731</c:v>
                </c:pt>
                <c:pt idx="1395">
                  <c:v>43728</c:v>
                </c:pt>
                <c:pt idx="1396">
                  <c:v>43727</c:v>
                </c:pt>
                <c:pt idx="1397">
                  <c:v>43726</c:v>
                </c:pt>
                <c:pt idx="1398">
                  <c:v>43725</c:v>
                </c:pt>
                <c:pt idx="1399">
                  <c:v>43724</c:v>
                </c:pt>
                <c:pt idx="1400">
                  <c:v>43721</c:v>
                </c:pt>
                <c:pt idx="1401">
                  <c:v>43720</c:v>
                </c:pt>
                <c:pt idx="1402">
                  <c:v>43719</c:v>
                </c:pt>
                <c:pt idx="1403">
                  <c:v>43718</c:v>
                </c:pt>
                <c:pt idx="1404">
                  <c:v>43717</c:v>
                </c:pt>
                <c:pt idx="1405">
                  <c:v>43714</c:v>
                </c:pt>
                <c:pt idx="1406">
                  <c:v>43713</c:v>
                </c:pt>
                <c:pt idx="1407">
                  <c:v>43712</c:v>
                </c:pt>
                <c:pt idx="1408">
                  <c:v>43711</c:v>
                </c:pt>
                <c:pt idx="1409">
                  <c:v>43710</c:v>
                </c:pt>
                <c:pt idx="1410">
                  <c:v>43707</c:v>
                </c:pt>
                <c:pt idx="1411">
                  <c:v>43706</c:v>
                </c:pt>
                <c:pt idx="1412">
                  <c:v>43705</c:v>
                </c:pt>
                <c:pt idx="1413">
                  <c:v>43704</c:v>
                </c:pt>
                <c:pt idx="1414">
                  <c:v>43700</c:v>
                </c:pt>
                <c:pt idx="1415">
                  <c:v>43699</c:v>
                </c:pt>
                <c:pt idx="1416">
                  <c:v>43698</c:v>
                </c:pt>
                <c:pt idx="1417">
                  <c:v>43697</c:v>
                </c:pt>
                <c:pt idx="1418">
                  <c:v>43696</c:v>
                </c:pt>
                <c:pt idx="1419">
                  <c:v>43693</c:v>
                </c:pt>
                <c:pt idx="1420">
                  <c:v>43692</c:v>
                </c:pt>
                <c:pt idx="1421">
                  <c:v>43691</c:v>
                </c:pt>
                <c:pt idx="1422">
                  <c:v>43690</c:v>
                </c:pt>
                <c:pt idx="1423">
                  <c:v>43689</c:v>
                </c:pt>
                <c:pt idx="1424">
                  <c:v>43686</c:v>
                </c:pt>
                <c:pt idx="1425">
                  <c:v>43685</c:v>
                </c:pt>
                <c:pt idx="1426">
                  <c:v>43684</c:v>
                </c:pt>
                <c:pt idx="1427">
                  <c:v>43683</c:v>
                </c:pt>
                <c:pt idx="1428">
                  <c:v>43682</c:v>
                </c:pt>
                <c:pt idx="1429">
                  <c:v>43679</c:v>
                </c:pt>
                <c:pt idx="1430">
                  <c:v>43678</c:v>
                </c:pt>
                <c:pt idx="1431">
                  <c:v>43677</c:v>
                </c:pt>
                <c:pt idx="1432">
                  <c:v>43676</c:v>
                </c:pt>
                <c:pt idx="1433">
                  <c:v>43675</c:v>
                </c:pt>
                <c:pt idx="1434">
                  <c:v>43672</c:v>
                </c:pt>
                <c:pt idx="1435">
                  <c:v>43671</c:v>
                </c:pt>
                <c:pt idx="1436">
                  <c:v>43670</c:v>
                </c:pt>
                <c:pt idx="1437">
                  <c:v>43669</c:v>
                </c:pt>
                <c:pt idx="1438">
                  <c:v>43668</c:v>
                </c:pt>
                <c:pt idx="1439">
                  <c:v>43665</c:v>
                </c:pt>
                <c:pt idx="1440">
                  <c:v>43664</c:v>
                </c:pt>
                <c:pt idx="1441">
                  <c:v>43663</c:v>
                </c:pt>
                <c:pt idx="1442">
                  <c:v>43662</c:v>
                </c:pt>
                <c:pt idx="1443">
                  <c:v>43661</c:v>
                </c:pt>
                <c:pt idx="1444">
                  <c:v>43658</c:v>
                </c:pt>
                <c:pt idx="1445">
                  <c:v>43657</c:v>
                </c:pt>
                <c:pt idx="1446">
                  <c:v>43656</c:v>
                </c:pt>
                <c:pt idx="1447">
                  <c:v>43655</c:v>
                </c:pt>
                <c:pt idx="1448">
                  <c:v>43654</c:v>
                </c:pt>
                <c:pt idx="1449">
                  <c:v>43651</c:v>
                </c:pt>
                <c:pt idx="1450">
                  <c:v>43650</c:v>
                </c:pt>
                <c:pt idx="1451">
                  <c:v>43649</c:v>
                </c:pt>
                <c:pt idx="1452">
                  <c:v>43648</c:v>
                </c:pt>
                <c:pt idx="1453">
                  <c:v>43647</c:v>
                </c:pt>
                <c:pt idx="1454">
                  <c:v>43644</c:v>
                </c:pt>
                <c:pt idx="1455">
                  <c:v>43643</c:v>
                </c:pt>
                <c:pt idx="1456">
                  <c:v>43642</c:v>
                </c:pt>
                <c:pt idx="1457">
                  <c:v>43641</c:v>
                </c:pt>
                <c:pt idx="1458">
                  <c:v>43640</c:v>
                </c:pt>
                <c:pt idx="1459">
                  <c:v>43637</c:v>
                </c:pt>
                <c:pt idx="1460">
                  <c:v>43636</c:v>
                </c:pt>
                <c:pt idx="1461">
                  <c:v>43635</c:v>
                </c:pt>
                <c:pt idx="1462">
                  <c:v>43634</c:v>
                </c:pt>
                <c:pt idx="1463">
                  <c:v>43633</c:v>
                </c:pt>
                <c:pt idx="1464">
                  <c:v>43630</c:v>
                </c:pt>
                <c:pt idx="1465">
                  <c:v>43629</c:v>
                </c:pt>
                <c:pt idx="1466">
                  <c:v>43628</c:v>
                </c:pt>
                <c:pt idx="1467">
                  <c:v>43627</c:v>
                </c:pt>
                <c:pt idx="1468">
                  <c:v>43626</c:v>
                </c:pt>
                <c:pt idx="1469">
                  <c:v>43623</c:v>
                </c:pt>
                <c:pt idx="1470">
                  <c:v>43622</c:v>
                </c:pt>
                <c:pt idx="1471">
                  <c:v>43621</c:v>
                </c:pt>
                <c:pt idx="1472">
                  <c:v>43620</c:v>
                </c:pt>
                <c:pt idx="1473">
                  <c:v>43619</c:v>
                </c:pt>
                <c:pt idx="1474">
                  <c:v>43616</c:v>
                </c:pt>
                <c:pt idx="1475">
                  <c:v>43615</c:v>
                </c:pt>
                <c:pt idx="1476">
                  <c:v>43614</c:v>
                </c:pt>
                <c:pt idx="1477">
                  <c:v>43613</c:v>
                </c:pt>
                <c:pt idx="1478">
                  <c:v>43609</c:v>
                </c:pt>
                <c:pt idx="1479">
                  <c:v>43608</c:v>
                </c:pt>
                <c:pt idx="1480">
                  <c:v>43607</c:v>
                </c:pt>
                <c:pt idx="1481">
                  <c:v>43606</c:v>
                </c:pt>
                <c:pt idx="1482">
                  <c:v>43605</c:v>
                </c:pt>
                <c:pt idx="1483">
                  <c:v>43602</c:v>
                </c:pt>
                <c:pt idx="1484">
                  <c:v>43601</c:v>
                </c:pt>
                <c:pt idx="1485">
                  <c:v>43600</c:v>
                </c:pt>
                <c:pt idx="1486">
                  <c:v>43599</c:v>
                </c:pt>
                <c:pt idx="1487">
                  <c:v>43598</c:v>
                </c:pt>
                <c:pt idx="1488">
                  <c:v>43595</c:v>
                </c:pt>
                <c:pt idx="1489">
                  <c:v>43594</c:v>
                </c:pt>
                <c:pt idx="1490">
                  <c:v>43593</c:v>
                </c:pt>
                <c:pt idx="1491">
                  <c:v>43592</c:v>
                </c:pt>
                <c:pt idx="1492">
                  <c:v>43588</c:v>
                </c:pt>
                <c:pt idx="1493">
                  <c:v>43587</c:v>
                </c:pt>
                <c:pt idx="1494">
                  <c:v>43586</c:v>
                </c:pt>
                <c:pt idx="1495">
                  <c:v>43585</c:v>
                </c:pt>
                <c:pt idx="1496">
                  <c:v>43584</c:v>
                </c:pt>
                <c:pt idx="1497">
                  <c:v>43581</c:v>
                </c:pt>
                <c:pt idx="1498">
                  <c:v>43580</c:v>
                </c:pt>
                <c:pt idx="1499">
                  <c:v>43579</c:v>
                </c:pt>
                <c:pt idx="1500">
                  <c:v>43578</c:v>
                </c:pt>
                <c:pt idx="1501">
                  <c:v>43573</c:v>
                </c:pt>
                <c:pt idx="1502">
                  <c:v>43572</c:v>
                </c:pt>
                <c:pt idx="1503">
                  <c:v>43571</c:v>
                </c:pt>
                <c:pt idx="1504">
                  <c:v>43570</c:v>
                </c:pt>
                <c:pt idx="1505">
                  <c:v>43567</c:v>
                </c:pt>
                <c:pt idx="1506">
                  <c:v>43566</c:v>
                </c:pt>
                <c:pt idx="1507">
                  <c:v>43565</c:v>
                </c:pt>
                <c:pt idx="1508">
                  <c:v>43564</c:v>
                </c:pt>
                <c:pt idx="1509">
                  <c:v>43563</c:v>
                </c:pt>
                <c:pt idx="1510">
                  <c:v>43560</c:v>
                </c:pt>
                <c:pt idx="1511">
                  <c:v>43559</c:v>
                </c:pt>
                <c:pt idx="1512">
                  <c:v>43558</c:v>
                </c:pt>
                <c:pt idx="1513">
                  <c:v>43557</c:v>
                </c:pt>
                <c:pt idx="1514">
                  <c:v>43556</c:v>
                </c:pt>
                <c:pt idx="1515">
                  <c:v>43553</c:v>
                </c:pt>
                <c:pt idx="1516">
                  <c:v>43552</c:v>
                </c:pt>
                <c:pt idx="1517">
                  <c:v>43551</c:v>
                </c:pt>
                <c:pt idx="1518">
                  <c:v>43550</c:v>
                </c:pt>
                <c:pt idx="1519">
                  <c:v>43549</c:v>
                </c:pt>
                <c:pt idx="1520">
                  <c:v>43546</c:v>
                </c:pt>
                <c:pt idx="1521">
                  <c:v>43545</c:v>
                </c:pt>
                <c:pt idx="1522">
                  <c:v>43544</c:v>
                </c:pt>
                <c:pt idx="1523">
                  <c:v>43543</c:v>
                </c:pt>
                <c:pt idx="1524">
                  <c:v>43542</c:v>
                </c:pt>
                <c:pt idx="1525">
                  <c:v>43539</c:v>
                </c:pt>
                <c:pt idx="1526">
                  <c:v>43538</c:v>
                </c:pt>
                <c:pt idx="1527">
                  <c:v>43537</c:v>
                </c:pt>
                <c:pt idx="1528">
                  <c:v>43536</c:v>
                </c:pt>
                <c:pt idx="1529">
                  <c:v>43535</c:v>
                </c:pt>
                <c:pt idx="1530">
                  <c:v>43532</c:v>
                </c:pt>
                <c:pt idx="1531">
                  <c:v>43531</c:v>
                </c:pt>
                <c:pt idx="1532">
                  <c:v>43530</c:v>
                </c:pt>
                <c:pt idx="1533">
                  <c:v>43529</c:v>
                </c:pt>
                <c:pt idx="1534">
                  <c:v>43528</c:v>
                </c:pt>
                <c:pt idx="1535">
                  <c:v>43525</c:v>
                </c:pt>
                <c:pt idx="1536">
                  <c:v>43524</c:v>
                </c:pt>
                <c:pt idx="1537">
                  <c:v>43523</c:v>
                </c:pt>
                <c:pt idx="1538">
                  <c:v>43522</c:v>
                </c:pt>
                <c:pt idx="1539">
                  <c:v>43521</c:v>
                </c:pt>
                <c:pt idx="1540">
                  <c:v>43518</c:v>
                </c:pt>
                <c:pt idx="1541">
                  <c:v>43517</c:v>
                </c:pt>
                <c:pt idx="1542">
                  <c:v>43516</c:v>
                </c:pt>
                <c:pt idx="1543">
                  <c:v>43515</c:v>
                </c:pt>
                <c:pt idx="1544">
                  <c:v>43514</c:v>
                </c:pt>
                <c:pt idx="1545">
                  <c:v>43511</c:v>
                </c:pt>
                <c:pt idx="1546">
                  <c:v>43510</c:v>
                </c:pt>
                <c:pt idx="1547">
                  <c:v>43509</c:v>
                </c:pt>
                <c:pt idx="1548">
                  <c:v>43508</c:v>
                </c:pt>
                <c:pt idx="1549">
                  <c:v>43507</c:v>
                </c:pt>
                <c:pt idx="1550">
                  <c:v>43504</c:v>
                </c:pt>
                <c:pt idx="1551">
                  <c:v>43503</c:v>
                </c:pt>
                <c:pt idx="1552">
                  <c:v>43502</c:v>
                </c:pt>
                <c:pt idx="1553">
                  <c:v>43501</c:v>
                </c:pt>
                <c:pt idx="1554">
                  <c:v>43500</c:v>
                </c:pt>
                <c:pt idx="1555">
                  <c:v>43497</c:v>
                </c:pt>
                <c:pt idx="1556">
                  <c:v>43496</c:v>
                </c:pt>
                <c:pt idx="1557">
                  <c:v>43495</c:v>
                </c:pt>
                <c:pt idx="1558">
                  <c:v>43494</c:v>
                </c:pt>
                <c:pt idx="1559">
                  <c:v>43493</c:v>
                </c:pt>
                <c:pt idx="1560">
                  <c:v>43490</c:v>
                </c:pt>
                <c:pt idx="1561">
                  <c:v>43489</c:v>
                </c:pt>
                <c:pt idx="1562">
                  <c:v>43488</c:v>
                </c:pt>
                <c:pt idx="1563">
                  <c:v>43487</c:v>
                </c:pt>
                <c:pt idx="1564">
                  <c:v>43486</c:v>
                </c:pt>
                <c:pt idx="1565">
                  <c:v>43483</c:v>
                </c:pt>
                <c:pt idx="1566">
                  <c:v>43482</c:v>
                </c:pt>
                <c:pt idx="1567">
                  <c:v>43481</c:v>
                </c:pt>
                <c:pt idx="1568">
                  <c:v>43480</c:v>
                </c:pt>
                <c:pt idx="1569">
                  <c:v>43479</c:v>
                </c:pt>
                <c:pt idx="1570">
                  <c:v>43476</c:v>
                </c:pt>
                <c:pt idx="1571">
                  <c:v>43475</c:v>
                </c:pt>
                <c:pt idx="1572">
                  <c:v>43474</c:v>
                </c:pt>
                <c:pt idx="1573">
                  <c:v>43473</c:v>
                </c:pt>
                <c:pt idx="1574">
                  <c:v>43472</c:v>
                </c:pt>
                <c:pt idx="1575">
                  <c:v>43469</c:v>
                </c:pt>
                <c:pt idx="1576">
                  <c:v>43468</c:v>
                </c:pt>
                <c:pt idx="1577">
                  <c:v>43467</c:v>
                </c:pt>
                <c:pt idx="1578">
                  <c:v>43465</c:v>
                </c:pt>
                <c:pt idx="1579">
                  <c:v>43462</c:v>
                </c:pt>
                <c:pt idx="1580">
                  <c:v>43461</c:v>
                </c:pt>
                <c:pt idx="1581">
                  <c:v>43458</c:v>
                </c:pt>
                <c:pt idx="1582">
                  <c:v>43455</c:v>
                </c:pt>
                <c:pt idx="1583">
                  <c:v>43454</c:v>
                </c:pt>
                <c:pt idx="1584">
                  <c:v>43453</c:v>
                </c:pt>
                <c:pt idx="1585">
                  <c:v>43452</c:v>
                </c:pt>
                <c:pt idx="1586">
                  <c:v>43451</c:v>
                </c:pt>
                <c:pt idx="1587">
                  <c:v>43448</c:v>
                </c:pt>
                <c:pt idx="1588">
                  <c:v>43447</c:v>
                </c:pt>
                <c:pt idx="1589">
                  <c:v>43446</c:v>
                </c:pt>
                <c:pt idx="1590">
                  <c:v>43445</c:v>
                </c:pt>
                <c:pt idx="1591">
                  <c:v>43444</c:v>
                </c:pt>
                <c:pt idx="1592">
                  <c:v>43441</c:v>
                </c:pt>
                <c:pt idx="1593">
                  <c:v>43440</c:v>
                </c:pt>
                <c:pt idx="1594">
                  <c:v>43439</c:v>
                </c:pt>
                <c:pt idx="1595">
                  <c:v>43438</c:v>
                </c:pt>
                <c:pt idx="1596">
                  <c:v>43437</c:v>
                </c:pt>
                <c:pt idx="1597">
                  <c:v>43434</c:v>
                </c:pt>
                <c:pt idx="1598">
                  <c:v>43433</c:v>
                </c:pt>
                <c:pt idx="1599">
                  <c:v>43432</c:v>
                </c:pt>
                <c:pt idx="1600">
                  <c:v>43431</c:v>
                </c:pt>
                <c:pt idx="1601">
                  <c:v>43430</c:v>
                </c:pt>
                <c:pt idx="1602">
                  <c:v>43427</c:v>
                </c:pt>
                <c:pt idx="1603">
                  <c:v>43426</c:v>
                </c:pt>
                <c:pt idx="1604">
                  <c:v>43425</c:v>
                </c:pt>
                <c:pt idx="1605">
                  <c:v>43424</c:v>
                </c:pt>
                <c:pt idx="1606">
                  <c:v>43423</c:v>
                </c:pt>
                <c:pt idx="1607">
                  <c:v>43420</c:v>
                </c:pt>
                <c:pt idx="1608">
                  <c:v>43419</c:v>
                </c:pt>
                <c:pt idx="1609">
                  <c:v>43418</c:v>
                </c:pt>
                <c:pt idx="1610">
                  <c:v>43417</c:v>
                </c:pt>
                <c:pt idx="1611">
                  <c:v>43416</c:v>
                </c:pt>
                <c:pt idx="1612">
                  <c:v>43413</c:v>
                </c:pt>
                <c:pt idx="1613">
                  <c:v>43412</c:v>
                </c:pt>
                <c:pt idx="1614">
                  <c:v>43411</c:v>
                </c:pt>
                <c:pt idx="1615">
                  <c:v>43410</c:v>
                </c:pt>
                <c:pt idx="1616">
                  <c:v>43409</c:v>
                </c:pt>
                <c:pt idx="1617">
                  <c:v>43406</c:v>
                </c:pt>
                <c:pt idx="1618">
                  <c:v>43405</c:v>
                </c:pt>
                <c:pt idx="1619">
                  <c:v>43404</c:v>
                </c:pt>
                <c:pt idx="1620">
                  <c:v>43403</c:v>
                </c:pt>
                <c:pt idx="1621">
                  <c:v>43402</c:v>
                </c:pt>
                <c:pt idx="1622">
                  <c:v>43399</c:v>
                </c:pt>
                <c:pt idx="1623">
                  <c:v>43398</c:v>
                </c:pt>
                <c:pt idx="1624">
                  <c:v>43397</c:v>
                </c:pt>
                <c:pt idx="1625">
                  <c:v>43396</c:v>
                </c:pt>
                <c:pt idx="1626">
                  <c:v>43395</c:v>
                </c:pt>
                <c:pt idx="1627">
                  <c:v>43392</c:v>
                </c:pt>
                <c:pt idx="1628">
                  <c:v>43391</c:v>
                </c:pt>
                <c:pt idx="1629">
                  <c:v>43390</c:v>
                </c:pt>
                <c:pt idx="1630">
                  <c:v>43389</c:v>
                </c:pt>
                <c:pt idx="1631">
                  <c:v>43388</c:v>
                </c:pt>
                <c:pt idx="1632">
                  <c:v>43385</c:v>
                </c:pt>
                <c:pt idx="1633">
                  <c:v>43384</c:v>
                </c:pt>
                <c:pt idx="1634">
                  <c:v>43383</c:v>
                </c:pt>
                <c:pt idx="1635">
                  <c:v>43382</c:v>
                </c:pt>
                <c:pt idx="1636">
                  <c:v>43381</c:v>
                </c:pt>
                <c:pt idx="1637">
                  <c:v>43378</c:v>
                </c:pt>
                <c:pt idx="1638">
                  <c:v>43377</c:v>
                </c:pt>
                <c:pt idx="1639">
                  <c:v>43376</c:v>
                </c:pt>
                <c:pt idx="1640">
                  <c:v>43375</c:v>
                </c:pt>
                <c:pt idx="1641">
                  <c:v>43374</c:v>
                </c:pt>
                <c:pt idx="1642">
                  <c:v>43371</c:v>
                </c:pt>
                <c:pt idx="1643">
                  <c:v>43370</c:v>
                </c:pt>
                <c:pt idx="1644">
                  <c:v>43369</c:v>
                </c:pt>
                <c:pt idx="1645">
                  <c:v>43368</c:v>
                </c:pt>
                <c:pt idx="1646">
                  <c:v>43367</c:v>
                </c:pt>
                <c:pt idx="1647">
                  <c:v>43364</c:v>
                </c:pt>
                <c:pt idx="1648">
                  <c:v>43363</c:v>
                </c:pt>
                <c:pt idx="1649">
                  <c:v>43362</c:v>
                </c:pt>
                <c:pt idx="1650">
                  <c:v>43361</c:v>
                </c:pt>
                <c:pt idx="1651">
                  <c:v>43360</c:v>
                </c:pt>
                <c:pt idx="1652">
                  <c:v>43357</c:v>
                </c:pt>
                <c:pt idx="1653">
                  <c:v>43356</c:v>
                </c:pt>
                <c:pt idx="1654">
                  <c:v>43355</c:v>
                </c:pt>
                <c:pt idx="1655">
                  <c:v>43354</c:v>
                </c:pt>
                <c:pt idx="1656">
                  <c:v>43353</c:v>
                </c:pt>
                <c:pt idx="1657">
                  <c:v>43350</c:v>
                </c:pt>
                <c:pt idx="1658">
                  <c:v>43349</c:v>
                </c:pt>
                <c:pt idx="1659">
                  <c:v>43348</c:v>
                </c:pt>
                <c:pt idx="1660">
                  <c:v>43347</c:v>
                </c:pt>
                <c:pt idx="1661">
                  <c:v>43346</c:v>
                </c:pt>
                <c:pt idx="1662">
                  <c:v>43343</c:v>
                </c:pt>
                <c:pt idx="1663">
                  <c:v>43342</c:v>
                </c:pt>
                <c:pt idx="1664">
                  <c:v>43341</c:v>
                </c:pt>
                <c:pt idx="1665">
                  <c:v>43340</c:v>
                </c:pt>
                <c:pt idx="1666">
                  <c:v>43336</c:v>
                </c:pt>
                <c:pt idx="1667">
                  <c:v>43335</c:v>
                </c:pt>
                <c:pt idx="1668">
                  <c:v>43334</c:v>
                </c:pt>
                <c:pt idx="1669">
                  <c:v>43333</c:v>
                </c:pt>
                <c:pt idx="1670">
                  <c:v>43332</c:v>
                </c:pt>
                <c:pt idx="1671">
                  <c:v>43329</c:v>
                </c:pt>
                <c:pt idx="1672">
                  <c:v>43328</c:v>
                </c:pt>
                <c:pt idx="1673">
                  <c:v>43327</c:v>
                </c:pt>
                <c:pt idx="1674">
                  <c:v>43326</c:v>
                </c:pt>
                <c:pt idx="1675">
                  <c:v>43325</c:v>
                </c:pt>
                <c:pt idx="1676">
                  <c:v>43322</c:v>
                </c:pt>
                <c:pt idx="1677">
                  <c:v>43321</c:v>
                </c:pt>
                <c:pt idx="1678">
                  <c:v>43320</c:v>
                </c:pt>
                <c:pt idx="1679">
                  <c:v>43319</c:v>
                </c:pt>
                <c:pt idx="1680">
                  <c:v>43318</c:v>
                </c:pt>
                <c:pt idx="1681">
                  <c:v>43315</c:v>
                </c:pt>
                <c:pt idx="1682">
                  <c:v>43314</c:v>
                </c:pt>
                <c:pt idx="1683">
                  <c:v>43313</c:v>
                </c:pt>
                <c:pt idx="1684">
                  <c:v>43312</c:v>
                </c:pt>
                <c:pt idx="1685">
                  <c:v>43311</c:v>
                </c:pt>
                <c:pt idx="1686">
                  <c:v>43308</c:v>
                </c:pt>
                <c:pt idx="1687">
                  <c:v>43307</c:v>
                </c:pt>
                <c:pt idx="1688">
                  <c:v>43306</c:v>
                </c:pt>
                <c:pt idx="1689">
                  <c:v>43305</c:v>
                </c:pt>
                <c:pt idx="1690">
                  <c:v>43304</c:v>
                </c:pt>
                <c:pt idx="1691">
                  <c:v>43301</c:v>
                </c:pt>
                <c:pt idx="1692">
                  <c:v>43300</c:v>
                </c:pt>
                <c:pt idx="1693">
                  <c:v>43299</c:v>
                </c:pt>
                <c:pt idx="1694">
                  <c:v>43298</c:v>
                </c:pt>
                <c:pt idx="1695">
                  <c:v>43297</c:v>
                </c:pt>
                <c:pt idx="1696">
                  <c:v>43294</c:v>
                </c:pt>
                <c:pt idx="1697">
                  <c:v>43293</c:v>
                </c:pt>
                <c:pt idx="1698">
                  <c:v>43292</c:v>
                </c:pt>
                <c:pt idx="1699">
                  <c:v>43291</c:v>
                </c:pt>
                <c:pt idx="1700">
                  <c:v>43290</c:v>
                </c:pt>
                <c:pt idx="1701">
                  <c:v>43287</c:v>
                </c:pt>
                <c:pt idx="1702">
                  <c:v>43286</c:v>
                </c:pt>
                <c:pt idx="1703">
                  <c:v>43285</c:v>
                </c:pt>
                <c:pt idx="1704">
                  <c:v>43284</c:v>
                </c:pt>
                <c:pt idx="1705">
                  <c:v>43283</c:v>
                </c:pt>
                <c:pt idx="1706">
                  <c:v>43280</c:v>
                </c:pt>
                <c:pt idx="1707">
                  <c:v>43279</c:v>
                </c:pt>
                <c:pt idx="1708">
                  <c:v>43278</c:v>
                </c:pt>
                <c:pt idx="1709">
                  <c:v>43277</c:v>
                </c:pt>
                <c:pt idx="1710">
                  <c:v>43276</c:v>
                </c:pt>
                <c:pt idx="1711">
                  <c:v>43273</c:v>
                </c:pt>
                <c:pt idx="1712">
                  <c:v>43272</c:v>
                </c:pt>
                <c:pt idx="1713">
                  <c:v>43271</c:v>
                </c:pt>
                <c:pt idx="1714">
                  <c:v>43270</c:v>
                </c:pt>
                <c:pt idx="1715">
                  <c:v>43269</c:v>
                </c:pt>
                <c:pt idx="1716">
                  <c:v>43266</c:v>
                </c:pt>
                <c:pt idx="1717">
                  <c:v>43265</c:v>
                </c:pt>
                <c:pt idx="1718">
                  <c:v>43264</c:v>
                </c:pt>
                <c:pt idx="1719">
                  <c:v>43263</c:v>
                </c:pt>
                <c:pt idx="1720">
                  <c:v>43262</c:v>
                </c:pt>
                <c:pt idx="1721">
                  <c:v>43259</c:v>
                </c:pt>
                <c:pt idx="1722">
                  <c:v>43258</c:v>
                </c:pt>
                <c:pt idx="1723">
                  <c:v>43257</c:v>
                </c:pt>
                <c:pt idx="1724">
                  <c:v>43256</c:v>
                </c:pt>
                <c:pt idx="1725">
                  <c:v>43255</c:v>
                </c:pt>
                <c:pt idx="1726">
                  <c:v>43252</c:v>
                </c:pt>
                <c:pt idx="1727">
                  <c:v>43251</c:v>
                </c:pt>
                <c:pt idx="1728">
                  <c:v>43250</c:v>
                </c:pt>
                <c:pt idx="1729">
                  <c:v>43249</c:v>
                </c:pt>
                <c:pt idx="1730">
                  <c:v>43245</c:v>
                </c:pt>
                <c:pt idx="1731">
                  <c:v>43244</c:v>
                </c:pt>
                <c:pt idx="1732">
                  <c:v>43243</c:v>
                </c:pt>
                <c:pt idx="1733">
                  <c:v>43242</c:v>
                </c:pt>
                <c:pt idx="1734">
                  <c:v>43241</c:v>
                </c:pt>
                <c:pt idx="1735">
                  <c:v>43238</c:v>
                </c:pt>
                <c:pt idx="1736">
                  <c:v>43237</c:v>
                </c:pt>
                <c:pt idx="1737">
                  <c:v>43236</c:v>
                </c:pt>
                <c:pt idx="1738">
                  <c:v>43235</c:v>
                </c:pt>
                <c:pt idx="1739">
                  <c:v>43234</c:v>
                </c:pt>
                <c:pt idx="1740">
                  <c:v>43231</c:v>
                </c:pt>
                <c:pt idx="1741">
                  <c:v>43230</c:v>
                </c:pt>
                <c:pt idx="1742">
                  <c:v>43229</c:v>
                </c:pt>
                <c:pt idx="1743">
                  <c:v>43228</c:v>
                </c:pt>
                <c:pt idx="1744">
                  <c:v>43224</c:v>
                </c:pt>
                <c:pt idx="1745">
                  <c:v>43223</c:v>
                </c:pt>
                <c:pt idx="1746">
                  <c:v>43222</c:v>
                </c:pt>
                <c:pt idx="1747">
                  <c:v>43221</c:v>
                </c:pt>
                <c:pt idx="1748">
                  <c:v>43220</c:v>
                </c:pt>
                <c:pt idx="1749">
                  <c:v>43217</c:v>
                </c:pt>
                <c:pt idx="1750">
                  <c:v>43216</c:v>
                </c:pt>
                <c:pt idx="1751">
                  <c:v>43215</c:v>
                </c:pt>
                <c:pt idx="1752">
                  <c:v>43214</c:v>
                </c:pt>
                <c:pt idx="1753">
                  <c:v>43213</c:v>
                </c:pt>
                <c:pt idx="1754">
                  <c:v>43210</c:v>
                </c:pt>
                <c:pt idx="1755">
                  <c:v>43209</c:v>
                </c:pt>
                <c:pt idx="1756">
                  <c:v>43208</c:v>
                </c:pt>
                <c:pt idx="1757">
                  <c:v>43207</c:v>
                </c:pt>
                <c:pt idx="1758">
                  <c:v>43206</c:v>
                </c:pt>
                <c:pt idx="1759">
                  <c:v>43203</c:v>
                </c:pt>
                <c:pt idx="1760">
                  <c:v>43202</c:v>
                </c:pt>
                <c:pt idx="1761">
                  <c:v>43201</c:v>
                </c:pt>
                <c:pt idx="1762">
                  <c:v>43200</c:v>
                </c:pt>
                <c:pt idx="1763">
                  <c:v>43199</c:v>
                </c:pt>
                <c:pt idx="1764">
                  <c:v>43196</c:v>
                </c:pt>
                <c:pt idx="1765">
                  <c:v>43195</c:v>
                </c:pt>
                <c:pt idx="1766">
                  <c:v>43194</c:v>
                </c:pt>
                <c:pt idx="1767">
                  <c:v>43193</c:v>
                </c:pt>
                <c:pt idx="1768">
                  <c:v>43188</c:v>
                </c:pt>
                <c:pt idx="1769">
                  <c:v>43187</c:v>
                </c:pt>
                <c:pt idx="1770">
                  <c:v>43186</c:v>
                </c:pt>
                <c:pt idx="1771">
                  <c:v>43185</c:v>
                </c:pt>
                <c:pt idx="1772">
                  <c:v>43182</c:v>
                </c:pt>
                <c:pt idx="1773">
                  <c:v>43181</c:v>
                </c:pt>
                <c:pt idx="1774">
                  <c:v>43180</c:v>
                </c:pt>
                <c:pt idx="1775">
                  <c:v>43179</c:v>
                </c:pt>
                <c:pt idx="1776">
                  <c:v>43178</c:v>
                </c:pt>
                <c:pt idx="1777">
                  <c:v>43175</c:v>
                </c:pt>
                <c:pt idx="1778">
                  <c:v>43174</c:v>
                </c:pt>
                <c:pt idx="1779">
                  <c:v>43173</c:v>
                </c:pt>
                <c:pt idx="1780">
                  <c:v>43172</c:v>
                </c:pt>
                <c:pt idx="1781">
                  <c:v>43171</c:v>
                </c:pt>
                <c:pt idx="1782">
                  <c:v>43168</c:v>
                </c:pt>
                <c:pt idx="1783">
                  <c:v>43167</c:v>
                </c:pt>
                <c:pt idx="1784">
                  <c:v>43166</c:v>
                </c:pt>
                <c:pt idx="1785">
                  <c:v>43165</c:v>
                </c:pt>
                <c:pt idx="1786">
                  <c:v>43164</c:v>
                </c:pt>
                <c:pt idx="1787">
                  <c:v>43161</c:v>
                </c:pt>
                <c:pt idx="1788">
                  <c:v>43160</c:v>
                </c:pt>
                <c:pt idx="1789">
                  <c:v>43159</c:v>
                </c:pt>
                <c:pt idx="1790">
                  <c:v>43158</c:v>
                </c:pt>
                <c:pt idx="1791">
                  <c:v>43157</c:v>
                </c:pt>
                <c:pt idx="1792">
                  <c:v>43154</c:v>
                </c:pt>
                <c:pt idx="1793">
                  <c:v>43153</c:v>
                </c:pt>
                <c:pt idx="1794">
                  <c:v>43152</c:v>
                </c:pt>
                <c:pt idx="1795">
                  <c:v>43151</c:v>
                </c:pt>
                <c:pt idx="1796">
                  <c:v>43150</c:v>
                </c:pt>
                <c:pt idx="1797">
                  <c:v>43147</c:v>
                </c:pt>
                <c:pt idx="1798">
                  <c:v>43146</c:v>
                </c:pt>
                <c:pt idx="1799">
                  <c:v>43145</c:v>
                </c:pt>
                <c:pt idx="1800">
                  <c:v>43144</c:v>
                </c:pt>
                <c:pt idx="1801">
                  <c:v>43143</c:v>
                </c:pt>
                <c:pt idx="1802">
                  <c:v>43140</c:v>
                </c:pt>
                <c:pt idx="1803">
                  <c:v>43139</c:v>
                </c:pt>
                <c:pt idx="1804">
                  <c:v>43138</c:v>
                </c:pt>
                <c:pt idx="1805">
                  <c:v>43137</c:v>
                </c:pt>
                <c:pt idx="1806">
                  <c:v>43136</c:v>
                </c:pt>
                <c:pt idx="1807">
                  <c:v>43133</c:v>
                </c:pt>
                <c:pt idx="1808">
                  <c:v>43132</c:v>
                </c:pt>
                <c:pt idx="1809">
                  <c:v>43131</c:v>
                </c:pt>
                <c:pt idx="1810">
                  <c:v>43130</c:v>
                </c:pt>
                <c:pt idx="1811">
                  <c:v>43129</c:v>
                </c:pt>
                <c:pt idx="1812">
                  <c:v>43126</c:v>
                </c:pt>
                <c:pt idx="1813">
                  <c:v>43125</c:v>
                </c:pt>
                <c:pt idx="1814">
                  <c:v>43124</c:v>
                </c:pt>
                <c:pt idx="1815">
                  <c:v>43123</c:v>
                </c:pt>
                <c:pt idx="1816">
                  <c:v>43122</c:v>
                </c:pt>
                <c:pt idx="1817">
                  <c:v>43119</c:v>
                </c:pt>
                <c:pt idx="1818">
                  <c:v>43118</c:v>
                </c:pt>
                <c:pt idx="1819">
                  <c:v>43117</c:v>
                </c:pt>
                <c:pt idx="1820">
                  <c:v>43116</c:v>
                </c:pt>
                <c:pt idx="1821">
                  <c:v>43115</c:v>
                </c:pt>
                <c:pt idx="1822">
                  <c:v>43112</c:v>
                </c:pt>
                <c:pt idx="1823">
                  <c:v>43111</c:v>
                </c:pt>
                <c:pt idx="1824">
                  <c:v>43110</c:v>
                </c:pt>
                <c:pt idx="1825">
                  <c:v>43109</c:v>
                </c:pt>
                <c:pt idx="1826">
                  <c:v>43108</c:v>
                </c:pt>
                <c:pt idx="1827">
                  <c:v>43105</c:v>
                </c:pt>
                <c:pt idx="1828">
                  <c:v>43104</c:v>
                </c:pt>
                <c:pt idx="1829">
                  <c:v>43103</c:v>
                </c:pt>
                <c:pt idx="1830">
                  <c:v>43102</c:v>
                </c:pt>
                <c:pt idx="1831">
                  <c:v>43098</c:v>
                </c:pt>
                <c:pt idx="1832">
                  <c:v>43097</c:v>
                </c:pt>
                <c:pt idx="1833">
                  <c:v>43096</c:v>
                </c:pt>
                <c:pt idx="1834">
                  <c:v>43091</c:v>
                </c:pt>
                <c:pt idx="1835">
                  <c:v>43090</c:v>
                </c:pt>
                <c:pt idx="1836">
                  <c:v>43089</c:v>
                </c:pt>
                <c:pt idx="1837">
                  <c:v>43088</c:v>
                </c:pt>
                <c:pt idx="1838">
                  <c:v>43087</c:v>
                </c:pt>
                <c:pt idx="1839">
                  <c:v>43084</c:v>
                </c:pt>
                <c:pt idx="1840">
                  <c:v>43083</c:v>
                </c:pt>
                <c:pt idx="1841">
                  <c:v>43082</c:v>
                </c:pt>
                <c:pt idx="1842">
                  <c:v>43081</c:v>
                </c:pt>
                <c:pt idx="1843">
                  <c:v>43080</c:v>
                </c:pt>
                <c:pt idx="1844">
                  <c:v>43077</c:v>
                </c:pt>
                <c:pt idx="1845">
                  <c:v>43076</c:v>
                </c:pt>
                <c:pt idx="1846">
                  <c:v>43075</c:v>
                </c:pt>
                <c:pt idx="1847">
                  <c:v>43074</c:v>
                </c:pt>
                <c:pt idx="1848">
                  <c:v>43073</c:v>
                </c:pt>
                <c:pt idx="1849">
                  <c:v>43070</c:v>
                </c:pt>
                <c:pt idx="1850">
                  <c:v>43069</c:v>
                </c:pt>
                <c:pt idx="1851">
                  <c:v>43068</c:v>
                </c:pt>
                <c:pt idx="1852">
                  <c:v>43067</c:v>
                </c:pt>
                <c:pt idx="1853">
                  <c:v>43066</c:v>
                </c:pt>
                <c:pt idx="1854">
                  <c:v>43063</c:v>
                </c:pt>
                <c:pt idx="1855">
                  <c:v>43062</c:v>
                </c:pt>
                <c:pt idx="1856">
                  <c:v>43061</c:v>
                </c:pt>
                <c:pt idx="1857">
                  <c:v>43060</c:v>
                </c:pt>
                <c:pt idx="1858">
                  <c:v>43059</c:v>
                </c:pt>
                <c:pt idx="1859">
                  <c:v>43056</c:v>
                </c:pt>
                <c:pt idx="1860">
                  <c:v>43055</c:v>
                </c:pt>
                <c:pt idx="1861">
                  <c:v>43054</c:v>
                </c:pt>
                <c:pt idx="1862">
                  <c:v>43053</c:v>
                </c:pt>
                <c:pt idx="1863">
                  <c:v>43052</c:v>
                </c:pt>
                <c:pt idx="1864">
                  <c:v>43049</c:v>
                </c:pt>
                <c:pt idx="1865">
                  <c:v>43048</c:v>
                </c:pt>
                <c:pt idx="1866">
                  <c:v>43047</c:v>
                </c:pt>
                <c:pt idx="1867">
                  <c:v>43046</c:v>
                </c:pt>
                <c:pt idx="1868">
                  <c:v>43045</c:v>
                </c:pt>
                <c:pt idx="1869">
                  <c:v>43042</c:v>
                </c:pt>
                <c:pt idx="1870">
                  <c:v>43041</c:v>
                </c:pt>
                <c:pt idx="1871">
                  <c:v>43040</c:v>
                </c:pt>
                <c:pt idx="1872">
                  <c:v>43039</c:v>
                </c:pt>
                <c:pt idx="1873">
                  <c:v>43038</c:v>
                </c:pt>
                <c:pt idx="1874">
                  <c:v>43035</c:v>
                </c:pt>
                <c:pt idx="1875">
                  <c:v>43034</c:v>
                </c:pt>
                <c:pt idx="1876">
                  <c:v>43033</c:v>
                </c:pt>
                <c:pt idx="1877">
                  <c:v>43032</c:v>
                </c:pt>
                <c:pt idx="1878">
                  <c:v>43031</c:v>
                </c:pt>
                <c:pt idx="1879">
                  <c:v>43028</c:v>
                </c:pt>
                <c:pt idx="1880">
                  <c:v>43027</c:v>
                </c:pt>
                <c:pt idx="1881">
                  <c:v>43026</c:v>
                </c:pt>
                <c:pt idx="1882">
                  <c:v>43025</c:v>
                </c:pt>
                <c:pt idx="1883">
                  <c:v>43024</c:v>
                </c:pt>
                <c:pt idx="1884">
                  <c:v>43021</c:v>
                </c:pt>
                <c:pt idx="1885">
                  <c:v>43020</c:v>
                </c:pt>
                <c:pt idx="1886">
                  <c:v>43019</c:v>
                </c:pt>
                <c:pt idx="1887">
                  <c:v>43018</c:v>
                </c:pt>
                <c:pt idx="1888">
                  <c:v>43017</c:v>
                </c:pt>
                <c:pt idx="1889">
                  <c:v>43014</c:v>
                </c:pt>
                <c:pt idx="1890">
                  <c:v>43013</c:v>
                </c:pt>
                <c:pt idx="1891">
                  <c:v>43012</c:v>
                </c:pt>
                <c:pt idx="1892">
                  <c:v>43011</c:v>
                </c:pt>
                <c:pt idx="1893">
                  <c:v>43010</c:v>
                </c:pt>
                <c:pt idx="1894">
                  <c:v>43007</c:v>
                </c:pt>
                <c:pt idx="1895">
                  <c:v>43006</c:v>
                </c:pt>
                <c:pt idx="1896">
                  <c:v>43005</c:v>
                </c:pt>
                <c:pt idx="1897">
                  <c:v>43004</c:v>
                </c:pt>
                <c:pt idx="1898">
                  <c:v>43003</c:v>
                </c:pt>
                <c:pt idx="1899">
                  <c:v>43000</c:v>
                </c:pt>
                <c:pt idx="1900">
                  <c:v>42999</c:v>
                </c:pt>
                <c:pt idx="1901">
                  <c:v>42998</c:v>
                </c:pt>
                <c:pt idx="1902">
                  <c:v>42997</c:v>
                </c:pt>
                <c:pt idx="1903">
                  <c:v>42996</c:v>
                </c:pt>
                <c:pt idx="1904">
                  <c:v>42993</c:v>
                </c:pt>
                <c:pt idx="1905">
                  <c:v>42992</c:v>
                </c:pt>
                <c:pt idx="1906">
                  <c:v>42991</c:v>
                </c:pt>
                <c:pt idx="1907">
                  <c:v>42990</c:v>
                </c:pt>
                <c:pt idx="1908">
                  <c:v>42989</c:v>
                </c:pt>
                <c:pt idx="1909">
                  <c:v>42986</c:v>
                </c:pt>
                <c:pt idx="1910">
                  <c:v>42985</c:v>
                </c:pt>
                <c:pt idx="1911">
                  <c:v>42984</c:v>
                </c:pt>
                <c:pt idx="1912">
                  <c:v>42983</c:v>
                </c:pt>
                <c:pt idx="1913">
                  <c:v>42982</c:v>
                </c:pt>
                <c:pt idx="1914">
                  <c:v>42979</c:v>
                </c:pt>
                <c:pt idx="1915">
                  <c:v>42978</c:v>
                </c:pt>
                <c:pt idx="1916">
                  <c:v>42977</c:v>
                </c:pt>
                <c:pt idx="1917">
                  <c:v>42976</c:v>
                </c:pt>
                <c:pt idx="1918">
                  <c:v>42972</c:v>
                </c:pt>
                <c:pt idx="1919">
                  <c:v>42971</c:v>
                </c:pt>
                <c:pt idx="1920">
                  <c:v>42970</c:v>
                </c:pt>
                <c:pt idx="1921">
                  <c:v>42969</c:v>
                </c:pt>
                <c:pt idx="1922">
                  <c:v>42968</c:v>
                </c:pt>
                <c:pt idx="1923">
                  <c:v>42965</c:v>
                </c:pt>
                <c:pt idx="1924">
                  <c:v>42964</c:v>
                </c:pt>
                <c:pt idx="1925">
                  <c:v>42963</c:v>
                </c:pt>
                <c:pt idx="1926">
                  <c:v>42962</c:v>
                </c:pt>
                <c:pt idx="1927">
                  <c:v>42961</c:v>
                </c:pt>
                <c:pt idx="1928">
                  <c:v>42958</c:v>
                </c:pt>
                <c:pt idx="1929">
                  <c:v>42957</c:v>
                </c:pt>
                <c:pt idx="1930">
                  <c:v>42956</c:v>
                </c:pt>
                <c:pt idx="1931">
                  <c:v>42955</c:v>
                </c:pt>
                <c:pt idx="1932">
                  <c:v>42954</c:v>
                </c:pt>
                <c:pt idx="1933">
                  <c:v>42951</c:v>
                </c:pt>
                <c:pt idx="1934">
                  <c:v>42950</c:v>
                </c:pt>
                <c:pt idx="1935">
                  <c:v>42949</c:v>
                </c:pt>
                <c:pt idx="1936">
                  <c:v>42948</c:v>
                </c:pt>
                <c:pt idx="1937">
                  <c:v>42947</c:v>
                </c:pt>
                <c:pt idx="1938">
                  <c:v>42944</c:v>
                </c:pt>
                <c:pt idx="1939">
                  <c:v>42943</c:v>
                </c:pt>
                <c:pt idx="1940">
                  <c:v>42942</c:v>
                </c:pt>
                <c:pt idx="1941">
                  <c:v>42941</c:v>
                </c:pt>
                <c:pt idx="1942">
                  <c:v>42940</c:v>
                </c:pt>
                <c:pt idx="1943">
                  <c:v>42937</c:v>
                </c:pt>
                <c:pt idx="1944">
                  <c:v>42936</c:v>
                </c:pt>
                <c:pt idx="1945">
                  <c:v>42935</c:v>
                </c:pt>
                <c:pt idx="1946">
                  <c:v>42934</c:v>
                </c:pt>
                <c:pt idx="1947">
                  <c:v>42933</c:v>
                </c:pt>
                <c:pt idx="1948">
                  <c:v>42930</c:v>
                </c:pt>
                <c:pt idx="1949">
                  <c:v>42929</c:v>
                </c:pt>
                <c:pt idx="1950">
                  <c:v>42928</c:v>
                </c:pt>
                <c:pt idx="1951">
                  <c:v>42927</c:v>
                </c:pt>
                <c:pt idx="1952">
                  <c:v>42926</c:v>
                </c:pt>
                <c:pt idx="1953">
                  <c:v>42923</c:v>
                </c:pt>
                <c:pt idx="1954">
                  <c:v>42922</c:v>
                </c:pt>
                <c:pt idx="1955">
                  <c:v>42921</c:v>
                </c:pt>
                <c:pt idx="1956">
                  <c:v>42920</c:v>
                </c:pt>
                <c:pt idx="1957">
                  <c:v>42919</c:v>
                </c:pt>
                <c:pt idx="1958">
                  <c:v>42916</c:v>
                </c:pt>
                <c:pt idx="1959">
                  <c:v>42915</c:v>
                </c:pt>
                <c:pt idx="1960">
                  <c:v>42914</c:v>
                </c:pt>
                <c:pt idx="1961">
                  <c:v>42913</c:v>
                </c:pt>
                <c:pt idx="1962">
                  <c:v>42912</c:v>
                </c:pt>
                <c:pt idx="1963">
                  <c:v>42909</c:v>
                </c:pt>
                <c:pt idx="1964">
                  <c:v>42908</c:v>
                </c:pt>
                <c:pt idx="1965">
                  <c:v>42907</c:v>
                </c:pt>
                <c:pt idx="1966">
                  <c:v>42906</c:v>
                </c:pt>
                <c:pt idx="1967">
                  <c:v>42905</c:v>
                </c:pt>
                <c:pt idx="1968">
                  <c:v>42902</c:v>
                </c:pt>
                <c:pt idx="1969">
                  <c:v>42901</c:v>
                </c:pt>
                <c:pt idx="1970">
                  <c:v>42900</c:v>
                </c:pt>
                <c:pt idx="1971">
                  <c:v>42899</c:v>
                </c:pt>
                <c:pt idx="1972">
                  <c:v>42898</c:v>
                </c:pt>
                <c:pt idx="1973">
                  <c:v>42895</c:v>
                </c:pt>
                <c:pt idx="1974">
                  <c:v>42894</c:v>
                </c:pt>
                <c:pt idx="1975">
                  <c:v>42893</c:v>
                </c:pt>
                <c:pt idx="1976">
                  <c:v>42892</c:v>
                </c:pt>
                <c:pt idx="1977">
                  <c:v>42891</c:v>
                </c:pt>
                <c:pt idx="1978">
                  <c:v>42888</c:v>
                </c:pt>
                <c:pt idx="1979">
                  <c:v>42887</c:v>
                </c:pt>
                <c:pt idx="1980">
                  <c:v>42886</c:v>
                </c:pt>
                <c:pt idx="1981">
                  <c:v>42885</c:v>
                </c:pt>
                <c:pt idx="1982">
                  <c:v>42881</c:v>
                </c:pt>
                <c:pt idx="1983">
                  <c:v>42880</c:v>
                </c:pt>
                <c:pt idx="1984">
                  <c:v>42879</c:v>
                </c:pt>
                <c:pt idx="1985">
                  <c:v>42878</c:v>
                </c:pt>
                <c:pt idx="1986">
                  <c:v>42877</c:v>
                </c:pt>
                <c:pt idx="1987">
                  <c:v>42874</c:v>
                </c:pt>
                <c:pt idx="1988">
                  <c:v>42873</c:v>
                </c:pt>
                <c:pt idx="1989">
                  <c:v>42872</c:v>
                </c:pt>
                <c:pt idx="1990">
                  <c:v>42871</c:v>
                </c:pt>
                <c:pt idx="1991">
                  <c:v>42870</c:v>
                </c:pt>
                <c:pt idx="1992">
                  <c:v>42867</c:v>
                </c:pt>
                <c:pt idx="1993">
                  <c:v>42866</c:v>
                </c:pt>
                <c:pt idx="1994">
                  <c:v>42865</c:v>
                </c:pt>
                <c:pt idx="1995">
                  <c:v>42864</c:v>
                </c:pt>
                <c:pt idx="1996">
                  <c:v>42863</c:v>
                </c:pt>
                <c:pt idx="1997">
                  <c:v>42860</c:v>
                </c:pt>
                <c:pt idx="1998">
                  <c:v>42859</c:v>
                </c:pt>
                <c:pt idx="1999">
                  <c:v>42858</c:v>
                </c:pt>
                <c:pt idx="2000">
                  <c:v>42857</c:v>
                </c:pt>
                <c:pt idx="2001">
                  <c:v>42853</c:v>
                </c:pt>
                <c:pt idx="2002">
                  <c:v>42852</c:v>
                </c:pt>
                <c:pt idx="2003">
                  <c:v>42851</c:v>
                </c:pt>
                <c:pt idx="2004">
                  <c:v>42850</c:v>
                </c:pt>
                <c:pt idx="2005">
                  <c:v>42849</c:v>
                </c:pt>
                <c:pt idx="2006">
                  <c:v>42846</c:v>
                </c:pt>
                <c:pt idx="2007">
                  <c:v>42845</c:v>
                </c:pt>
                <c:pt idx="2008">
                  <c:v>42844</c:v>
                </c:pt>
                <c:pt idx="2009">
                  <c:v>42843</c:v>
                </c:pt>
                <c:pt idx="2010">
                  <c:v>42838</c:v>
                </c:pt>
                <c:pt idx="2011">
                  <c:v>42837</c:v>
                </c:pt>
                <c:pt idx="2012">
                  <c:v>42836</c:v>
                </c:pt>
                <c:pt idx="2013">
                  <c:v>42835</c:v>
                </c:pt>
                <c:pt idx="2014">
                  <c:v>42832</c:v>
                </c:pt>
                <c:pt idx="2015">
                  <c:v>42831</c:v>
                </c:pt>
                <c:pt idx="2016">
                  <c:v>42830</c:v>
                </c:pt>
                <c:pt idx="2017">
                  <c:v>42829</c:v>
                </c:pt>
                <c:pt idx="2018">
                  <c:v>42828</c:v>
                </c:pt>
                <c:pt idx="2019">
                  <c:v>42825</c:v>
                </c:pt>
                <c:pt idx="2020">
                  <c:v>42824</c:v>
                </c:pt>
                <c:pt idx="2021">
                  <c:v>42823</c:v>
                </c:pt>
                <c:pt idx="2022">
                  <c:v>42822</c:v>
                </c:pt>
                <c:pt idx="2023">
                  <c:v>42821</c:v>
                </c:pt>
                <c:pt idx="2024">
                  <c:v>42818</c:v>
                </c:pt>
                <c:pt idx="2025">
                  <c:v>42817</c:v>
                </c:pt>
                <c:pt idx="2026">
                  <c:v>42816</c:v>
                </c:pt>
                <c:pt idx="2027">
                  <c:v>42815</c:v>
                </c:pt>
                <c:pt idx="2028">
                  <c:v>42814</c:v>
                </c:pt>
                <c:pt idx="2029">
                  <c:v>42811</c:v>
                </c:pt>
                <c:pt idx="2030">
                  <c:v>42810</c:v>
                </c:pt>
                <c:pt idx="2031">
                  <c:v>42809</c:v>
                </c:pt>
                <c:pt idx="2032">
                  <c:v>42808</c:v>
                </c:pt>
                <c:pt idx="2033">
                  <c:v>42807</c:v>
                </c:pt>
                <c:pt idx="2034">
                  <c:v>42804</c:v>
                </c:pt>
                <c:pt idx="2035">
                  <c:v>42803</c:v>
                </c:pt>
                <c:pt idx="2036">
                  <c:v>42802</c:v>
                </c:pt>
                <c:pt idx="2037">
                  <c:v>42801</c:v>
                </c:pt>
                <c:pt idx="2038">
                  <c:v>42800</c:v>
                </c:pt>
                <c:pt idx="2039">
                  <c:v>42797</c:v>
                </c:pt>
                <c:pt idx="2040">
                  <c:v>42796</c:v>
                </c:pt>
                <c:pt idx="2041">
                  <c:v>42795</c:v>
                </c:pt>
                <c:pt idx="2042">
                  <c:v>42794</c:v>
                </c:pt>
                <c:pt idx="2043">
                  <c:v>42793</c:v>
                </c:pt>
                <c:pt idx="2044">
                  <c:v>42790</c:v>
                </c:pt>
                <c:pt idx="2045">
                  <c:v>42789</c:v>
                </c:pt>
                <c:pt idx="2046">
                  <c:v>42788</c:v>
                </c:pt>
                <c:pt idx="2047">
                  <c:v>42787</c:v>
                </c:pt>
                <c:pt idx="2048">
                  <c:v>42786</c:v>
                </c:pt>
                <c:pt idx="2049">
                  <c:v>42783</c:v>
                </c:pt>
                <c:pt idx="2050">
                  <c:v>42782</c:v>
                </c:pt>
                <c:pt idx="2051">
                  <c:v>42781</c:v>
                </c:pt>
                <c:pt idx="2052">
                  <c:v>42780</c:v>
                </c:pt>
                <c:pt idx="2053">
                  <c:v>42779</c:v>
                </c:pt>
                <c:pt idx="2054">
                  <c:v>42776</c:v>
                </c:pt>
                <c:pt idx="2055">
                  <c:v>42775</c:v>
                </c:pt>
                <c:pt idx="2056">
                  <c:v>42774</c:v>
                </c:pt>
                <c:pt idx="2057">
                  <c:v>42773</c:v>
                </c:pt>
                <c:pt idx="2058">
                  <c:v>42772</c:v>
                </c:pt>
                <c:pt idx="2059">
                  <c:v>42769</c:v>
                </c:pt>
                <c:pt idx="2060">
                  <c:v>42768</c:v>
                </c:pt>
                <c:pt idx="2061">
                  <c:v>42767</c:v>
                </c:pt>
                <c:pt idx="2062">
                  <c:v>42766</c:v>
                </c:pt>
                <c:pt idx="2063">
                  <c:v>42765</c:v>
                </c:pt>
                <c:pt idx="2064">
                  <c:v>42762</c:v>
                </c:pt>
                <c:pt idx="2065">
                  <c:v>42761</c:v>
                </c:pt>
                <c:pt idx="2066">
                  <c:v>42760</c:v>
                </c:pt>
                <c:pt idx="2067">
                  <c:v>42759</c:v>
                </c:pt>
                <c:pt idx="2068">
                  <c:v>42758</c:v>
                </c:pt>
                <c:pt idx="2069">
                  <c:v>42755</c:v>
                </c:pt>
                <c:pt idx="2070">
                  <c:v>42754</c:v>
                </c:pt>
                <c:pt idx="2071">
                  <c:v>42753</c:v>
                </c:pt>
                <c:pt idx="2072">
                  <c:v>42752</c:v>
                </c:pt>
                <c:pt idx="2073">
                  <c:v>42751</c:v>
                </c:pt>
                <c:pt idx="2074">
                  <c:v>42748</c:v>
                </c:pt>
                <c:pt idx="2075">
                  <c:v>42747</c:v>
                </c:pt>
                <c:pt idx="2076">
                  <c:v>42746</c:v>
                </c:pt>
                <c:pt idx="2077">
                  <c:v>42745</c:v>
                </c:pt>
                <c:pt idx="2078">
                  <c:v>42744</c:v>
                </c:pt>
                <c:pt idx="2079">
                  <c:v>42741</c:v>
                </c:pt>
                <c:pt idx="2080">
                  <c:v>42740</c:v>
                </c:pt>
                <c:pt idx="2081">
                  <c:v>42739</c:v>
                </c:pt>
                <c:pt idx="2082">
                  <c:v>42738</c:v>
                </c:pt>
                <c:pt idx="2083">
                  <c:v>42734</c:v>
                </c:pt>
                <c:pt idx="2084">
                  <c:v>42733</c:v>
                </c:pt>
                <c:pt idx="2085">
                  <c:v>42732</c:v>
                </c:pt>
                <c:pt idx="2086">
                  <c:v>42727</c:v>
                </c:pt>
                <c:pt idx="2087">
                  <c:v>42726</c:v>
                </c:pt>
                <c:pt idx="2088">
                  <c:v>42725</c:v>
                </c:pt>
                <c:pt idx="2089">
                  <c:v>42724</c:v>
                </c:pt>
                <c:pt idx="2090">
                  <c:v>42723</c:v>
                </c:pt>
                <c:pt idx="2091">
                  <c:v>42720</c:v>
                </c:pt>
                <c:pt idx="2092">
                  <c:v>42719</c:v>
                </c:pt>
                <c:pt idx="2093">
                  <c:v>42718</c:v>
                </c:pt>
                <c:pt idx="2094">
                  <c:v>42717</c:v>
                </c:pt>
                <c:pt idx="2095">
                  <c:v>42716</c:v>
                </c:pt>
                <c:pt idx="2096">
                  <c:v>42713</c:v>
                </c:pt>
                <c:pt idx="2097">
                  <c:v>42712</c:v>
                </c:pt>
                <c:pt idx="2098">
                  <c:v>42711</c:v>
                </c:pt>
                <c:pt idx="2099">
                  <c:v>42710</c:v>
                </c:pt>
                <c:pt idx="2100">
                  <c:v>42709</c:v>
                </c:pt>
                <c:pt idx="2101">
                  <c:v>42706</c:v>
                </c:pt>
                <c:pt idx="2102">
                  <c:v>42705</c:v>
                </c:pt>
                <c:pt idx="2103">
                  <c:v>42704</c:v>
                </c:pt>
                <c:pt idx="2104">
                  <c:v>42703</c:v>
                </c:pt>
                <c:pt idx="2105">
                  <c:v>42702</c:v>
                </c:pt>
                <c:pt idx="2106">
                  <c:v>42699</c:v>
                </c:pt>
                <c:pt idx="2107">
                  <c:v>42698</c:v>
                </c:pt>
                <c:pt idx="2108">
                  <c:v>42697</c:v>
                </c:pt>
                <c:pt idx="2109">
                  <c:v>42696</c:v>
                </c:pt>
                <c:pt idx="2110">
                  <c:v>42695</c:v>
                </c:pt>
                <c:pt idx="2111">
                  <c:v>42692</c:v>
                </c:pt>
                <c:pt idx="2112">
                  <c:v>42691</c:v>
                </c:pt>
                <c:pt idx="2113">
                  <c:v>42690</c:v>
                </c:pt>
                <c:pt idx="2114">
                  <c:v>42689</c:v>
                </c:pt>
                <c:pt idx="2115">
                  <c:v>42688</c:v>
                </c:pt>
                <c:pt idx="2116">
                  <c:v>42685</c:v>
                </c:pt>
                <c:pt idx="2117">
                  <c:v>42684</c:v>
                </c:pt>
                <c:pt idx="2118">
                  <c:v>42683</c:v>
                </c:pt>
                <c:pt idx="2119">
                  <c:v>42682</c:v>
                </c:pt>
                <c:pt idx="2120">
                  <c:v>42681</c:v>
                </c:pt>
                <c:pt idx="2121">
                  <c:v>42678</c:v>
                </c:pt>
                <c:pt idx="2122">
                  <c:v>42677</c:v>
                </c:pt>
                <c:pt idx="2123">
                  <c:v>42676</c:v>
                </c:pt>
                <c:pt idx="2124">
                  <c:v>42675</c:v>
                </c:pt>
                <c:pt idx="2125">
                  <c:v>42674</c:v>
                </c:pt>
                <c:pt idx="2126">
                  <c:v>42671</c:v>
                </c:pt>
                <c:pt idx="2127">
                  <c:v>42670</c:v>
                </c:pt>
                <c:pt idx="2128">
                  <c:v>42669</c:v>
                </c:pt>
                <c:pt idx="2129">
                  <c:v>42668</c:v>
                </c:pt>
                <c:pt idx="2130">
                  <c:v>42667</c:v>
                </c:pt>
                <c:pt idx="2131">
                  <c:v>42664</c:v>
                </c:pt>
                <c:pt idx="2132">
                  <c:v>42663</c:v>
                </c:pt>
                <c:pt idx="2133">
                  <c:v>42662</c:v>
                </c:pt>
                <c:pt idx="2134">
                  <c:v>42661</c:v>
                </c:pt>
                <c:pt idx="2135">
                  <c:v>42660</c:v>
                </c:pt>
                <c:pt idx="2136">
                  <c:v>42657</c:v>
                </c:pt>
                <c:pt idx="2137">
                  <c:v>42656</c:v>
                </c:pt>
                <c:pt idx="2138">
                  <c:v>42655</c:v>
                </c:pt>
                <c:pt idx="2139">
                  <c:v>42654</c:v>
                </c:pt>
                <c:pt idx="2140">
                  <c:v>42653</c:v>
                </c:pt>
                <c:pt idx="2141">
                  <c:v>42650</c:v>
                </c:pt>
                <c:pt idx="2142">
                  <c:v>42649</c:v>
                </c:pt>
                <c:pt idx="2143">
                  <c:v>42648</c:v>
                </c:pt>
                <c:pt idx="2144">
                  <c:v>42647</c:v>
                </c:pt>
                <c:pt idx="2145">
                  <c:v>42646</c:v>
                </c:pt>
                <c:pt idx="2146">
                  <c:v>42643</c:v>
                </c:pt>
                <c:pt idx="2147">
                  <c:v>42642</c:v>
                </c:pt>
                <c:pt idx="2148">
                  <c:v>42641</c:v>
                </c:pt>
                <c:pt idx="2149">
                  <c:v>42640</c:v>
                </c:pt>
                <c:pt idx="2150">
                  <c:v>42639</c:v>
                </c:pt>
                <c:pt idx="2151">
                  <c:v>42636</c:v>
                </c:pt>
                <c:pt idx="2152">
                  <c:v>42635</c:v>
                </c:pt>
                <c:pt idx="2153">
                  <c:v>42634</c:v>
                </c:pt>
                <c:pt idx="2154">
                  <c:v>42633</c:v>
                </c:pt>
                <c:pt idx="2155">
                  <c:v>42632</c:v>
                </c:pt>
                <c:pt idx="2156">
                  <c:v>42629</c:v>
                </c:pt>
                <c:pt idx="2157">
                  <c:v>42628</c:v>
                </c:pt>
                <c:pt idx="2158">
                  <c:v>42627</c:v>
                </c:pt>
                <c:pt idx="2159">
                  <c:v>42626</c:v>
                </c:pt>
                <c:pt idx="2160">
                  <c:v>42625</c:v>
                </c:pt>
                <c:pt idx="2161">
                  <c:v>42622</c:v>
                </c:pt>
                <c:pt idx="2162">
                  <c:v>42621</c:v>
                </c:pt>
                <c:pt idx="2163">
                  <c:v>42620</c:v>
                </c:pt>
                <c:pt idx="2164">
                  <c:v>42619</c:v>
                </c:pt>
                <c:pt idx="2165">
                  <c:v>42618</c:v>
                </c:pt>
                <c:pt idx="2166">
                  <c:v>42615</c:v>
                </c:pt>
                <c:pt idx="2167">
                  <c:v>42614</c:v>
                </c:pt>
                <c:pt idx="2168">
                  <c:v>42613</c:v>
                </c:pt>
                <c:pt idx="2169">
                  <c:v>42612</c:v>
                </c:pt>
                <c:pt idx="2170">
                  <c:v>42608</c:v>
                </c:pt>
                <c:pt idx="2171">
                  <c:v>42607</c:v>
                </c:pt>
                <c:pt idx="2172">
                  <c:v>42606</c:v>
                </c:pt>
                <c:pt idx="2173">
                  <c:v>42605</c:v>
                </c:pt>
                <c:pt idx="2174">
                  <c:v>42604</c:v>
                </c:pt>
                <c:pt idx="2175">
                  <c:v>42601</c:v>
                </c:pt>
                <c:pt idx="2176">
                  <c:v>42600</c:v>
                </c:pt>
                <c:pt idx="2177">
                  <c:v>42599</c:v>
                </c:pt>
                <c:pt idx="2178">
                  <c:v>42598</c:v>
                </c:pt>
                <c:pt idx="2179">
                  <c:v>42597</c:v>
                </c:pt>
                <c:pt idx="2180">
                  <c:v>42594</c:v>
                </c:pt>
                <c:pt idx="2181">
                  <c:v>42593</c:v>
                </c:pt>
                <c:pt idx="2182">
                  <c:v>42592</c:v>
                </c:pt>
                <c:pt idx="2183">
                  <c:v>42591</c:v>
                </c:pt>
                <c:pt idx="2184">
                  <c:v>42590</c:v>
                </c:pt>
                <c:pt idx="2185">
                  <c:v>42587</c:v>
                </c:pt>
                <c:pt idx="2186">
                  <c:v>42586</c:v>
                </c:pt>
                <c:pt idx="2187">
                  <c:v>42585</c:v>
                </c:pt>
                <c:pt idx="2188">
                  <c:v>42584</c:v>
                </c:pt>
                <c:pt idx="2189">
                  <c:v>42583</c:v>
                </c:pt>
                <c:pt idx="2190">
                  <c:v>42580</c:v>
                </c:pt>
                <c:pt idx="2191">
                  <c:v>42579</c:v>
                </c:pt>
                <c:pt idx="2192">
                  <c:v>42578</c:v>
                </c:pt>
                <c:pt idx="2193">
                  <c:v>42577</c:v>
                </c:pt>
                <c:pt idx="2194">
                  <c:v>42576</c:v>
                </c:pt>
                <c:pt idx="2195">
                  <c:v>42573</c:v>
                </c:pt>
                <c:pt idx="2196">
                  <c:v>42572</c:v>
                </c:pt>
                <c:pt idx="2197">
                  <c:v>42571</c:v>
                </c:pt>
                <c:pt idx="2198">
                  <c:v>42570</c:v>
                </c:pt>
                <c:pt idx="2199">
                  <c:v>42569</c:v>
                </c:pt>
                <c:pt idx="2200">
                  <c:v>42566</c:v>
                </c:pt>
                <c:pt idx="2201">
                  <c:v>42565</c:v>
                </c:pt>
                <c:pt idx="2202">
                  <c:v>42564</c:v>
                </c:pt>
                <c:pt idx="2203">
                  <c:v>42563</c:v>
                </c:pt>
                <c:pt idx="2204">
                  <c:v>42562</c:v>
                </c:pt>
                <c:pt idx="2205">
                  <c:v>42559</c:v>
                </c:pt>
                <c:pt idx="2206">
                  <c:v>42558</c:v>
                </c:pt>
                <c:pt idx="2207">
                  <c:v>42557</c:v>
                </c:pt>
                <c:pt idx="2208">
                  <c:v>42556</c:v>
                </c:pt>
                <c:pt idx="2209">
                  <c:v>42555</c:v>
                </c:pt>
                <c:pt idx="2210">
                  <c:v>42552</c:v>
                </c:pt>
                <c:pt idx="2211">
                  <c:v>42551</c:v>
                </c:pt>
                <c:pt idx="2212">
                  <c:v>42550</c:v>
                </c:pt>
                <c:pt idx="2213">
                  <c:v>42549</c:v>
                </c:pt>
                <c:pt idx="2214">
                  <c:v>42548</c:v>
                </c:pt>
                <c:pt idx="2215">
                  <c:v>42545</c:v>
                </c:pt>
                <c:pt idx="2216">
                  <c:v>42544</c:v>
                </c:pt>
                <c:pt idx="2217">
                  <c:v>42543</c:v>
                </c:pt>
                <c:pt idx="2218">
                  <c:v>42542</c:v>
                </c:pt>
                <c:pt idx="2219">
                  <c:v>42541</c:v>
                </c:pt>
                <c:pt idx="2220">
                  <c:v>42538</c:v>
                </c:pt>
                <c:pt idx="2221">
                  <c:v>42537</c:v>
                </c:pt>
                <c:pt idx="2222">
                  <c:v>42536</c:v>
                </c:pt>
                <c:pt idx="2223">
                  <c:v>42535</c:v>
                </c:pt>
                <c:pt idx="2224">
                  <c:v>42534</c:v>
                </c:pt>
                <c:pt idx="2225">
                  <c:v>42531</c:v>
                </c:pt>
                <c:pt idx="2226">
                  <c:v>42530</c:v>
                </c:pt>
                <c:pt idx="2227">
                  <c:v>42529</c:v>
                </c:pt>
                <c:pt idx="2228">
                  <c:v>42528</c:v>
                </c:pt>
                <c:pt idx="2229">
                  <c:v>42527</c:v>
                </c:pt>
                <c:pt idx="2230">
                  <c:v>42524</c:v>
                </c:pt>
                <c:pt idx="2231">
                  <c:v>42523</c:v>
                </c:pt>
                <c:pt idx="2232">
                  <c:v>42522</c:v>
                </c:pt>
                <c:pt idx="2233">
                  <c:v>42521</c:v>
                </c:pt>
                <c:pt idx="2234">
                  <c:v>42517</c:v>
                </c:pt>
                <c:pt idx="2235">
                  <c:v>42516</c:v>
                </c:pt>
                <c:pt idx="2236">
                  <c:v>42515</c:v>
                </c:pt>
                <c:pt idx="2237">
                  <c:v>42514</c:v>
                </c:pt>
                <c:pt idx="2238">
                  <c:v>42513</c:v>
                </c:pt>
                <c:pt idx="2239">
                  <c:v>42510</c:v>
                </c:pt>
                <c:pt idx="2240">
                  <c:v>42509</c:v>
                </c:pt>
                <c:pt idx="2241">
                  <c:v>42508</c:v>
                </c:pt>
                <c:pt idx="2242">
                  <c:v>42507</c:v>
                </c:pt>
                <c:pt idx="2243">
                  <c:v>42506</c:v>
                </c:pt>
                <c:pt idx="2244">
                  <c:v>42503</c:v>
                </c:pt>
                <c:pt idx="2245">
                  <c:v>42502</c:v>
                </c:pt>
                <c:pt idx="2246">
                  <c:v>42501</c:v>
                </c:pt>
                <c:pt idx="2247">
                  <c:v>42500</c:v>
                </c:pt>
                <c:pt idx="2248">
                  <c:v>42499</c:v>
                </c:pt>
                <c:pt idx="2249">
                  <c:v>42496</c:v>
                </c:pt>
                <c:pt idx="2250">
                  <c:v>42495</c:v>
                </c:pt>
                <c:pt idx="2251">
                  <c:v>42494</c:v>
                </c:pt>
                <c:pt idx="2252">
                  <c:v>42493</c:v>
                </c:pt>
                <c:pt idx="2253">
                  <c:v>42489</c:v>
                </c:pt>
                <c:pt idx="2254">
                  <c:v>42488</c:v>
                </c:pt>
                <c:pt idx="2255">
                  <c:v>42487</c:v>
                </c:pt>
                <c:pt idx="2256">
                  <c:v>42486</c:v>
                </c:pt>
                <c:pt idx="2257">
                  <c:v>42485</c:v>
                </c:pt>
                <c:pt idx="2258">
                  <c:v>42482</c:v>
                </c:pt>
                <c:pt idx="2259">
                  <c:v>42481</c:v>
                </c:pt>
                <c:pt idx="2260">
                  <c:v>42480</c:v>
                </c:pt>
                <c:pt idx="2261">
                  <c:v>42479</c:v>
                </c:pt>
                <c:pt idx="2262">
                  <c:v>42478</c:v>
                </c:pt>
                <c:pt idx="2263">
                  <c:v>42475</c:v>
                </c:pt>
                <c:pt idx="2264">
                  <c:v>42474</c:v>
                </c:pt>
                <c:pt idx="2265">
                  <c:v>42473</c:v>
                </c:pt>
                <c:pt idx="2266">
                  <c:v>42472</c:v>
                </c:pt>
                <c:pt idx="2267">
                  <c:v>42471</c:v>
                </c:pt>
                <c:pt idx="2268">
                  <c:v>42468</c:v>
                </c:pt>
                <c:pt idx="2269">
                  <c:v>42467</c:v>
                </c:pt>
                <c:pt idx="2270">
                  <c:v>42466</c:v>
                </c:pt>
                <c:pt idx="2271">
                  <c:v>42465</c:v>
                </c:pt>
                <c:pt idx="2272">
                  <c:v>42464</c:v>
                </c:pt>
                <c:pt idx="2273">
                  <c:v>42461</c:v>
                </c:pt>
                <c:pt idx="2274">
                  <c:v>42460</c:v>
                </c:pt>
                <c:pt idx="2275">
                  <c:v>42459</c:v>
                </c:pt>
                <c:pt idx="2276">
                  <c:v>42458</c:v>
                </c:pt>
                <c:pt idx="2277">
                  <c:v>42453</c:v>
                </c:pt>
                <c:pt idx="2278">
                  <c:v>42452</c:v>
                </c:pt>
                <c:pt idx="2279">
                  <c:v>42451</c:v>
                </c:pt>
                <c:pt idx="2280">
                  <c:v>42450</c:v>
                </c:pt>
                <c:pt idx="2281">
                  <c:v>42447</c:v>
                </c:pt>
                <c:pt idx="2282">
                  <c:v>42446</c:v>
                </c:pt>
                <c:pt idx="2283">
                  <c:v>42445</c:v>
                </c:pt>
                <c:pt idx="2284">
                  <c:v>42444</c:v>
                </c:pt>
                <c:pt idx="2285">
                  <c:v>42443</c:v>
                </c:pt>
                <c:pt idx="2286">
                  <c:v>42440</c:v>
                </c:pt>
                <c:pt idx="2287">
                  <c:v>42439</c:v>
                </c:pt>
                <c:pt idx="2288">
                  <c:v>42438</c:v>
                </c:pt>
                <c:pt idx="2289">
                  <c:v>42437</c:v>
                </c:pt>
                <c:pt idx="2290">
                  <c:v>42436</c:v>
                </c:pt>
                <c:pt idx="2291">
                  <c:v>42433</c:v>
                </c:pt>
                <c:pt idx="2292">
                  <c:v>42432</c:v>
                </c:pt>
                <c:pt idx="2293">
                  <c:v>42431</c:v>
                </c:pt>
                <c:pt idx="2294">
                  <c:v>42430</c:v>
                </c:pt>
                <c:pt idx="2295">
                  <c:v>42429</c:v>
                </c:pt>
                <c:pt idx="2296">
                  <c:v>42426</c:v>
                </c:pt>
                <c:pt idx="2297">
                  <c:v>42425</c:v>
                </c:pt>
                <c:pt idx="2298">
                  <c:v>42424</c:v>
                </c:pt>
                <c:pt idx="2299">
                  <c:v>42423</c:v>
                </c:pt>
                <c:pt idx="2300">
                  <c:v>42422</c:v>
                </c:pt>
                <c:pt idx="2301">
                  <c:v>42419</c:v>
                </c:pt>
                <c:pt idx="2302">
                  <c:v>42418</c:v>
                </c:pt>
                <c:pt idx="2303">
                  <c:v>42417</c:v>
                </c:pt>
                <c:pt idx="2304">
                  <c:v>42416</c:v>
                </c:pt>
                <c:pt idx="2305">
                  <c:v>42415</c:v>
                </c:pt>
                <c:pt idx="2306">
                  <c:v>42412</c:v>
                </c:pt>
                <c:pt idx="2307">
                  <c:v>42411</c:v>
                </c:pt>
                <c:pt idx="2308">
                  <c:v>42410</c:v>
                </c:pt>
                <c:pt idx="2309">
                  <c:v>42409</c:v>
                </c:pt>
                <c:pt idx="2310">
                  <c:v>42408</c:v>
                </c:pt>
                <c:pt idx="2311">
                  <c:v>42405</c:v>
                </c:pt>
                <c:pt idx="2312">
                  <c:v>42404</c:v>
                </c:pt>
                <c:pt idx="2313">
                  <c:v>42403</c:v>
                </c:pt>
                <c:pt idx="2314">
                  <c:v>42402</c:v>
                </c:pt>
                <c:pt idx="2315">
                  <c:v>42401</c:v>
                </c:pt>
                <c:pt idx="2316">
                  <c:v>42398</c:v>
                </c:pt>
                <c:pt idx="2317">
                  <c:v>42397</c:v>
                </c:pt>
                <c:pt idx="2318">
                  <c:v>42396</c:v>
                </c:pt>
                <c:pt idx="2319">
                  <c:v>42395</c:v>
                </c:pt>
                <c:pt idx="2320">
                  <c:v>42394</c:v>
                </c:pt>
                <c:pt idx="2321">
                  <c:v>42391</c:v>
                </c:pt>
                <c:pt idx="2322">
                  <c:v>42390</c:v>
                </c:pt>
                <c:pt idx="2323">
                  <c:v>42389</c:v>
                </c:pt>
                <c:pt idx="2324">
                  <c:v>42388</c:v>
                </c:pt>
                <c:pt idx="2325">
                  <c:v>42387</c:v>
                </c:pt>
                <c:pt idx="2326">
                  <c:v>42384</c:v>
                </c:pt>
                <c:pt idx="2327">
                  <c:v>42383</c:v>
                </c:pt>
                <c:pt idx="2328">
                  <c:v>42382</c:v>
                </c:pt>
                <c:pt idx="2329">
                  <c:v>42381</c:v>
                </c:pt>
                <c:pt idx="2330">
                  <c:v>42380</c:v>
                </c:pt>
                <c:pt idx="2331">
                  <c:v>42377</c:v>
                </c:pt>
                <c:pt idx="2332">
                  <c:v>42376</c:v>
                </c:pt>
                <c:pt idx="2333">
                  <c:v>42375</c:v>
                </c:pt>
                <c:pt idx="2334">
                  <c:v>42374</c:v>
                </c:pt>
                <c:pt idx="2335">
                  <c:v>42373</c:v>
                </c:pt>
                <c:pt idx="2336">
                  <c:v>42369</c:v>
                </c:pt>
                <c:pt idx="2337">
                  <c:v>42368</c:v>
                </c:pt>
                <c:pt idx="2338">
                  <c:v>42367</c:v>
                </c:pt>
                <c:pt idx="2339">
                  <c:v>42362</c:v>
                </c:pt>
                <c:pt idx="2340">
                  <c:v>42361</c:v>
                </c:pt>
                <c:pt idx="2341">
                  <c:v>42360</c:v>
                </c:pt>
                <c:pt idx="2342">
                  <c:v>42359</c:v>
                </c:pt>
                <c:pt idx="2343">
                  <c:v>42356</c:v>
                </c:pt>
                <c:pt idx="2344">
                  <c:v>42355</c:v>
                </c:pt>
                <c:pt idx="2345">
                  <c:v>42354</c:v>
                </c:pt>
                <c:pt idx="2346">
                  <c:v>42353</c:v>
                </c:pt>
                <c:pt idx="2347">
                  <c:v>42352</c:v>
                </c:pt>
                <c:pt idx="2348">
                  <c:v>42349</c:v>
                </c:pt>
                <c:pt idx="2349">
                  <c:v>42348</c:v>
                </c:pt>
                <c:pt idx="2350">
                  <c:v>42347</c:v>
                </c:pt>
                <c:pt idx="2351">
                  <c:v>42346</c:v>
                </c:pt>
                <c:pt idx="2352">
                  <c:v>42345</c:v>
                </c:pt>
                <c:pt idx="2353">
                  <c:v>42342</c:v>
                </c:pt>
                <c:pt idx="2354">
                  <c:v>42341</c:v>
                </c:pt>
                <c:pt idx="2355">
                  <c:v>42340</c:v>
                </c:pt>
                <c:pt idx="2356">
                  <c:v>42339</c:v>
                </c:pt>
                <c:pt idx="2357">
                  <c:v>42338</c:v>
                </c:pt>
                <c:pt idx="2358">
                  <c:v>42335</c:v>
                </c:pt>
                <c:pt idx="2359">
                  <c:v>42334</c:v>
                </c:pt>
                <c:pt idx="2360">
                  <c:v>42333</c:v>
                </c:pt>
                <c:pt idx="2361">
                  <c:v>42332</c:v>
                </c:pt>
                <c:pt idx="2362">
                  <c:v>42331</c:v>
                </c:pt>
                <c:pt idx="2363">
                  <c:v>42328</c:v>
                </c:pt>
                <c:pt idx="2364">
                  <c:v>42327</c:v>
                </c:pt>
                <c:pt idx="2365">
                  <c:v>42326</c:v>
                </c:pt>
                <c:pt idx="2366">
                  <c:v>42325</c:v>
                </c:pt>
                <c:pt idx="2367">
                  <c:v>42324</c:v>
                </c:pt>
                <c:pt idx="2368">
                  <c:v>42321</c:v>
                </c:pt>
                <c:pt idx="2369">
                  <c:v>42320</c:v>
                </c:pt>
                <c:pt idx="2370">
                  <c:v>42319</c:v>
                </c:pt>
                <c:pt idx="2371">
                  <c:v>42318</c:v>
                </c:pt>
                <c:pt idx="2372">
                  <c:v>42317</c:v>
                </c:pt>
                <c:pt idx="2373">
                  <c:v>42314</c:v>
                </c:pt>
                <c:pt idx="2374">
                  <c:v>42313</c:v>
                </c:pt>
                <c:pt idx="2375">
                  <c:v>42312</c:v>
                </c:pt>
                <c:pt idx="2376">
                  <c:v>42311</c:v>
                </c:pt>
                <c:pt idx="2377">
                  <c:v>42310</c:v>
                </c:pt>
                <c:pt idx="2378">
                  <c:v>42307</c:v>
                </c:pt>
                <c:pt idx="2379">
                  <c:v>42306</c:v>
                </c:pt>
                <c:pt idx="2380">
                  <c:v>42305</c:v>
                </c:pt>
                <c:pt idx="2381">
                  <c:v>42304</c:v>
                </c:pt>
                <c:pt idx="2382">
                  <c:v>42303</c:v>
                </c:pt>
                <c:pt idx="2383">
                  <c:v>42300</c:v>
                </c:pt>
                <c:pt idx="2384">
                  <c:v>42299</c:v>
                </c:pt>
                <c:pt idx="2385">
                  <c:v>42298</c:v>
                </c:pt>
                <c:pt idx="2386">
                  <c:v>42297</c:v>
                </c:pt>
                <c:pt idx="2387">
                  <c:v>42296</c:v>
                </c:pt>
                <c:pt idx="2388">
                  <c:v>42293</c:v>
                </c:pt>
                <c:pt idx="2389">
                  <c:v>42292</c:v>
                </c:pt>
                <c:pt idx="2390">
                  <c:v>42291</c:v>
                </c:pt>
                <c:pt idx="2391">
                  <c:v>42290</c:v>
                </c:pt>
                <c:pt idx="2392">
                  <c:v>42289</c:v>
                </c:pt>
                <c:pt idx="2393">
                  <c:v>42286</c:v>
                </c:pt>
                <c:pt idx="2394">
                  <c:v>42285</c:v>
                </c:pt>
                <c:pt idx="2395">
                  <c:v>42284</c:v>
                </c:pt>
                <c:pt idx="2396">
                  <c:v>42283</c:v>
                </c:pt>
                <c:pt idx="2397">
                  <c:v>42282</c:v>
                </c:pt>
                <c:pt idx="2398">
                  <c:v>42279</c:v>
                </c:pt>
                <c:pt idx="2399">
                  <c:v>42278</c:v>
                </c:pt>
                <c:pt idx="2400">
                  <c:v>42277</c:v>
                </c:pt>
                <c:pt idx="2401">
                  <c:v>42276</c:v>
                </c:pt>
                <c:pt idx="2402">
                  <c:v>42275</c:v>
                </c:pt>
                <c:pt idx="2403">
                  <c:v>42272</c:v>
                </c:pt>
                <c:pt idx="2404">
                  <c:v>42271</c:v>
                </c:pt>
                <c:pt idx="2405">
                  <c:v>42270</c:v>
                </c:pt>
                <c:pt idx="2406">
                  <c:v>42269</c:v>
                </c:pt>
                <c:pt idx="2407">
                  <c:v>42268</c:v>
                </c:pt>
                <c:pt idx="2408">
                  <c:v>42265</c:v>
                </c:pt>
                <c:pt idx="2409">
                  <c:v>42264</c:v>
                </c:pt>
                <c:pt idx="2410">
                  <c:v>42263</c:v>
                </c:pt>
                <c:pt idx="2411">
                  <c:v>42262</c:v>
                </c:pt>
                <c:pt idx="2412">
                  <c:v>42261</c:v>
                </c:pt>
                <c:pt idx="2413">
                  <c:v>42258</c:v>
                </c:pt>
                <c:pt idx="2414">
                  <c:v>42257</c:v>
                </c:pt>
                <c:pt idx="2415">
                  <c:v>42256</c:v>
                </c:pt>
                <c:pt idx="2416">
                  <c:v>42255</c:v>
                </c:pt>
                <c:pt idx="2417">
                  <c:v>42254</c:v>
                </c:pt>
                <c:pt idx="2418">
                  <c:v>42251</c:v>
                </c:pt>
                <c:pt idx="2419">
                  <c:v>42250</c:v>
                </c:pt>
                <c:pt idx="2420">
                  <c:v>42249</c:v>
                </c:pt>
                <c:pt idx="2421">
                  <c:v>42248</c:v>
                </c:pt>
                <c:pt idx="2422">
                  <c:v>42244</c:v>
                </c:pt>
                <c:pt idx="2423">
                  <c:v>42243</c:v>
                </c:pt>
                <c:pt idx="2424">
                  <c:v>42242</c:v>
                </c:pt>
                <c:pt idx="2425">
                  <c:v>42241</c:v>
                </c:pt>
                <c:pt idx="2426">
                  <c:v>42240</c:v>
                </c:pt>
                <c:pt idx="2427">
                  <c:v>42237</c:v>
                </c:pt>
                <c:pt idx="2428">
                  <c:v>42236</c:v>
                </c:pt>
                <c:pt idx="2429">
                  <c:v>42235</c:v>
                </c:pt>
                <c:pt idx="2430">
                  <c:v>42234</c:v>
                </c:pt>
                <c:pt idx="2431">
                  <c:v>42233</c:v>
                </c:pt>
                <c:pt idx="2432">
                  <c:v>42230</c:v>
                </c:pt>
                <c:pt idx="2433">
                  <c:v>42229</c:v>
                </c:pt>
                <c:pt idx="2434">
                  <c:v>42228</c:v>
                </c:pt>
                <c:pt idx="2435">
                  <c:v>42227</c:v>
                </c:pt>
                <c:pt idx="2436">
                  <c:v>42226</c:v>
                </c:pt>
                <c:pt idx="2437">
                  <c:v>42223</c:v>
                </c:pt>
                <c:pt idx="2438">
                  <c:v>42222</c:v>
                </c:pt>
                <c:pt idx="2439">
                  <c:v>42221</c:v>
                </c:pt>
                <c:pt idx="2440">
                  <c:v>42220</c:v>
                </c:pt>
                <c:pt idx="2441">
                  <c:v>42219</c:v>
                </c:pt>
                <c:pt idx="2442">
                  <c:v>42216</c:v>
                </c:pt>
                <c:pt idx="2443">
                  <c:v>42215</c:v>
                </c:pt>
                <c:pt idx="2444">
                  <c:v>42214</c:v>
                </c:pt>
                <c:pt idx="2445">
                  <c:v>42213</c:v>
                </c:pt>
                <c:pt idx="2446">
                  <c:v>42212</c:v>
                </c:pt>
                <c:pt idx="2447">
                  <c:v>42209</c:v>
                </c:pt>
                <c:pt idx="2448">
                  <c:v>42208</c:v>
                </c:pt>
                <c:pt idx="2449">
                  <c:v>42207</c:v>
                </c:pt>
                <c:pt idx="2450">
                  <c:v>42206</c:v>
                </c:pt>
                <c:pt idx="2451">
                  <c:v>42205</c:v>
                </c:pt>
                <c:pt idx="2452">
                  <c:v>42202</c:v>
                </c:pt>
                <c:pt idx="2453">
                  <c:v>42201</c:v>
                </c:pt>
                <c:pt idx="2454">
                  <c:v>42200</c:v>
                </c:pt>
                <c:pt idx="2455">
                  <c:v>42199</c:v>
                </c:pt>
                <c:pt idx="2456">
                  <c:v>42198</c:v>
                </c:pt>
                <c:pt idx="2457">
                  <c:v>42195</c:v>
                </c:pt>
                <c:pt idx="2458">
                  <c:v>42194</c:v>
                </c:pt>
                <c:pt idx="2459">
                  <c:v>42193</c:v>
                </c:pt>
                <c:pt idx="2460">
                  <c:v>42192</c:v>
                </c:pt>
                <c:pt idx="2461">
                  <c:v>42191</c:v>
                </c:pt>
                <c:pt idx="2462">
                  <c:v>42188</c:v>
                </c:pt>
                <c:pt idx="2463">
                  <c:v>42187</c:v>
                </c:pt>
                <c:pt idx="2464">
                  <c:v>42186</c:v>
                </c:pt>
                <c:pt idx="2465">
                  <c:v>42185</c:v>
                </c:pt>
                <c:pt idx="2466">
                  <c:v>42184</c:v>
                </c:pt>
                <c:pt idx="2467">
                  <c:v>42181</c:v>
                </c:pt>
                <c:pt idx="2468">
                  <c:v>42180</c:v>
                </c:pt>
                <c:pt idx="2469">
                  <c:v>42179</c:v>
                </c:pt>
                <c:pt idx="2470">
                  <c:v>42178</c:v>
                </c:pt>
                <c:pt idx="2471">
                  <c:v>42177</c:v>
                </c:pt>
                <c:pt idx="2472">
                  <c:v>42174</c:v>
                </c:pt>
                <c:pt idx="2473">
                  <c:v>42173</c:v>
                </c:pt>
                <c:pt idx="2474">
                  <c:v>42172</c:v>
                </c:pt>
                <c:pt idx="2475">
                  <c:v>42171</c:v>
                </c:pt>
                <c:pt idx="2476">
                  <c:v>42170</c:v>
                </c:pt>
                <c:pt idx="2477">
                  <c:v>42167</c:v>
                </c:pt>
                <c:pt idx="2478">
                  <c:v>42166</c:v>
                </c:pt>
                <c:pt idx="2479">
                  <c:v>42165</c:v>
                </c:pt>
                <c:pt idx="2480">
                  <c:v>42164</c:v>
                </c:pt>
                <c:pt idx="2481">
                  <c:v>42163</c:v>
                </c:pt>
                <c:pt idx="2482">
                  <c:v>42160</c:v>
                </c:pt>
                <c:pt idx="2483">
                  <c:v>42159</c:v>
                </c:pt>
                <c:pt idx="2484">
                  <c:v>42158</c:v>
                </c:pt>
                <c:pt idx="2485">
                  <c:v>42157</c:v>
                </c:pt>
                <c:pt idx="2486">
                  <c:v>42156</c:v>
                </c:pt>
                <c:pt idx="2487">
                  <c:v>42153</c:v>
                </c:pt>
                <c:pt idx="2488">
                  <c:v>42152</c:v>
                </c:pt>
                <c:pt idx="2489">
                  <c:v>42151</c:v>
                </c:pt>
                <c:pt idx="2490">
                  <c:v>42150</c:v>
                </c:pt>
                <c:pt idx="2491">
                  <c:v>42146</c:v>
                </c:pt>
                <c:pt idx="2492">
                  <c:v>42145</c:v>
                </c:pt>
                <c:pt idx="2493">
                  <c:v>42144</c:v>
                </c:pt>
                <c:pt idx="2494">
                  <c:v>42143</c:v>
                </c:pt>
                <c:pt idx="2495">
                  <c:v>42142</c:v>
                </c:pt>
                <c:pt idx="2496">
                  <c:v>42139</c:v>
                </c:pt>
                <c:pt idx="2497">
                  <c:v>42138</c:v>
                </c:pt>
                <c:pt idx="2498">
                  <c:v>42137</c:v>
                </c:pt>
                <c:pt idx="2499">
                  <c:v>42136</c:v>
                </c:pt>
                <c:pt idx="2500">
                  <c:v>42135</c:v>
                </c:pt>
                <c:pt idx="2501">
                  <c:v>42132</c:v>
                </c:pt>
                <c:pt idx="2502">
                  <c:v>42131</c:v>
                </c:pt>
                <c:pt idx="2503">
                  <c:v>42130</c:v>
                </c:pt>
                <c:pt idx="2504">
                  <c:v>42129</c:v>
                </c:pt>
                <c:pt idx="2505">
                  <c:v>42125</c:v>
                </c:pt>
                <c:pt idx="2506">
                  <c:v>42124</c:v>
                </c:pt>
                <c:pt idx="2507">
                  <c:v>42123</c:v>
                </c:pt>
                <c:pt idx="2508">
                  <c:v>42122</c:v>
                </c:pt>
                <c:pt idx="2509">
                  <c:v>42121</c:v>
                </c:pt>
                <c:pt idx="2510">
                  <c:v>42118</c:v>
                </c:pt>
                <c:pt idx="2511">
                  <c:v>42117</c:v>
                </c:pt>
                <c:pt idx="2512">
                  <c:v>42116</c:v>
                </c:pt>
                <c:pt idx="2513">
                  <c:v>42115</c:v>
                </c:pt>
                <c:pt idx="2514">
                  <c:v>42114</c:v>
                </c:pt>
                <c:pt idx="2515">
                  <c:v>42111</c:v>
                </c:pt>
                <c:pt idx="2516">
                  <c:v>42110</c:v>
                </c:pt>
                <c:pt idx="2517">
                  <c:v>42109</c:v>
                </c:pt>
                <c:pt idx="2518">
                  <c:v>42108</c:v>
                </c:pt>
                <c:pt idx="2519">
                  <c:v>42107</c:v>
                </c:pt>
                <c:pt idx="2520">
                  <c:v>42104</c:v>
                </c:pt>
                <c:pt idx="2521">
                  <c:v>42103</c:v>
                </c:pt>
                <c:pt idx="2522">
                  <c:v>42102</c:v>
                </c:pt>
                <c:pt idx="2523">
                  <c:v>42101</c:v>
                </c:pt>
                <c:pt idx="2524">
                  <c:v>42096</c:v>
                </c:pt>
                <c:pt idx="2525">
                  <c:v>42095</c:v>
                </c:pt>
                <c:pt idx="2526">
                  <c:v>42094</c:v>
                </c:pt>
                <c:pt idx="2527">
                  <c:v>42093</c:v>
                </c:pt>
                <c:pt idx="2528">
                  <c:v>42090</c:v>
                </c:pt>
                <c:pt idx="2529">
                  <c:v>42089</c:v>
                </c:pt>
                <c:pt idx="2530">
                  <c:v>42088</c:v>
                </c:pt>
                <c:pt idx="2531">
                  <c:v>42087</c:v>
                </c:pt>
                <c:pt idx="2532">
                  <c:v>42086</c:v>
                </c:pt>
                <c:pt idx="2533">
                  <c:v>42083</c:v>
                </c:pt>
                <c:pt idx="2534">
                  <c:v>42082</c:v>
                </c:pt>
                <c:pt idx="2535">
                  <c:v>42081</c:v>
                </c:pt>
                <c:pt idx="2536">
                  <c:v>42080</c:v>
                </c:pt>
                <c:pt idx="2537">
                  <c:v>42079</c:v>
                </c:pt>
                <c:pt idx="2538">
                  <c:v>42076</c:v>
                </c:pt>
                <c:pt idx="2539">
                  <c:v>42075</c:v>
                </c:pt>
                <c:pt idx="2540">
                  <c:v>42074</c:v>
                </c:pt>
                <c:pt idx="2541">
                  <c:v>42073</c:v>
                </c:pt>
                <c:pt idx="2542">
                  <c:v>42072</c:v>
                </c:pt>
                <c:pt idx="2543">
                  <c:v>42069</c:v>
                </c:pt>
                <c:pt idx="2544">
                  <c:v>42068</c:v>
                </c:pt>
                <c:pt idx="2545">
                  <c:v>42067</c:v>
                </c:pt>
                <c:pt idx="2546">
                  <c:v>42066</c:v>
                </c:pt>
                <c:pt idx="2547">
                  <c:v>42065</c:v>
                </c:pt>
                <c:pt idx="2548">
                  <c:v>42062</c:v>
                </c:pt>
                <c:pt idx="2549">
                  <c:v>42061</c:v>
                </c:pt>
                <c:pt idx="2550">
                  <c:v>42060</c:v>
                </c:pt>
                <c:pt idx="2551">
                  <c:v>42059</c:v>
                </c:pt>
                <c:pt idx="2552">
                  <c:v>42058</c:v>
                </c:pt>
                <c:pt idx="2553">
                  <c:v>42055</c:v>
                </c:pt>
                <c:pt idx="2554">
                  <c:v>42054</c:v>
                </c:pt>
                <c:pt idx="2555">
                  <c:v>42053</c:v>
                </c:pt>
                <c:pt idx="2556">
                  <c:v>42052</c:v>
                </c:pt>
                <c:pt idx="2557">
                  <c:v>42051</c:v>
                </c:pt>
                <c:pt idx="2558">
                  <c:v>42048</c:v>
                </c:pt>
                <c:pt idx="2559">
                  <c:v>42047</c:v>
                </c:pt>
                <c:pt idx="2560">
                  <c:v>42046</c:v>
                </c:pt>
                <c:pt idx="2561">
                  <c:v>42045</c:v>
                </c:pt>
                <c:pt idx="2562">
                  <c:v>42044</c:v>
                </c:pt>
                <c:pt idx="2563">
                  <c:v>42041</c:v>
                </c:pt>
                <c:pt idx="2564">
                  <c:v>42040</c:v>
                </c:pt>
                <c:pt idx="2565">
                  <c:v>42039</c:v>
                </c:pt>
                <c:pt idx="2566">
                  <c:v>42038</c:v>
                </c:pt>
                <c:pt idx="2567">
                  <c:v>42037</c:v>
                </c:pt>
                <c:pt idx="2568">
                  <c:v>42034</c:v>
                </c:pt>
                <c:pt idx="2569">
                  <c:v>42033</c:v>
                </c:pt>
                <c:pt idx="2570">
                  <c:v>42032</c:v>
                </c:pt>
                <c:pt idx="2571">
                  <c:v>42031</c:v>
                </c:pt>
                <c:pt idx="2572">
                  <c:v>42030</c:v>
                </c:pt>
                <c:pt idx="2573">
                  <c:v>42027</c:v>
                </c:pt>
                <c:pt idx="2574">
                  <c:v>42026</c:v>
                </c:pt>
                <c:pt idx="2575">
                  <c:v>42025</c:v>
                </c:pt>
                <c:pt idx="2576">
                  <c:v>42024</c:v>
                </c:pt>
                <c:pt idx="2577">
                  <c:v>42023</c:v>
                </c:pt>
                <c:pt idx="2578">
                  <c:v>42020</c:v>
                </c:pt>
                <c:pt idx="2579">
                  <c:v>42019</c:v>
                </c:pt>
                <c:pt idx="2580">
                  <c:v>42018</c:v>
                </c:pt>
                <c:pt idx="2581">
                  <c:v>42017</c:v>
                </c:pt>
                <c:pt idx="2582">
                  <c:v>42016</c:v>
                </c:pt>
                <c:pt idx="2583">
                  <c:v>42013</c:v>
                </c:pt>
                <c:pt idx="2584">
                  <c:v>42012</c:v>
                </c:pt>
                <c:pt idx="2585">
                  <c:v>42011</c:v>
                </c:pt>
                <c:pt idx="2586">
                  <c:v>42010</c:v>
                </c:pt>
                <c:pt idx="2587">
                  <c:v>42009</c:v>
                </c:pt>
                <c:pt idx="2588">
                  <c:v>42006</c:v>
                </c:pt>
                <c:pt idx="2589">
                  <c:v>42004</c:v>
                </c:pt>
                <c:pt idx="2590">
                  <c:v>42003</c:v>
                </c:pt>
                <c:pt idx="2591">
                  <c:v>42002</c:v>
                </c:pt>
                <c:pt idx="2592">
                  <c:v>41997</c:v>
                </c:pt>
                <c:pt idx="2593">
                  <c:v>41996</c:v>
                </c:pt>
                <c:pt idx="2594">
                  <c:v>41995</c:v>
                </c:pt>
                <c:pt idx="2595">
                  <c:v>41992</c:v>
                </c:pt>
                <c:pt idx="2596">
                  <c:v>41991</c:v>
                </c:pt>
                <c:pt idx="2597">
                  <c:v>41990</c:v>
                </c:pt>
                <c:pt idx="2598">
                  <c:v>41989</c:v>
                </c:pt>
                <c:pt idx="2599">
                  <c:v>41988</c:v>
                </c:pt>
                <c:pt idx="2600">
                  <c:v>41985</c:v>
                </c:pt>
                <c:pt idx="2601">
                  <c:v>41984</c:v>
                </c:pt>
                <c:pt idx="2602">
                  <c:v>41983</c:v>
                </c:pt>
                <c:pt idx="2603">
                  <c:v>41982</c:v>
                </c:pt>
                <c:pt idx="2604">
                  <c:v>41981</c:v>
                </c:pt>
                <c:pt idx="2605">
                  <c:v>41978</c:v>
                </c:pt>
                <c:pt idx="2606">
                  <c:v>41977</c:v>
                </c:pt>
                <c:pt idx="2607">
                  <c:v>41976</c:v>
                </c:pt>
                <c:pt idx="2608">
                  <c:v>41975</c:v>
                </c:pt>
                <c:pt idx="2609">
                  <c:v>41974</c:v>
                </c:pt>
                <c:pt idx="2610">
                  <c:v>41971</c:v>
                </c:pt>
                <c:pt idx="2611">
                  <c:v>41970</c:v>
                </c:pt>
                <c:pt idx="2612">
                  <c:v>41969</c:v>
                </c:pt>
                <c:pt idx="2613">
                  <c:v>41968</c:v>
                </c:pt>
                <c:pt idx="2614">
                  <c:v>41967</c:v>
                </c:pt>
                <c:pt idx="2615">
                  <c:v>41964</c:v>
                </c:pt>
                <c:pt idx="2616">
                  <c:v>41963</c:v>
                </c:pt>
                <c:pt idx="2617">
                  <c:v>41962</c:v>
                </c:pt>
                <c:pt idx="2618">
                  <c:v>41961</c:v>
                </c:pt>
                <c:pt idx="2619">
                  <c:v>41960</c:v>
                </c:pt>
                <c:pt idx="2620">
                  <c:v>41957</c:v>
                </c:pt>
                <c:pt idx="2621">
                  <c:v>41956</c:v>
                </c:pt>
                <c:pt idx="2622">
                  <c:v>41955</c:v>
                </c:pt>
                <c:pt idx="2623">
                  <c:v>41954</c:v>
                </c:pt>
                <c:pt idx="2624">
                  <c:v>41953</c:v>
                </c:pt>
                <c:pt idx="2625">
                  <c:v>41950</c:v>
                </c:pt>
                <c:pt idx="2626">
                  <c:v>41949</c:v>
                </c:pt>
                <c:pt idx="2627">
                  <c:v>41948</c:v>
                </c:pt>
                <c:pt idx="2628">
                  <c:v>41947</c:v>
                </c:pt>
                <c:pt idx="2629">
                  <c:v>41946</c:v>
                </c:pt>
                <c:pt idx="2630">
                  <c:v>41943</c:v>
                </c:pt>
                <c:pt idx="2631">
                  <c:v>41942</c:v>
                </c:pt>
                <c:pt idx="2632">
                  <c:v>41941</c:v>
                </c:pt>
                <c:pt idx="2633">
                  <c:v>41940</c:v>
                </c:pt>
                <c:pt idx="2634">
                  <c:v>41939</c:v>
                </c:pt>
                <c:pt idx="2635">
                  <c:v>41936</c:v>
                </c:pt>
                <c:pt idx="2636">
                  <c:v>41935</c:v>
                </c:pt>
                <c:pt idx="2637">
                  <c:v>41934</c:v>
                </c:pt>
                <c:pt idx="2638">
                  <c:v>41933</c:v>
                </c:pt>
                <c:pt idx="2639">
                  <c:v>41932</c:v>
                </c:pt>
                <c:pt idx="2640">
                  <c:v>41929</c:v>
                </c:pt>
                <c:pt idx="2641">
                  <c:v>41928</c:v>
                </c:pt>
                <c:pt idx="2642">
                  <c:v>41927</c:v>
                </c:pt>
                <c:pt idx="2643">
                  <c:v>41926</c:v>
                </c:pt>
                <c:pt idx="2644">
                  <c:v>41925</c:v>
                </c:pt>
                <c:pt idx="2645">
                  <c:v>41922</c:v>
                </c:pt>
                <c:pt idx="2646">
                  <c:v>41921</c:v>
                </c:pt>
                <c:pt idx="2647">
                  <c:v>41920</c:v>
                </c:pt>
                <c:pt idx="2648">
                  <c:v>41919</c:v>
                </c:pt>
                <c:pt idx="2649">
                  <c:v>41918</c:v>
                </c:pt>
                <c:pt idx="2650">
                  <c:v>41915</c:v>
                </c:pt>
                <c:pt idx="2651">
                  <c:v>41914</c:v>
                </c:pt>
                <c:pt idx="2652">
                  <c:v>41913</c:v>
                </c:pt>
                <c:pt idx="2653">
                  <c:v>41912</c:v>
                </c:pt>
                <c:pt idx="2654">
                  <c:v>41911</c:v>
                </c:pt>
                <c:pt idx="2655">
                  <c:v>41908</c:v>
                </c:pt>
                <c:pt idx="2656">
                  <c:v>41907</c:v>
                </c:pt>
                <c:pt idx="2657">
                  <c:v>41906</c:v>
                </c:pt>
                <c:pt idx="2658">
                  <c:v>41905</c:v>
                </c:pt>
                <c:pt idx="2659">
                  <c:v>41904</c:v>
                </c:pt>
                <c:pt idx="2660">
                  <c:v>41901</c:v>
                </c:pt>
                <c:pt idx="2661">
                  <c:v>41900</c:v>
                </c:pt>
                <c:pt idx="2662">
                  <c:v>41899</c:v>
                </c:pt>
                <c:pt idx="2663">
                  <c:v>41898</c:v>
                </c:pt>
                <c:pt idx="2664">
                  <c:v>41897</c:v>
                </c:pt>
                <c:pt idx="2665">
                  <c:v>41894</c:v>
                </c:pt>
                <c:pt idx="2666">
                  <c:v>41893</c:v>
                </c:pt>
                <c:pt idx="2667">
                  <c:v>41892</c:v>
                </c:pt>
                <c:pt idx="2668">
                  <c:v>41891</c:v>
                </c:pt>
                <c:pt idx="2669">
                  <c:v>41890</c:v>
                </c:pt>
                <c:pt idx="2670">
                  <c:v>41887</c:v>
                </c:pt>
                <c:pt idx="2671">
                  <c:v>41886</c:v>
                </c:pt>
                <c:pt idx="2672">
                  <c:v>41885</c:v>
                </c:pt>
                <c:pt idx="2673">
                  <c:v>41884</c:v>
                </c:pt>
                <c:pt idx="2674">
                  <c:v>41883</c:v>
                </c:pt>
                <c:pt idx="2675">
                  <c:v>41880</c:v>
                </c:pt>
                <c:pt idx="2676">
                  <c:v>41879</c:v>
                </c:pt>
                <c:pt idx="2677">
                  <c:v>41878</c:v>
                </c:pt>
                <c:pt idx="2678">
                  <c:v>41877</c:v>
                </c:pt>
                <c:pt idx="2679">
                  <c:v>41873</c:v>
                </c:pt>
                <c:pt idx="2680">
                  <c:v>41872</c:v>
                </c:pt>
                <c:pt idx="2681">
                  <c:v>41871</c:v>
                </c:pt>
                <c:pt idx="2682">
                  <c:v>41870</c:v>
                </c:pt>
                <c:pt idx="2683">
                  <c:v>41869</c:v>
                </c:pt>
                <c:pt idx="2684">
                  <c:v>41866</c:v>
                </c:pt>
                <c:pt idx="2685">
                  <c:v>41865</c:v>
                </c:pt>
                <c:pt idx="2686">
                  <c:v>41864</c:v>
                </c:pt>
                <c:pt idx="2687">
                  <c:v>41863</c:v>
                </c:pt>
                <c:pt idx="2688">
                  <c:v>41862</c:v>
                </c:pt>
                <c:pt idx="2689">
                  <c:v>41859</c:v>
                </c:pt>
                <c:pt idx="2690">
                  <c:v>41858</c:v>
                </c:pt>
                <c:pt idx="2691">
                  <c:v>41857</c:v>
                </c:pt>
                <c:pt idx="2692">
                  <c:v>41856</c:v>
                </c:pt>
                <c:pt idx="2693">
                  <c:v>41855</c:v>
                </c:pt>
                <c:pt idx="2694">
                  <c:v>41852</c:v>
                </c:pt>
                <c:pt idx="2695">
                  <c:v>41851</c:v>
                </c:pt>
                <c:pt idx="2696">
                  <c:v>41850</c:v>
                </c:pt>
                <c:pt idx="2697">
                  <c:v>41849</c:v>
                </c:pt>
                <c:pt idx="2698">
                  <c:v>41848</c:v>
                </c:pt>
                <c:pt idx="2699">
                  <c:v>41845</c:v>
                </c:pt>
                <c:pt idx="2700">
                  <c:v>41844</c:v>
                </c:pt>
                <c:pt idx="2701">
                  <c:v>41843</c:v>
                </c:pt>
                <c:pt idx="2702">
                  <c:v>41842</c:v>
                </c:pt>
                <c:pt idx="2703">
                  <c:v>41841</c:v>
                </c:pt>
                <c:pt idx="2704">
                  <c:v>41838</c:v>
                </c:pt>
                <c:pt idx="2705">
                  <c:v>41837</c:v>
                </c:pt>
                <c:pt idx="2706">
                  <c:v>41836</c:v>
                </c:pt>
                <c:pt idx="2707">
                  <c:v>41835</c:v>
                </c:pt>
                <c:pt idx="2708">
                  <c:v>41834</c:v>
                </c:pt>
                <c:pt idx="2709">
                  <c:v>41831</c:v>
                </c:pt>
                <c:pt idx="2710">
                  <c:v>41830</c:v>
                </c:pt>
                <c:pt idx="2711">
                  <c:v>41829</c:v>
                </c:pt>
                <c:pt idx="2712">
                  <c:v>41828</c:v>
                </c:pt>
                <c:pt idx="2713">
                  <c:v>41827</c:v>
                </c:pt>
                <c:pt idx="2714">
                  <c:v>41824</c:v>
                </c:pt>
                <c:pt idx="2715">
                  <c:v>41823</c:v>
                </c:pt>
                <c:pt idx="2716">
                  <c:v>41822</c:v>
                </c:pt>
                <c:pt idx="2717">
                  <c:v>41821</c:v>
                </c:pt>
                <c:pt idx="2718">
                  <c:v>41820</c:v>
                </c:pt>
                <c:pt idx="2719">
                  <c:v>41817</c:v>
                </c:pt>
                <c:pt idx="2720">
                  <c:v>41816</c:v>
                </c:pt>
                <c:pt idx="2721">
                  <c:v>41815</c:v>
                </c:pt>
                <c:pt idx="2722">
                  <c:v>41814</c:v>
                </c:pt>
                <c:pt idx="2723">
                  <c:v>41813</c:v>
                </c:pt>
                <c:pt idx="2724">
                  <c:v>41810</c:v>
                </c:pt>
                <c:pt idx="2725">
                  <c:v>41809</c:v>
                </c:pt>
                <c:pt idx="2726">
                  <c:v>41808</c:v>
                </c:pt>
                <c:pt idx="2727">
                  <c:v>41807</c:v>
                </c:pt>
                <c:pt idx="2728">
                  <c:v>41806</c:v>
                </c:pt>
                <c:pt idx="2729">
                  <c:v>41803</c:v>
                </c:pt>
                <c:pt idx="2730">
                  <c:v>41802</c:v>
                </c:pt>
                <c:pt idx="2731">
                  <c:v>41801</c:v>
                </c:pt>
                <c:pt idx="2732">
                  <c:v>41800</c:v>
                </c:pt>
                <c:pt idx="2733">
                  <c:v>41799</c:v>
                </c:pt>
                <c:pt idx="2734">
                  <c:v>41796</c:v>
                </c:pt>
                <c:pt idx="2735">
                  <c:v>41795</c:v>
                </c:pt>
                <c:pt idx="2736">
                  <c:v>41794</c:v>
                </c:pt>
                <c:pt idx="2737">
                  <c:v>41793</c:v>
                </c:pt>
                <c:pt idx="2738">
                  <c:v>41792</c:v>
                </c:pt>
                <c:pt idx="2739">
                  <c:v>41789</c:v>
                </c:pt>
                <c:pt idx="2740">
                  <c:v>41788</c:v>
                </c:pt>
                <c:pt idx="2741">
                  <c:v>41787</c:v>
                </c:pt>
                <c:pt idx="2742">
                  <c:v>41786</c:v>
                </c:pt>
                <c:pt idx="2743">
                  <c:v>41782</c:v>
                </c:pt>
                <c:pt idx="2744">
                  <c:v>41781</c:v>
                </c:pt>
                <c:pt idx="2745">
                  <c:v>41780</c:v>
                </c:pt>
                <c:pt idx="2746">
                  <c:v>41779</c:v>
                </c:pt>
                <c:pt idx="2747">
                  <c:v>41778</c:v>
                </c:pt>
                <c:pt idx="2748">
                  <c:v>41775</c:v>
                </c:pt>
                <c:pt idx="2749">
                  <c:v>41774</c:v>
                </c:pt>
                <c:pt idx="2750">
                  <c:v>41773</c:v>
                </c:pt>
                <c:pt idx="2751">
                  <c:v>41772</c:v>
                </c:pt>
                <c:pt idx="2752">
                  <c:v>41771</c:v>
                </c:pt>
                <c:pt idx="2753">
                  <c:v>41768</c:v>
                </c:pt>
                <c:pt idx="2754">
                  <c:v>41767</c:v>
                </c:pt>
                <c:pt idx="2755">
                  <c:v>41766</c:v>
                </c:pt>
                <c:pt idx="2756">
                  <c:v>41765</c:v>
                </c:pt>
                <c:pt idx="2757">
                  <c:v>41761</c:v>
                </c:pt>
                <c:pt idx="2758">
                  <c:v>41760</c:v>
                </c:pt>
                <c:pt idx="2759">
                  <c:v>41759</c:v>
                </c:pt>
                <c:pt idx="2760">
                  <c:v>41758</c:v>
                </c:pt>
                <c:pt idx="2761">
                  <c:v>41757</c:v>
                </c:pt>
                <c:pt idx="2762">
                  <c:v>41754</c:v>
                </c:pt>
                <c:pt idx="2763">
                  <c:v>41753</c:v>
                </c:pt>
                <c:pt idx="2764">
                  <c:v>41752</c:v>
                </c:pt>
                <c:pt idx="2765">
                  <c:v>41751</c:v>
                </c:pt>
                <c:pt idx="2766">
                  <c:v>41746</c:v>
                </c:pt>
                <c:pt idx="2767">
                  <c:v>41745</c:v>
                </c:pt>
                <c:pt idx="2768">
                  <c:v>41744</c:v>
                </c:pt>
                <c:pt idx="2769">
                  <c:v>41743</c:v>
                </c:pt>
                <c:pt idx="2770">
                  <c:v>41740</c:v>
                </c:pt>
                <c:pt idx="2771">
                  <c:v>41739</c:v>
                </c:pt>
                <c:pt idx="2772">
                  <c:v>41738</c:v>
                </c:pt>
                <c:pt idx="2773">
                  <c:v>41737</c:v>
                </c:pt>
                <c:pt idx="2774">
                  <c:v>41736</c:v>
                </c:pt>
                <c:pt idx="2775">
                  <c:v>41733</c:v>
                </c:pt>
                <c:pt idx="2776">
                  <c:v>41732</c:v>
                </c:pt>
                <c:pt idx="2777">
                  <c:v>41731</c:v>
                </c:pt>
                <c:pt idx="2778">
                  <c:v>41730</c:v>
                </c:pt>
                <c:pt idx="2779">
                  <c:v>41729</c:v>
                </c:pt>
                <c:pt idx="2780">
                  <c:v>41726</c:v>
                </c:pt>
                <c:pt idx="2781">
                  <c:v>41725</c:v>
                </c:pt>
                <c:pt idx="2782">
                  <c:v>41724</c:v>
                </c:pt>
                <c:pt idx="2783">
                  <c:v>41723</c:v>
                </c:pt>
                <c:pt idx="2784">
                  <c:v>41722</c:v>
                </c:pt>
                <c:pt idx="2785">
                  <c:v>41719</c:v>
                </c:pt>
                <c:pt idx="2786">
                  <c:v>41718</c:v>
                </c:pt>
                <c:pt idx="2787">
                  <c:v>41717</c:v>
                </c:pt>
                <c:pt idx="2788">
                  <c:v>41716</c:v>
                </c:pt>
                <c:pt idx="2789">
                  <c:v>41715</c:v>
                </c:pt>
                <c:pt idx="2790">
                  <c:v>41712</c:v>
                </c:pt>
                <c:pt idx="2791">
                  <c:v>41711</c:v>
                </c:pt>
                <c:pt idx="2792">
                  <c:v>41710</c:v>
                </c:pt>
                <c:pt idx="2793">
                  <c:v>41709</c:v>
                </c:pt>
                <c:pt idx="2794">
                  <c:v>41708</c:v>
                </c:pt>
                <c:pt idx="2795">
                  <c:v>41705</c:v>
                </c:pt>
                <c:pt idx="2796">
                  <c:v>41704</c:v>
                </c:pt>
                <c:pt idx="2797">
                  <c:v>41703</c:v>
                </c:pt>
                <c:pt idx="2798">
                  <c:v>41702</c:v>
                </c:pt>
                <c:pt idx="2799">
                  <c:v>41701</c:v>
                </c:pt>
                <c:pt idx="2800">
                  <c:v>41698</c:v>
                </c:pt>
                <c:pt idx="2801">
                  <c:v>41697</c:v>
                </c:pt>
                <c:pt idx="2802">
                  <c:v>41696</c:v>
                </c:pt>
                <c:pt idx="2803">
                  <c:v>41695</c:v>
                </c:pt>
                <c:pt idx="2804">
                  <c:v>41694</c:v>
                </c:pt>
                <c:pt idx="2805">
                  <c:v>41691</c:v>
                </c:pt>
                <c:pt idx="2806">
                  <c:v>41690</c:v>
                </c:pt>
                <c:pt idx="2807">
                  <c:v>41689</c:v>
                </c:pt>
                <c:pt idx="2808">
                  <c:v>41688</c:v>
                </c:pt>
                <c:pt idx="2809">
                  <c:v>41687</c:v>
                </c:pt>
                <c:pt idx="2810">
                  <c:v>41684</c:v>
                </c:pt>
                <c:pt idx="2811">
                  <c:v>41683</c:v>
                </c:pt>
                <c:pt idx="2812">
                  <c:v>41682</c:v>
                </c:pt>
                <c:pt idx="2813">
                  <c:v>41681</c:v>
                </c:pt>
                <c:pt idx="2814">
                  <c:v>41680</c:v>
                </c:pt>
                <c:pt idx="2815">
                  <c:v>41677</c:v>
                </c:pt>
                <c:pt idx="2816">
                  <c:v>41676</c:v>
                </c:pt>
                <c:pt idx="2817">
                  <c:v>41675</c:v>
                </c:pt>
                <c:pt idx="2818">
                  <c:v>41674</c:v>
                </c:pt>
                <c:pt idx="2819">
                  <c:v>41673</c:v>
                </c:pt>
                <c:pt idx="2820">
                  <c:v>41670</c:v>
                </c:pt>
                <c:pt idx="2821">
                  <c:v>41669</c:v>
                </c:pt>
                <c:pt idx="2822">
                  <c:v>41668</c:v>
                </c:pt>
                <c:pt idx="2823">
                  <c:v>41667</c:v>
                </c:pt>
                <c:pt idx="2824">
                  <c:v>41666</c:v>
                </c:pt>
                <c:pt idx="2825">
                  <c:v>41663</c:v>
                </c:pt>
                <c:pt idx="2826">
                  <c:v>41662</c:v>
                </c:pt>
                <c:pt idx="2827">
                  <c:v>41661</c:v>
                </c:pt>
                <c:pt idx="2828">
                  <c:v>41660</c:v>
                </c:pt>
                <c:pt idx="2829">
                  <c:v>41659</c:v>
                </c:pt>
                <c:pt idx="2830">
                  <c:v>41656</c:v>
                </c:pt>
                <c:pt idx="2831">
                  <c:v>41655</c:v>
                </c:pt>
                <c:pt idx="2832">
                  <c:v>41654</c:v>
                </c:pt>
                <c:pt idx="2833">
                  <c:v>41653</c:v>
                </c:pt>
                <c:pt idx="2834">
                  <c:v>41652</c:v>
                </c:pt>
                <c:pt idx="2835">
                  <c:v>41649</c:v>
                </c:pt>
                <c:pt idx="2836">
                  <c:v>41648</c:v>
                </c:pt>
                <c:pt idx="2837">
                  <c:v>41647</c:v>
                </c:pt>
                <c:pt idx="2838">
                  <c:v>41646</c:v>
                </c:pt>
                <c:pt idx="2839">
                  <c:v>41645</c:v>
                </c:pt>
                <c:pt idx="2840">
                  <c:v>41642</c:v>
                </c:pt>
                <c:pt idx="2841">
                  <c:v>41641</c:v>
                </c:pt>
                <c:pt idx="2842">
                  <c:v>41639</c:v>
                </c:pt>
                <c:pt idx="2843">
                  <c:v>41638</c:v>
                </c:pt>
                <c:pt idx="2844">
                  <c:v>41635</c:v>
                </c:pt>
                <c:pt idx="2845">
                  <c:v>41632</c:v>
                </c:pt>
                <c:pt idx="2846">
                  <c:v>41631</c:v>
                </c:pt>
                <c:pt idx="2847">
                  <c:v>41628</c:v>
                </c:pt>
                <c:pt idx="2848">
                  <c:v>41627</c:v>
                </c:pt>
                <c:pt idx="2849">
                  <c:v>41626</c:v>
                </c:pt>
                <c:pt idx="2850">
                  <c:v>41625</c:v>
                </c:pt>
                <c:pt idx="2851">
                  <c:v>41624</c:v>
                </c:pt>
                <c:pt idx="2852">
                  <c:v>41621</c:v>
                </c:pt>
                <c:pt idx="2853">
                  <c:v>41620</c:v>
                </c:pt>
                <c:pt idx="2854">
                  <c:v>41619</c:v>
                </c:pt>
                <c:pt idx="2855">
                  <c:v>41618</c:v>
                </c:pt>
                <c:pt idx="2856">
                  <c:v>41617</c:v>
                </c:pt>
                <c:pt idx="2857">
                  <c:v>41614</c:v>
                </c:pt>
                <c:pt idx="2858">
                  <c:v>41613</c:v>
                </c:pt>
                <c:pt idx="2859">
                  <c:v>41612</c:v>
                </c:pt>
                <c:pt idx="2860">
                  <c:v>41611</c:v>
                </c:pt>
                <c:pt idx="2861">
                  <c:v>41610</c:v>
                </c:pt>
                <c:pt idx="2862">
                  <c:v>41607</c:v>
                </c:pt>
                <c:pt idx="2863">
                  <c:v>41606</c:v>
                </c:pt>
                <c:pt idx="2864">
                  <c:v>41605</c:v>
                </c:pt>
                <c:pt idx="2865">
                  <c:v>41604</c:v>
                </c:pt>
                <c:pt idx="2866">
                  <c:v>41603</c:v>
                </c:pt>
                <c:pt idx="2867">
                  <c:v>41600</c:v>
                </c:pt>
                <c:pt idx="2868">
                  <c:v>41599</c:v>
                </c:pt>
                <c:pt idx="2869">
                  <c:v>41598</c:v>
                </c:pt>
                <c:pt idx="2870">
                  <c:v>41597</c:v>
                </c:pt>
                <c:pt idx="2871">
                  <c:v>41596</c:v>
                </c:pt>
                <c:pt idx="2872">
                  <c:v>41593</c:v>
                </c:pt>
                <c:pt idx="2873">
                  <c:v>41592</c:v>
                </c:pt>
                <c:pt idx="2874">
                  <c:v>41591</c:v>
                </c:pt>
                <c:pt idx="2875">
                  <c:v>41590</c:v>
                </c:pt>
                <c:pt idx="2876">
                  <c:v>41589</c:v>
                </c:pt>
                <c:pt idx="2877">
                  <c:v>41586</c:v>
                </c:pt>
                <c:pt idx="2878">
                  <c:v>41585</c:v>
                </c:pt>
                <c:pt idx="2879">
                  <c:v>41584</c:v>
                </c:pt>
                <c:pt idx="2880">
                  <c:v>41583</c:v>
                </c:pt>
                <c:pt idx="2881">
                  <c:v>41582</c:v>
                </c:pt>
                <c:pt idx="2882">
                  <c:v>41579</c:v>
                </c:pt>
                <c:pt idx="2883">
                  <c:v>41578</c:v>
                </c:pt>
                <c:pt idx="2884">
                  <c:v>41577</c:v>
                </c:pt>
                <c:pt idx="2885">
                  <c:v>41576</c:v>
                </c:pt>
                <c:pt idx="2886">
                  <c:v>41575</c:v>
                </c:pt>
                <c:pt idx="2887">
                  <c:v>41572</c:v>
                </c:pt>
                <c:pt idx="2888">
                  <c:v>41571</c:v>
                </c:pt>
                <c:pt idx="2889">
                  <c:v>41570</c:v>
                </c:pt>
                <c:pt idx="2890">
                  <c:v>41569</c:v>
                </c:pt>
                <c:pt idx="2891">
                  <c:v>41568</c:v>
                </c:pt>
                <c:pt idx="2892">
                  <c:v>41565</c:v>
                </c:pt>
                <c:pt idx="2893">
                  <c:v>41564</c:v>
                </c:pt>
                <c:pt idx="2894">
                  <c:v>41563</c:v>
                </c:pt>
                <c:pt idx="2895">
                  <c:v>41562</c:v>
                </c:pt>
                <c:pt idx="2896">
                  <c:v>41561</c:v>
                </c:pt>
                <c:pt idx="2897">
                  <c:v>41558</c:v>
                </c:pt>
                <c:pt idx="2898">
                  <c:v>41557</c:v>
                </c:pt>
                <c:pt idx="2899">
                  <c:v>41556</c:v>
                </c:pt>
                <c:pt idx="2900">
                  <c:v>41555</c:v>
                </c:pt>
                <c:pt idx="2901">
                  <c:v>41554</c:v>
                </c:pt>
                <c:pt idx="2902">
                  <c:v>41551</c:v>
                </c:pt>
                <c:pt idx="2903">
                  <c:v>41550</c:v>
                </c:pt>
                <c:pt idx="2904">
                  <c:v>41549</c:v>
                </c:pt>
                <c:pt idx="2905">
                  <c:v>41548</c:v>
                </c:pt>
                <c:pt idx="2906">
                  <c:v>41547</c:v>
                </c:pt>
                <c:pt idx="2907">
                  <c:v>41544</c:v>
                </c:pt>
                <c:pt idx="2908">
                  <c:v>41543</c:v>
                </c:pt>
                <c:pt idx="2909">
                  <c:v>41542</c:v>
                </c:pt>
                <c:pt idx="2910">
                  <c:v>41541</c:v>
                </c:pt>
                <c:pt idx="2911">
                  <c:v>41540</c:v>
                </c:pt>
                <c:pt idx="2912">
                  <c:v>41537</c:v>
                </c:pt>
                <c:pt idx="2913">
                  <c:v>41536</c:v>
                </c:pt>
                <c:pt idx="2914">
                  <c:v>41535</c:v>
                </c:pt>
                <c:pt idx="2915">
                  <c:v>41534</c:v>
                </c:pt>
                <c:pt idx="2916">
                  <c:v>41533</c:v>
                </c:pt>
                <c:pt idx="2917">
                  <c:v>41530</c:v>
                </c:pt>
                <c:pt idx="2918">
                  <c:v>41529</c:v>
                </c:pt>
                <c:pt idx="2919">
                  <c:v>41528</c:v>
                </c:pt>
                <c:pt idx="2920">
                  <c:v>41527</c:v>
                </c:pt>
                <c:pt idx="2921">
                  <c:v>41526</c:v>
                </c:pt>
                <c:pt idx="2922">
                  <c:v>41523</c:v>
                </c:pt>
                <c:pt idx="2923">
                  <c:v>41522</c:v>
                </c:pt>
                <c:pt idx="2924">
                  <c:v>41521</c:v>
                </c:pt>
                <c:pt idx="2925">
                  <c:v>41520</c:v>
                </c:pt>
                <c:pt idx="2926">
                  <c:v>41519</c:v>
                </c:pt>
                <c:pt idx="2927">
                  <c:v>41516</c:v>
                </c:pt>
                <c:pt idx="2928">
                  <c:v>41515</c:v>
                </c:pt>
                <c:pt idx="2929">
                  <c:v>41514</c:v>
                </c:pt>
                <c:pt idx="2930">
                  <c:v>41513</c:v>
                </c:pt>
                <c:pt idx="2931">
                  <c:v>41509</c:v>
                </c:pt>
                <c:pt idx="2932">
                  <c:v>41508</c:v>
                </c:pt>
                <c:pt idx="2933">
                  <c:v>41507</c:v>
                </c:pt>
                <c:pt idx="2934">
                  <c:v>41506</c:v>
                </c:pt>
                <c:pt idx="2935">
                  <c:v>41505</c:v>
                </c:pt>
                <c:pt idx="2936">
                  <c:v>41502</c:v>
                </c:pt>
                <c:pt idx="2937">
                  <c:v>41501</c:v>
                </c:pt>
                <c:pt idx="2938">
                  <c:v>41500</c:v>
                </c:pt>
                <c:pt idx="2939">
                  <c:v>41499</c:v>
                </c:pt>
                <c:pt idx="2940">
                  <c:v>41498</c:v>
                </c:pt>
                <c:pt idx="2941">
                  <c:v>41495</c:v>
                </c:pt>
                <c:pt idx="2942">
                  <c:v>41494</c:v>
                </c:pt>
                <c:pt idx="2943">
                  <c:v>41493</c:v>
                </c:pt>
                <c:pt idx="2944">
                  <c:v>41492</c:v>
                </c:pt>
                <c:pt idx="2945">
                  <c:v>41491</c:v>
                </c:pt>
                <c:pt idx="2946">
                  <c:v>41488</c:v>
                </c:pt>
                <c:pt idx="2947">
                  <c:v>41487</c:v>
                </c:pt>
                <c:pt idx="2948">
                  <c:v>41486</c:v>
                </c:pt>
                <c:pt idx="2949">
                  <c:v>41485</c:v>
                </c:pt>
                <c:pt idx="2950">
                  <c:v>41484</c:v>
                </c:pt>
                <c:pt idx="2951">
                  <c:v>41481</c:v>
                </c:pt>
                <c:pt idx="2952">
                  <c:v>41480</c:v>
                </c:pt>
                <c:pt idx="2953">
                  <c:v>41479</c:v>
                </c:pt>
                <c:pt idx="2954">
                  <c:v>41478</c:v>
                </c:pt>
                <c:pt idx="2955">
                  <c:v>41477</c:v>
                </c:pt>
                <c:pt idx="2956">
                  <c:v>41474</c:v>
                </c:pt>
                <c:pt idx="2957">
                  <c:v>41473</c:v>
                </c:pt>
                <c:pt idx="2958">
                  <c:v>41472</c:v>
                </c:pt>
                <c:pt idx="2959">
                  <c:v>41471</c:v>
                </c:pt>
                <c:pt idx="2960">
                  <c:v>41470</c:v>
                </c:pt>
                <c:pt idx="2961">
                  <c:v>41467</c:v>
                </c:pt>
                <c:pt idx="2962">
                  <c:v>41466</c:v>
                </c:pt>
                <c:pt idx="2963">
                  <c:v>41465</c:v>
                </c:pt>
                <c:pt idx="2964">
                  <c:v>41464</c:v>
                </c:pt>
                <c:pt idx="2965">
                  <c:v>41463</c:v>
                </c:pt>
                <c:pt idx="2966">
                  <c:v>41460</c:v>
                </c:pt>
                <c:pt idx="2967">
                  <c:v>41459</c:v>
                </c:pt>
                <c:pt idx="2968">
                  <c:v>41458</c:v>
                </c:pt>
                <c:pt idx="2969">
                  <c:v>41457</c:v>
                </c:pt>
                <c:pt idx="2970">
                  <c:v>41456</c:v>
                </c:pt>
                <c:pt idx="2971">
                  <c:v>41453</c:v>
                </c:pt>
                <c:pt idx="2972">
                  <c:v>41452</c:v>
                </c:pt>
                <c:pt idx="2973">
                  <c:v>41451</c:v>
                </c:pt>
                <c:pt idx="2974">
                  <c:v>41450</c:v>
                </c:pt>
                <c:pt idx="2975">
                  <c:v>41449</c:v>
                </c:pt>
                <c:pt idx="2976">
                  <c:v>41446</c:v>
                </c:pt>
                <c:pt idx="2977">
                  <c:v>41445</c:v>
                </c:pt>
                <c:pt idx="2978">
                  <c:v>41444</c:v>
                </c:pt>
                <c:pt idx="2979">
                  <c:v>41443</c:v>
                </c:pt>
                <c:pt idx="2980">
                  <c:v>41442</c:v>
                </c:pt>
                <c:pt idx="2981">
                  <c:v>41439</c:v>
                </c:pt>
                <c:pt idx="2982">
                  <c:v>41438</c:v>
                </c:pt>
                <c:pt idx="2983">
                  <c:v>41437</c:v>
                </c:pt>
                <c:pt idx="2984">
                  <c:v>41436</c:v>
                </c:pt>
                <c:pt idx="2985">
                  <c:v>41435</c:v>
                </c:pt>
                <c:pt idx="2986">
                  <c:v>41432</c:v>
                </c:pt>
                <c:pt idx="2987">
                  <c:v>41431</c:v>
                </c:pt>
                <c:pt idx="2988">
                  <c:v>41430</c:v>
                </c:pt>
                <c:pt idx="2989">
                  <c:v>41429</c:v>
                </c:pt>
                <c:pt idx="2990">
                  <c:v>41428</c:v>
                </c:pt>
                <c:pt idx="2991">
                  <c:v>41425</c:v>
                </c:pt>
                <c:pt idx="2992">
                  <c:v>41424</c:v>
                </c:pt>
                <c:pt idx="2993">
                  <c:v>41423</c:v>
                </c:pt>
                <c:pt idx="2994">
                  <c:v>41422</c:v>
                </c:pt>
                <c:pt idx="2995">
                  <c:v>41418</c:v>
                </c:pt>
                <c:pt idx="2996">
                  <c:v>41417</c:v>
                </c:pt>
                <c:pt idx="2997">
                  <c:v>41416</c:v>
                </c:pt>
                <c:pt idx="2998">
                  <c:v>41415</c:v>
                </c:pt>
                <c:pt idx="2999">
                  <c:v>41414</c:v>
                </c:pt>
                <c:pt idx="3000">
                  <c:v>41411</c:v>
                </c:pt>
                <c:pt idx="3001">
                  <c:v>41410</c:v>
                </c:pt>
                <c:pt idx="3002">
                  <c:v>41409</c:v>
                </c:pt>
                <c:pt idx="3003">
                  <c:v>41408</c:v>
                </c:pt>
                <c:pt idx="3004">
                  <c:v>41407</c:v>
                </c:pt>
                <c:pt idx="3005">
                  <c:v>41404</c:v>
                </c:pt>
                <c:pt idx="3006">
                  <c:v>41403</c:v>
                </c:pt>
                <c:pt idx="3007">
                  <c:v>41402</c:v>
                </c:pt>
                <c:pt idx="3008">
                  <c:v>41401</c:v>
                </c:pt>
                <c:pt idx="3009">
                  <c:v>41397</c:v>
                </c:pt>
                <c:pt idx="3010">
                  <c:v>41396</c:v>
                </c:pt>
                <c:pt idx="3011">
                  <c:v>41395</c:v>
                </c:pt>
                <c:pt idx="3012">
                  <c:v>41394</c:v>
                </c:pt>
                <c:pt idx="3013">
                  <c:v>41393</c:v>
                </c:pt>
                <c:pt idx="3014">
                  <c:v>41390</c:v>
                </c:pt>
                <c:pt idx="3015">
                  <c:v>41389</c:v>
                </c:pt>
                <c:pt idx="3016">
                  <c:v>41388</c:v>
                </c:pt>
                <c:pt idx="3017">
                  <c:v>41387</c:v>
                </c:pt>
                <c:pt idx="3018">
                  <c:v>41386</c:v>
                </c:pt>
                <c:pt idx="3019">
                  <c:v>41383</c:v>
                </c:pt>
                <c:pt idx="3020">
                  <c:v>41382</c:v>
                </c:pt>
                <c:pt idx="3021">
                  <c:v>41381</c:v>
                </c:pt>
                <c:pt idx="3022">
                  <c:v>41380</c:v>
                </c:pt>
                <c:pt idx="3023">
                  <c:v>41379</c:v>
                </c:pt>
                <c:pt idx="3024">
                  <c:v>41376</c:v>
                </c:pt>
                <c:pt idx="3025">
                  <c:v>41375</c:v>
                </c:pt>
                <c:pt idx="3026">
                  <c:v>41374</c:v>
                </c:pt>
                <c:pt idx="3027">
                  <c:v>41373</c:v>
                </c:pt>
                <c:pt idx="3028">
                  <c:v>41372</c:v>
                </c:pt>
                <c:pt idx="3029">
                  <c:v>41369</c:v>
                </c:pt>
                <c:pt idx="3030">
                  <c:v>41368</c:v>
                </c:pt>
                <c:pt idx="3031">
                  <c:v>41367</c:v>
                </c:pt>
                <c:pt idx="3032">
                  <c:v>41366</c:v>
                </c:pt>
                <c:pt idx="3033">
                  <c:v>41361</c:v>
                </c:pt>
                <c:pt idx="3034">
                  <c:v>41360</c:v>
                </c:pt>
                <c:pt idx="3035">
                  <c:v>41359</c:v>
                </c:pt>
                <c:pt idx="3036">
                  <c:v>41358</c:v>
                </c:pt>
                <c:pt idx="3037">
                  <c:v>41355</c:v>
                </c:pt>
                <c:pt idx="3038">
                  <c:v>41354</c:v>
                </c:pt>
                <c:pt idx="3039">
                  <c:v>41353</c:v>
                </c:pt>
                <c:pt idx="3040">
                  <c:v>41352</c:v>
                </c:pt>
                <c:pt idx="3041">
                  <c:v>41351</c:v>
                </c:pt>
                <c:pt idx="3042">
                  <c:v>41348</c:v>
                </c:pt>
                <c:pt idx="3043">
                  <c:v>41347</c:v>
                </c:pt>
                <c:pt idx="3044">
                  <c:v>41346</c:v>
                </c:pt>
                <c:pt idx="3045">
                  <c:v>41345</c:v>
                </c:pt>
                <c:pt idx="3046">
                  <c:v>41344</c:v>
                </c:pt>
                <c:pt idx="3047">
                  <c:v>41341</c:v>
                </c:pt>
                <c:pt idx="3048">
                  <c:v>41340</c:v>
                </c:pt>
                <c:pt idx="3049">
                  <c:v>41339</c:v>
                </c:pt>
                <c:pt idx="3050">
                  <c:v>41338</c:v>
                </c:pt>
                <c:pt idx="3051">
                  <c:v>41337</c:v>
                </c:pt>
                <c:pt idx="3052">
                  <c:v>41334</c:v>
                </c:pt>
                <c:pt idx="3053">
                  <c:v>41333</c:v>
                </c:pt>
                <c:pt idx="3054">
                  <c:v>41332</c:v>
                </c:pt>
                <c:pt idx="3055">
                  <c:v>41331</c:v>
                </c:pt>
                <c:pt idx="3056">
                  <c:v>41330</c:v>
                </c:pt>
                <c:pt idx="3057">
                  <c:v>41327</c:v>
                </c:pt>
                <c:pt idx="3058">
                  <c:v>41326</c:v>
                </c:pt>
                <c:pt idx="3059">
                  <c:v>41325</c:v>
                </c:pt>
                <c:pt idx="3060">
                  <c:v>41324</c:v>
                </c:pt>
                <c:pt idx="3061">
                  <c:v>41323</c:v>
                </c:pt>
                <c:pt idx="3062">
                  <c:v>41320</c:v>
                </c:pt>
                <c:pt idx="3063">
                  <c:v>41319</c:v>
                </c:pt>
                <c:pt idx="3064">
                  <c:v>41318</c:v>
                </c:pt>
                <c:pt idx="3065">
                  <c:v>41317</c:v>
                </c:pt>
                <c:pt idx="3066">
                  <c:v>41316</c:v>
                </c:pt>
                <c:pt idx="3067">
                  <c:v>41313</c:v>
                </c:pt>
                <c:pt idx="3068">
                  <c:v>41312</c:v>
                </c:pt>
                <c:pt idx="3069">
                  <c:v>41311</c:v>
                </c:pt>
                <c:pt idx="3070">
                  <c:v>41310</c:v>
                </c:pt>
                <c:pt idx="3071">
                  <c:v>41309</c:v>
                </c:pt>
                <c:pt idx="3072">
                  <c:v>41306</c:v>
                </c:pt>
                <c:pt idx="3073">
                  <c:v>41305</c:v>
                </c:pt>
                <c:pt idx="3074">
                  <c:v>41304</c:v>
                </c:pt>
                <c:pt idx="3075">
                  <c:v>41303</c:v>
                </c:pt>
                <c:pt idx="3076">
                  <c:v>41302</c:v>
                </c:pt>
                <c:pt idx="3077">
                  <c:v>41299</c:v>
                </c:pt>
                <c:pt idx="3078">
                  <c:v>41298</c:v>
                </c:pt>
                <c:pt idx="3079">
                  <c:v>41297</c:v>
                </c:pt>
                <c:pt idx="3080">
                  <c:v>41296</c:v>
                </c:pt>
                <c:pt idx="3081">
                  <c:v>41295</c:v>
                </c:pt>
                <c:pt idx="3082">
                  <c:v>41292</c:v>
                </c:pt>
                <c:pt idx="3083">
                  <c:v>41291</c:v>
                </c:pt>
                <c:pt idx="3084">
                  <c:v>41290</c:v>
                </c:pt>
                <c:pt idx="3085">
                  <c:v>41289</c:v>
                </c:pt>
                <c:pt idx="3086">
                  <c:v>41288</c:v>
                </c:pt>
                <c:pt idx="3087">
                  <c:v>41285</c:v>
                </c:pt>
                <c:pt idx="3088">
                  <c:v>41284</c:v>
                </c:pt>
                <c:pt idx="3089">
                  <c:v>41283</c:v>
                </c:pt>
                <c:pt idx="3090">
                  <c:v>41282</c:v>
                </c:pt>
                <c:pt idx="3091">
                  <c:v>41281</c:v>
                </c:pt>
                <c:pt idx="3092">
                  <c:v>41278</c:v>
                </c:pt>
                <c:pt idx="3093">
                  <c:v>41277</c:v>
                </c:pt>
                <c:pt idx="3094">
                  <c:v>41276</c:v>
                </c:pt>
                <c:pt idx="3095">
                  <c:v>41274</c:v>
                </c:pt>
                <c:pt idx="3096">
                  <c:v>41271</c:v>
                </c:pt>
                <c:pt idx="3097">
                  <c:v>41270</c:v>
                </c:pt>
                <c:pt idx="3098">
                  <c:v>41267</c:v>
                </c:pt>
                <c:pt idx="3099">
                  <c:v>41264</c:v>
                </c:pt>
                <c:pt idx="3100">
                  <c:v>41263</c:v>
                </c:pt>
                <c:pt idx="3101">
                  <c:v>41262</c:v>
                </c:pt>
                <c:pt idx="3102">
                  <c:v>41261</c:v>
                </c:pt>
                <c:pt idx="3103">
                  <c:v>41260</c:v>
                </c:pt>
                <c:pt idx="3104">
                  <c:v>41257</c:v>
                </c:pt>
                <c:pt idx="3105">
                  <c:v>41256</c:v>
                </c:pt>
                <c:pt idx="3106">
                  <c:v>41255</c:v>
                </c:pt>
                <c:pt idx="3107">
                  <c:v>41254</c:v>
                </c:pt>
                <c:pt idx="3108">
                  <c:v>41253</c:v>
                </c:pt>
                <c:pt idx="3109">
                  <c:v>41250</c:v>
                </c:pt>
                <c:pt idx="3110">
                  <c:v>41249</c:v>
                </c:pt>
                <c:pt idx="3111">
                  <c:v>41248</c:v>
                </c:pt>
                <c:pt idx="3112">
                  <c:v>41247</c:v>
                </c:pt>
                <c:pt idx="3113">
                  <c:v>41246</c:v>
                </c:pt>
                <c:pt idx="3114">
                  <c:v>41243</c:v>
                </c:pt>
                <c:pt idx="3115">
                  <c:v>41242</c:v>
                </c:pt>
                <c:pt idx="3116">
                  <c:v>41241</c:v>
                </c:pt>
                <c:pt idx="3117">
                  <c:v>41240</c:v>
                </c:pt>
                <c:pt idx="3118">
                  <c:v>41239</c:v>
                </c:pt>
                <c:pt idx="3119">
                  <c:v>41236</c:v>
                </c:pt>
                <c:pt idx="3120">
                  <c:v>41235</c:v>
                </c:pt>
                <c:pt idx="3121">
                  <c:v>41234</c:v>
                </c:pt>
                <c:pt idx="3122">
                  <c:v>41233</c:v>
                </c:pt>
                <c:pt idx="3123">
                  <c:v>41232</c:v>
                </c:pt>
                <c:pt idx="3124">
                  <c:v>41229</c:v>
                </c:pt>
                <c:pt idx="3125">
                  <c:v>41228</c:v>
                </c:pt>
                <c:pt idx="3126">
                  <c:v>41227</c:v>
                </c:pt>
                <c:pt idx="3127">
                  <c:v>41226</c:v>
                </c:pt>
                <c:pt idx="3128">
                  <c:v>41225</c:v>
                </c:pt>
                <c:pt idx="3129">
                  <c:v>41222</c:v>
                </c:pt>
                <c:pt idx="3130">
                  <c:v>41221</c:v>
                </c:pt>
                <c:pt idx="3131">
                  <c:v>41220</c:v>
                </c:pt>
                <c:pt idx="3132">
                  <c:v>41219</c:v>
                </c:pt>
                <c:pt idx="3133">
                  <c:v>41218</c:v>
                </c:pt>
                <c:pt idx="3134">
                  <c:v>41215</c:v>
                </c:pt>
                <c:pt idx="3135">
                  <c:v>41214</c:v>
                </c:pt>
                <c:pt idx="3136">
                  <c:v>41213</c:v>
                </c:pt>
                <c:pt idx="3137">
                  <c:v>41212</c:v>
                </c:pt>
                <c:pt idx="3138">
                  <c:v>41211</c:v>
                </c:pt>
                <c:pt idx="3139">
                  <c:v>41208</c:v>
                </c:pt>
                <c:pt idx="3140">
                  <c:v>41207</c:v>
                </c:pt>
                <c:pt idx="3141">
                  <c:v>41206</c:v>
                </c:pt>
                <c:pt idx="3142">
                  <c:v>41205</c:v>
                </c:pt>
                <c:pt idx="3143">
                  <c:v>41204</c:v>
                </c:pt>
                <c:pt idx="3144">
                  <c:v>41201</c:v>
                </c:pt>
                <c:pt idx="3145">
                  <c:v>41200</c:v>
                </c:pt>
                <c:pt idx="3146">
                  <c:v>41199</c:v>
                </c:pt>
                <c:pt idx="3147">
                  <c:v>41198</c:v>
                </c:pt>
                <c:pt idx="3148">
                  <c:v>41197</c:v>
                </c:pt>
                <c:pt idx="3149">
                  <c:v>41194</c:v>
                </c:pt>
                <c:pt idx="3150">
                  <c:v>41193</c:v>
                </c:pt>
                <c:pt idx="3151">
                  <c:v>41192</c:v>
                </c:pt>
                <c:pt idx="3152">
                  <c:v>41191</c:v>
                </c:pt>
                <c:pt idx="3153">
                  <c:v>41190</c:v>
                </c:pt>
                <c:pt idx="3154">
                  <c:v>41187</c:v>
                </c:pt>
                <c:pt idx="3155">
                  <c:v>41186</c:v>
                </c:pt>
                <c:pt idx="3156">
                  <c:v>41185</c:v>
                </c:pt>
                <c:pt idx="3157">
                  <c:v>41184</c:v>
                </c:pt>
                <c:pt idx="3158">
                  <c:v>41183</c:v>
                </c:pt>
                <c:pt idx="3159">
                  <c:v>41180</c:v>
                </c:pt>
                <c:pt idx="3160">
                  <c:v>41179</c:v>
                </c:pt>
                <c:pt idx="3161">
                  <c:v>41178</c:v>
                </c:pt>
                <c:pt idx="3162">
                  <c:v>41177</c:v>
                </c:pt>
                <c:pt idx="3163">
                  <c:v>41176</c:v>
                </c:pt>
                <c:pt idx="3164">
                  <c:v>41173</c:v>
                </c:pt>
                <c:pt idx="3165">
                  <c:v>41172</c:v>
                </c:pt>
                <c:pt idx="3166">
                  <c:v>41171</c:v>
                </c:pt>
                <c:pt idx="3167">
                  <c:v>41170</c:v>
                </c:pt>
                <c:pt idx="3168">
                  <c:v>41169</c:v>
                </c:pt>
                <c:pt idx="3169">
                  <c:v>41166</c:v>
                </c:pt>
                <c:pt idx="3170">
                  <c:v>41165</c:v>
                </c:pt>
                <c:pt idx="3171">
                  <c:v>41164</c:v>
                </c:pt>
                <c:pt idx="3172">
                  <c:v>41163</c:v>
                </c:pt>
                <c:pt idx="3173">
                  <c:v>41162</c:v>
                </c:pt>
                <c:pt idx="3174">
                  <c:v>41159</c:v>
                </c:pt>
                <c:pt idx="3175">
                  <c:v>41158</c:v>
                </c:pt>
                <c:pt idx="3176">
                  <c:v>41157</c:v>
                </c:pt>
                <c:pt idx="3177">
                  <c:v>41156</c:v>
                </c:pt>
                <c:pt idx="3178">
                  <c:v>41155</c:v>
                </c:pt>
                <c:pt idx="3179">
                  <c:v>41152</c:v>
                </c:pt>
                <c:pt idx="3180">
                  <c:v>41151</c:v>
                </c:pt>
                <c:pt idx="3181">
                  <c:v>41150</c:v>
                </c:pt>
                <c:pt idx="3182">
                  <c:v>41149</c:v>
                </c:pt>
                <c:pt idx="3183">
                  <c:v>41145</c:v>
                </c:pt>
                <c:pt idx="3184">
                  <c:v>41144</c:v>
                </c:pt>
                <c:pt idx="3185">
                  <c:v>41143</c:v>
                </c:pt>
                <c:pt idx="3186">
                  <c:v>41142</c:v>
                </c:pt>
                <c:pt idx="3187">
                  <c:v>41141</c:v>
                </c:pt>
                <c:pt idx="3188">
                  <c:v>41138</c:v>
                </c:pt>
                <c:pt idx="3189">
                  <c:v>41137</c:v>
                </c:pt>
                <c:pt idx="3190">
                  <c:v>41136</c:v>
                </c:pt>
                <c:pt idx="3191">
                  <c:v>41135</c:v>
                </c:pt>
                <c:pt idx="3192">
                  <c:v>41134</c:v>
                </c:pt>
                <c:pt idx="3193">
                  <c:v>41131</c:v>
                </c:pt>
                <c:pt idx="3194">
                  <c:v>41130</c:v>
                </c:pt>
                <c:pt idx="3195">
                  <c:v>41129</c:v>
                </c:pt>
                <c:pt idx="3196">
                  <c:v>41128</c:v>
                </c:pt>
                <c:pt idx="3197">
                  <c:v>41127</c:v>
                </c:pt>
                <c:pt idx="3198">
                  <c:v>41124</c:v>
                </c:pt>
                <c:pt idx="3199">
                  <c:v>41123</c:v>
                </c:pt>
                <c:pt idx="3200">
                  <c:v>41122</c:v>
                </c:pt>
                <c:pt idx="3201">
                  <c:v>41121</c:v>
                </c:pt>
                <c:pt idx="3202">
                  <c:v>41120</c:v>
                </c:pt>
                <c:pt idx="3203">
                  <c:v>41117</c:v>
                </c:pt>
                <c:pt idx="3204">
                  <c:v>41116</c:v>
                </c:pt>
                <c:pt idx="3205">
                  <c:v>41115</c:v>
                </c:pt>
                <c:pt idx="3206">
                  <c:v>41114</c:v>
                </c:pt>
                <c:pt idx="3207">
                  <c:v>41113</c:v>
                </c:pt>
                <c:pt idx="3208">
                  <c:v>41110</c:v>
                </c:pt>
                <c:pt idx="3209">
                  <c:v>41109</c:v>
                </c:pt>
                <c:pt idx="3210">
                  <c:v>41108</c:v>
                </c:pt>
                <c:pt idx="3211">
                  <c:v>41107</c:v>
                </c:pt>
                <c:pt idx="3212">
                  <c:v>41106</c:v>
                </c:pt>
                <c:pt idx="3213">
                  <c:v>41103</c:v>
                </c:pt>
                <c:pt idx="3214">
                  <c:v>41102</c:v>
                </c:pt>
                <c:pt idx="3215">
                  <c:v>41101</c:v>
                </c:pt>
                <c:pt idx="3216">
                  <c:v>41100</c:v>
                </c:pt>
                <c:pt idx="3217">
                  <c:v>41099</c:v>
                </c:pt>
                <c:pt idx="3218">
                  <c:v>41096</c:v>
                </c:pt>
                <c:pt idx="3219">
                  <c:v>41095</c:v>
                </c:pt>
                <c:pt idx="3220">
                  <c:v>41094</c:v>
                </c:pt>
                <c:pt idx="3221">
                  <c:v>41093</c:v>
                </c:pt>
                <c:pt idx="3222">
                  <c:v>41092</c:v>
                </c:pt>
                <c:pt idx="3223">
                  <c:v>41089</c:v>
                </c:pt>
                <c:pt idx="3224">
                  <c:v>41088</c:v>
                </c:pt>
                <c:pt idx="3225">
                  <c:v>41087</c:v>
                </c:pt>
                <c:pt idx="3226">
                  <c:v>41086</c:v>
                </c:pt>
                <c:pt idx="3227">
                  <c:v>41085</c:v>
                </c:pt>
                <c:pt idx="3228">
                  <c:v>41082</c:v>
                </c:pt>
                <c:pt idx="3229">
                  <c:v>41081</c:v>
                </c:pt>
                <c:pt idx="3230">
                  <c:v>41080</c:v>
                </c:pt>
                <c:pt idx="3231">
                  <c:v>41079</c:v>
                </c:pt>
                <c:pt idx="3232">
                  <c:v>41078</c:v>
                </c:pt>
                <c:pt idx="3233">
                  <c:v>41075</c:v>
                </c:pt>
                <c:pt idx="3234">
                  <c:v>41074</c:v>
                </c:pt>
                <c:pt idx="3235">
                  <c:v>41073</c:v>
                </c:pt>
                <c:pt idx="3236">
                  <c:v>41072</c:v>
                </c:pt>
                <c:pt idx="3237">
                  <c:v>41071</c:v>
                </c:pt>
                <c:pt idx="3238">
                  <c:v>41068</c:v>
                </c:pt>
                <c:pt idx="3239">
                  <c:v>41067</c:v>
                </c:pt>
                <c:pt idx="3240">
                  <c:v>41066</c:v>
                </c:pt>
                <c:pt idx="3241">
                  <c:v>41061</c:v>
                </c:pt>
                <c:pt idx="3242">
                  <c:v>41060</c:v>
                </c:pt>
                <c:pt idx="3243">
                  <c:v>41059</c:v>
                </c:pt>
                <c:pt idx="3244">
                  <c:v>41058</c:v>
                </c:pt>
                <c:pt idx="3245">
                  <c:v>41057</c:v>
                </c:pt>
                <c:pt idx="3246">
                  <c:v>41054</c:v>
                </c:pt>
                <c:pt idx="3247">
                  <c:v>41053</c:v>
                </c:pt>
                <c:pt idx="3248">
                  <c:v>41052</c:v>
                </c:pt>
                <c:pt idx="3249">
                  <c:v>41051</c:v>
                </c:pt>
                <c:pt idx="3250">
                  <c:v>41050</c:v>
                </c:pt>
                <c:pt idx="3251">
                  <c:v>41047</c:v>
                </c:pt>
                <c:pt idx="3252">
                  <c:v>41046</c:v>
                </c:pt>
                <c:pt idx="3253">
                  <c:v>41045</c:v>
                </c:pt>
                <c:pt idx="3254">
                  <c:v>41044</c:v>
                </c:pt>
                <c:pt idx="3255">
                  <c:v>41043</c:v>
                </c:pt>
                <c:pt idx="3256">
                  <c:v>41040</c:v>
                </c:pt>
                <c:pt idx="3257">
                  <c:v>41039</c:v>
                </c:pt>
                <c:pt idx="3258">
                  <c:v>41038</c:v>
                </c:pt>
                <c:pt idx="3259">
                  <c:v>41037</c:v>
                </c:pt>
                <c:pt idx="3260">
                  <c:v>41033</c:v>
                </c:pt>
                <c:pt idx="3261">
                  <c:v>41032</c:v>
                </c:pt>
                <c:pt idx="3262">
                  <c:v>41031</c:v>
                </c:pt>
                <c:pt idx="3263">
                  <c:v>41030</c:v>
                </c:pt>
                <c:pt idx="3264">
                  <c:v>41029</c:v>
                </c:pt>
                <c:pt idx="3265">
                  <c:v>41026</c:v>
                </c:pt>
                <c:pt idx="3266">
                  <c:v>41025</c:v>
                </c:pt>
                <c:pt idx="3267">
                  <c:v>41024</c:v>
                </c:pt>
                <c:pt idx="3268">
                  <c:v>41023</c:v>
                </c:pt>
                <c:pt idx="3269">
                  <c:v>41022</c:v>
                </c:pt>
                <c:pt idx="3270">
                  <c:v>41019</c:v>
                </c:pt>
                <c:pt idx="3271">
                  <c:v>41018</c:v>
                </c:pt>
                <c:pt idx="3272">
                  <c:v>41017</c:v>
                </c:pt>
                <c:pt idx="3273">
                  <c:v>41016</c:v>
                </c:pt>
                <c:pt idx="3274">
                  <c:v>41015</c:v>
                </c:pt>
                <c:pt idx="3275">
                  <c:v>41012</c:v>
                </c:pt>
                <c:pt idx="3276">
                  <c:v>41011</c:v>
                </c:pt>
                <c:pt idx="3277">
                  <c:v>41010</c:v>
                </c:pt>
                <c:pt idx="3278">
                  <c:v>41009</c:v>
                </c:pt>
                <c:pt idx="3279">
                  <c:v>41004</c:v>
                </c:pt>
                <c:pt idx="3280">
                  <c:v>41003</c:v>
                </c:pt>
                <c:pt idx="3281">
                  <c:v>41002</c:v>
                </c:pt>
                <c:pt idx="3282">
                  <c:v>41001</c:v>
                </c:pt>
                <c:pt idx="3283">
                  <c:v>40998</c:v>
                </c:pt>
                <c:pt idx="3284">
                  <c:v>40997</c:v>
                </c:pt>
                <c:pt idx="3285">
                  <c:v>40996</c:v>
                </c:pt>
                <c:pt idx="3286">
                  <c:v>40995</c:v>
                </c:pt>
                <c:pt idx="3287">
                  <c:v>40994</c:v>
                </c:pt>
                <c:pt idx="3288">
                  <c:v>40991</c:v>
                </c:pt>
                <c:pt idx="3289">
                  <c:v>40990</c:v>
                </c:pt>
                <c:pt idx="3290">
                  <c:v>40989</c:v>
                </c:pt>
                <c:pt idx="3291">
                  <c:v>40988</c:v>
                </c:pt>
                <c:pt idx="3292">
                  <c:v>40987</c:v>
                </c:pt>
                <c:pt idx="3293">
                  <c:v>40984</c:v>
                </c:pt>
                <c:pt idx="3294">
                  <c:v>40983</c:v>
                </c:pt>
                <c:pt idx="3295">
                  <c:v>40982</c:v>
                </c:pt>
                <c:pt idx="3296">
                  <c:v>40981</c:v>
                </c:pt>
                <c:pt idx="3297">
                  <c:v>40980</c:v>
                </c:pt>
                <c:pt idx="3298">
                  <c:v>40977</c:v>
                </c:pt>
                <c:pt idx="3299">
                  <c:v>40976</c:v>
                </c:pt>
                <c:pt idx="3300">
                  <c:v>40975</c:v>
                </c:pt>
                <c:pt idx="3301">
                  <c:v>40974</c:v>
                </c:pt>
                <c:pt idx="3302">
                  <c:v>40973</c:v>
                </c:pt>
                <c:pt idx="3303">
                  <c:v>40970</c:v>
                </c:pt>
                <c:pt idx="3304">
                  <c:v>40969</c:v>
                </c:pt>
                <c:pt idx="3305">
                  <c:v>40968</c:v>
                </c:pt>
                <c:pt idx="3306">
                  <c:v>40967</c:v>
                </c:pt>
                <c:pt idx="3307">
                  <c:v>40966</c:v>
                </c:pt>
                <c:pt idx="3308">
                  <c:v>40963</c:v>
                </c:pt>
                <c:pt idx="3309">
                  <c:v>40962</c:v>
                </c:pt>
                <c:pt idx="3310">
                  <c:v>40961</c:v>
                </c:pt>
                <c:pt idx="3311">
                  <c:v>40960</c:v>
                </c:pt>
                <c:pt idx="3312">
                  <c:v>40959</c:v>
                </c:pt>
                <c:pt idx="3313">
                  <c:v>40956</c:v>
                </c:pt>
                <c:pt idx="3314">
                  <c:v>40955</c:v>
                </c:pt>
                <c:pt idx="3315">
                  <c:v>40954</c:v>
                </c:pt>
                <c:pt idx="3316">
                  <c:v>40953</c:v>
                </c:pt>
                <c:pt idx="3317">
                  <c:v>40952</c:v>
                </c:pt>
                <c:pt idx="3318">
                  <c:v>40949</c:v>
                </c:pt>
                <c:pt idx="3319">
                  <c:v>40948</c:v>
                </c:pt>
                <c:pt idx="3320">
                  <c:v>40947</c:v>
                </c:pt>
                <c:pt idx="3321">
                  <c:v>40946</c:v>
                </c:pt>
                <c:pt idx="3322">
                  <c:v>40945</c:v>
                </c:pt>
                <c:pt idx="3323">
                  <c:v>40942</c:v>
                </c:pt>
                <c:pt idx="3324">
                  <c:v>40941</c:v>
                </c:pt>
                <c:pt idx="3325">
                  <c:v>40940</c:v>
                </c:pt>
                <c:pt idx="3326">
                  <c:v>40939</c:v>
                </c:pt>
                <c:pt idx="3327">
                  <c:v>40938</c:v>
                </c:pt>
                <c:pt idx="3328">
                  <c:v>40935</c:v>
                </c:pt>
                <c:pt idx="3329">
                  <c:v>40934</c:v>
                </c:pt>
                <c:pt idx="3330">
                  <c:v>40933</c:v>
                </c:pt>
                <c:pt idx="3331">
                  <c:v>40932</c:v>
                </c:pt>
                <c:pt idx="3332">
                  <c:v>40931</c:v>
                </c:pt>
                <c:pt idx="3333">
                  <c:v>40928</c:v>
                </c:pt>
                <c:pt idx="3334">
                  <c:v>40927</c:v>
                </c:pt>
                <c:pt idx="3335">
                  <c:v>40926</c:v>
                </c:pt>
                <c:pt idx="3336">
                  <c:v>40925</c:v>
                </c:pt>
                <c:pt idx="3337">
                  <c:v>40924</c:v>
                </c:pt>
                <c:pt idx="3338">
                  <c:v>40921</c:v>
                </c:pt>
                <c:pt idx="3339">
                  <c:v>40920</c:v>
                </c:pt>
                <c:pt idx="3340">
                  <c:v>40919</c:v>
                </c:pt>
                <c:pt idx="3341">
                  <c:v>40918</c:v>
                </c:pt>
                <c:pt idx="3342">
                  <c:v>40917</c:v>
                </c:pt>
                <c:pt idx="3343">
                  <c:v>40914</c:v>
                </c:pt>
                <c:pt idx="3344">
                  <c:v>40913</c:v>
                </c:pt>
                <c:pt idx="3345">
                  <c:v>40912</c:v>
                </c:pt>
                <c:pt idx="3346">
                  <c:v>40911</c:v>
                </c:pt>
                <c:pt idx="3347">
                  <c:v>40907</c:v>
                </c:pt>
                <c:pt idx="3348">
                  <c:v>40906</c:v>
                </c:pt>
                <c:pt idx="3349">
                  <c:v>40905</c:v>
                </c:pt>
                <c:pt idx="3350">
                  <c:v>40900</c:v>
                </c:pt>
                <c:pt idx="3351">
                  <c:v>40899</c:v>
                </c:pt>
                <c:pt idx="3352">
                  <c:v>40898</c:v>
                </c:pt>
                <c:pt idx="3353">
                  <c:v>40897</c:v>
                </c:pt>
                <c:pt idx="3354">
                  <c:v>40896</c:v>
                </c:pt>
                <c:pt idx="3355">
                  <c:v>40893</c:v>
                </c:pt>
                <c:pt idx="3356">
                  <c:v>40892</c:v>
                </c:pt>
                <c:pt idx="3357">
                  <c:v>40891</c:v>
                </c:pt>
                <c:pt idx="3358">
                  <c:v>40890</c:v>
                </c:pt>
                <c:pt idx="3359">
                  <c:v>40889</c:v>
                </c:pt>
                <c:pt idx="3360">
                  <c:v>40886</c:v>
                </c:pt>
                <c:pt idx="3361">
                  <c:v>40885</c:v>
                </c:pt>
                <c:pt idx="3362">
                  <c:v>40884</c:v>
                </c:pt>
                <c:pt idx="3363">
                  <c:v>40883</c:v>
                </c:pt>
                <c:pt idx="3364">
                  <c:v>40882</c:v>
                </c:pt>
                <c:pt idx="3365">
                  <c:v>40879</c:v>
                </c:pt>
                <c:pt idx="3366">
                  <c:v>40878</c:v>
                </c:pt>
                <c:pt idx="3367">
                  <c:v>40877</c:v>
                </c:pt>
                <c:pt idx="3368">
                  <c:v>40876</c:v>
                </c:pt>
                <c:pt idx="3369">
                  <c:v>40875</c:v>
                </c:pt>
                <c:pt idx="3370">
                  <c:v>40872</c:v>
                </c:pt>
                <c:pt idx="3371">
                  <c:v>40871</c:v>
                </c:pt>
                <c:pt idx="3372">
                  <c:v>40870</c:v>
                </c:pt>
                <c:pt idx="3373">
                  <c:v>40869</c:v>
                </c:pt>
                <c:pt idx="3374">
                  <c:v>40868</c:v>
                </c:pt>
                <c:pt idx="3375">
                  <c:v>40865</c:v>
                </c:pt>
                <c:pt idx="3376">
                  <c:v>40864</c:v>
                </c:pt>
                <c:pt idx="3377">
                  <c:v>40863</c:v>
                </c:pt>
                <c:pt idx="3378">
                  <c:v>40862</c:v>
                </c:pt>
                <c:pt idx="3379">
                  <c:v>40861</c:v>
                </c:pt>
                <c:pt idx="3380">
                  <c:v>40858</c:v>
                </c:pt>
                <c:pt idx="3381">
                  <c:v>40857</c:v>
                </c:pt>
                <c:pt idx="3382">
                  <c:v>40856</c:v>
                </c:pt>
                <c:pt idx="3383">
                  <c:v>40855</c:v>
                </c:pt>
                <c:pt idx="3384">
                  <c:v>40854</c:v>
                </c:pt>
                <c:pt idx="3385">
                  <c:v>40851</c:v>
                </c:pt>
                <c:pt idx="3386">
                  <c:v>40850</c:v>
                </c:pt>
                <c:pt idx="3387">
                  <c:v>40849</c:v>
                </c:pt>
                <c:pt idx="3388">
                  <c:v>40848</c:v>
                </c:pt>
                <c:pt idx="3389">
                  <c:v>40847</c:v>
                </c:pt>
                <c:pt idx="3390">
                  <c:v>40844</c:v>
                </c:pt>
                <c:pt idx="3391">
                  <c:v>40843</c:v>
                </c:pt>
                <c:pt idx="3392">
                  <c:v>40842</c:v>
                </c:pt>
                <c:pt idx="3393">
                  <c:v>40841</c:v>
                </c:pt>
                <c:pt idx="3394">
                  <c:v>40840</c:v>
                </c:pt>
                <c:pt idx="3395">
                  <c:v>40837</c:v>
                </c:pt>
                <c:pt idx="3396">
                  <c:v>40836</c:v>
                </c:pt>
                <c:pt idx="3397">
                  <c:v>40835</c:v>
                </c:pt>
                <c:pt idx="3398">
                  <c:v>40834</c:v>
                </c:pt>
                <c:pt idx="3399">
                  <c:v>40833</c:v>
                </c:pt>
                <c:pt idx="3400">
                  <c:v>40830</c:v>
                </c:pt>
                <c:pt idx="3401">
                  <c:v>40829</c:v>
                </c:pt>
                <c:pt idx="3402">
                  <c:v>40828</c:v>
                </c:pt>
                <c:pt idx="3403">
                  <c:v>40827</c:v>
                </c:pt>
                <c:pt idx="3404">
                  <c:v>40826</c:v>
                </c:pt>
                <c:pt idx="3405">
                  <c:v>40823</c:v>
                </c:pt>
                <c:pt idx="3406">
                  <c:v>40822</c:v>
                </c:pt>
                <c:pt idx="3407">
                  <c:v>40821</c:v>
                </c:pt>
                <c:pt idx="3408">
                  <c:v>40820</c:v>
                </c:pt>
                <c:pt idx="3409">
                  <c:v>40819</c:v>
                </c:pt>
                <c:pt idx="3410">
                  <c:v>40816</c:v>
                </c:pt>
                <c:pt idx="3411">
                  <c:v>40815</c:v>
                </c:pt>
                <c:pt idx="3412">
                  <c:v>40814</c:v>
                </c:pt>
                <c:pt idx="3413">
                  <c:v>40813</c:v>
                </c:pt>
                <c:pt idx="3414">
                  <c:v>40812</c:v>
                </c:pt>
                <c:pt idx="3415">
                  <c:v>40809</c:v>
                </c:pt>
                <c:pt idx="3416">
                  <c:v>40808</c:v>
                </c:pt>
                <c:pt idx="3417">
                  <c:v>40807</c:v>
                </c:pt>
                <c:pt idx="3418">
                  <c:v>40806</c:v>
                </c:pt>
                <c:pt idx="3419">
                  <c:v>40805</c:v>
                </c:pt>
                <c:pt idx="3420">
                  <c:v>40802</c:v>
                </c:pt>
                <c:pt idx="3421">
                  <c:v>40801</c:v>
                </c:pt>
                <c:pt idx="3422">
                  <c:v>40800</c:v>
                </c:pt>
                <c:pt idx="3423">
                  <c:v>40799</c:v>
                </c:pt>
                <c:pt idx="3424">
                  <c:v>40798</c:v>
                </c:pt>
                <c:pt idx="3425">
                  <c:v>40795</c:v>
                </c:pt>
                <c:pt idx="3426">
                  <c:v>40794</c:v>
                </c:pt>
                <c:pt idx="3427">
                  <c:v>40793</c:v>
                </c:pt>
                <c:pt idx="3428">
                  <c:v>40792</c:v>
                </c:pt>
                <c:pt idx="3429">
                  <c:v>40791</c:v>
                </c:pt>
                <c:pt idx="3430">
                  <c:v>40788</c:v>
                </c:pt>
                <c:pt idx="3431">
                  <c:v>40787</c:v>
                </c:pt>
                <c:pt idx="3432">
                  <c:v>40786</c:v>
                </c:pt>
                <c:pt idx="3433">
                  <c:v>40785</c:v>
                </c:pt>
                <c:pt idx="3434">
                  <c:v>40781</c:v>
                </c:pt>
                <c:pt idx="3435">
                  <c:v>40780</c:v>
                </c:pt>
                <c:pt idx="3436">
                  <c:v>40779</c:v>
                </c:pt>
              </c:numCache>
            </c:numRef>
          </c:cat>
          <c:val>
            <c:numRef>
              <c:f>'since inception'!$F$8:$F$3444</c:f>
              <c:numCache>
                <c:formatCode>General</c:formatCode>
                <c:ptCount val="3437"/>
                <c:pt idx="0">
                  <c:v>901.68940000000009</c:v>
                </c:pt>
                <c:pt idx="1">
                  <c:v>937.83960000000002</c:v>
                </c:pt>
                <c:pt idx="2">
                  <c:v>953.33249999999998</c:v>
                </c:pt>
                <c:pt idx="3">
                  <c:v>988.44989999999996</c:v>
                </c:pt>
                <c:pt idx="4">
                  <c:v>990.51559999999995</c:v>
                </c:pt>
                <c:pt idx="5">
                  <c:v>986.38419999999996</c:v>
                </c:pt>
                <c:pt idx="6">
                  <c:v>979.15410000000008</c:v>
                </c:pt>
                <c:pt idx="7">
                  <c:v>1001.8771000000002</c:v>
                </c:pt>
                <c:pt idx="8">
                  <c:v>997.74570000000017</c:v>
                </c:pt>
                <c:pt idx="9">
                  <c:v>988.44989999999996</c:v>
                </c:pt>
                <c:pt idx="10">
                  <c:v>991.54849999999999</c:v>
                </c:pt>
                <c:pt idx="11">
                  <c:v>978.12120000000004</c:v>
                </c:pt>
                <c:pt idx="12">
                  <c:v>961.5954999999999</c:v>
                </c:pt>
                <c:pt idx="13">
                  <c:v>966.75980000000004</c:v>
                </c:pt>
                <c:pt idx="14">
                  <c:v>895.49220000000003</c:v>
                </c:pt>
                <c:pt idx="15">
                  <c:v>925.44529999999997</c:v>
                </c:pt>
                <c:pt idx="16">
                  <c:v>984.31840000000011</c:v>
                </c:pt>
                <c:pt idx="17">
                  <c:v>975.02260000000001</c:v>
                </c:pt>
                <c:pt idx="18">
                  <c:v>966.75980000000004</c:v>
                </c:pt>
                <c:pt idx="19">
                  <c:v>953.33249999999998</c:v>
                </c:pt>
                <c:pt idx="20">
                  <c:v>995.67989999999998</c:v>
                </c:pt>
                <c:pt idx="21">
                  <c:v>987.41699999999992</c:v>
                </c:pt>
                <c:pt idx="22">
                  <c:v>986.38419999999996</c:v>
                </c:pt>
                <c:pt idx="23">
                  <c:v>1007.0414</c:v>
                </c:pt>
                <c:pt idx="24">
                  <c:v>991.54849999999999</c:v>
                </c:pt>
                <c:pt idx="25">
                  <c:v>991.54849999999999</c:v>
                </c:pt>
                <c:pt idx="26">
                  <c:v>1006.0085000000001</c:v>
                </c:pt>
                <c:pt idx="27">
                  <c:v>993.61419999999998</c:v>
                </c:pt>
                <c:pt idx="28">
                  <c:v>992.58129999999994</c:v>
                </c:pt>
                <c:pt idx="29">
                  <c:v>999.81129999999996</c:v>
                </c:pt>
                <c:pt idx="30">
                  <c:v>1001.8771000000002</c:v>
                </c:pt>
                <c:pt idx="31">
                  <c:v>996.71280000000002</c:v>
                </c:pt>
                <c:pt idx="32">
                  <c:v>1001.8771000000002</c:v>
                </c:pt>
                <c:pt idx="33">
                  <c:v>1004.9757</c:v>
                </c:pt>
                <c:pt idx="34">
                  <c:v>1000.8442</c:v>
                </c:pt>
                <c:pt idx="35">
                  <c:v>1009.1070999999999</c:v>
                </c:pt>
                <c:pt idx="36">
                  <c:v>1000.8442</c:v>
                </c:pt>
                <c:pt idx="37">
                  <c:v>994.64699999999993</c:v>
                </c:pt>
                <c:pt idx="38">
                  <c:v>1013.2386</c:v>
                </c:pt>
                <c:pt idx="39">
                  <c:v>1021.5015</c:v>
                </c:pt>
                <c:pt idx="40">
                  <c:v>1028.7314999999999</c:v>
                </c:pt>
                <c:pt idx="41">
                  <c:v>1029.7644</c:v>
                </c:pt>
                <c:pt idx="42">
                  <c:v>1023.5672</c:v>
                </c:pt>
                <c:pt idx="43">
                  <c:v>1003.9428</c:v>
                </c:pt>
                <c:pt idx="44">
                  <c:v>1003.9428</c:v>
                </c:pt>
                <c:pt idx="45">
                  <c:v>990.51559999999995</c:v>
                </c:pt>
                <c:pt idx="46">
                  <c:v>1009.1070999999999</c:v>
                </c:pt>
                <c:pt idx="47">
                  <c:v>1012.2057</c:v>
                </c:pt>
                <c:pt idx="48">
                  <c:v>1003.9428</c:v>
                </c:pt>
                <c:pt idx="49">
                  <c:v>986.38419999999996</c:v>
                </c:pt>
                <c:pt idx="50">
                  <c:v>985.35129999999992</c:v>
                </c:pt>
                <c:pt idx="51">
                  <c:v>976.05550000000005</c:v>
                </c:pt>
                <c:pt idx="52">
                  <c:v>972.95690000000002</c:v>
                </c:pt>
                <c:pt idx="53">
                  <c:v>956.43110000000001</c:v>
                </c:pt>
                <c:pt idx="54">
                  <c:v>924.41240000000016</c:v>
                </c:pt>
                <c:pt idx="55">
                  <c:v>916.14949999999999</c:v>
                </c:pt>
                <c:pt idx="56">
                  <c:v>925.44529999999997</c:v>
                </c:pt>
                <c:pt idx="57">
                  <c:v>946.10249999999996</c:v>
                </c:pt>
                <c:pt idx="58">
                  <c:v>929.57669999999996</c:v>
                </c:pt>
                <c:pt idx="59">
                  <c:v>924.41240000000016</c:v>
                </c:pt>
                <c:pt idx="60">
                  <c:v>957.46400000000006</c:v>
                </c:pt>
                <c:pt idx="61">
                  <c:v>952.29970000000003</c:v>
                </c:pt>
                <c:pt idx="62">
                  <c:v>958.49680000000001</c:v>
                </c:pt>
                <c:pt idx="63">
                  <c:v>964.69399999999985</c:v>
                </c:pt>
                <c:pt idx="64">
                  <c:v>955.39829999999984</c:v>
                </c:pt>
                <c:pt idx="65">
                  <c:v>972.95690000000002</c:v>
                </c:pt>
                <c:pt idx="66">
                  <c:v>975.02260000000001</c:v>
                </c:pt>
                <c:pt idx="67">
                  <c:v>968.82550000000003</c:v>
                </c:pt>
                <c:pt idx="68">
                  <c:v>970.89120000000003</c:v>
                </c:pt>
                <c:pt idx="69">
                  <c:v>971.92410000000007</c:v>
                </c:pt>
                <c:pt idx="70">
                  <c:v>987.41699999999992</c:v>
                </c:pt>
                <c:pt idx="71">
                  <c:v>989.48269999999991</c:v>
                </c:pt>
                <c:pt idx="72">
                  <c:v>1003.9428</c:v>
                </c:pt>
                <c:pt idx="73">
                  <c:v>1012.2057</c:v>
                </c:pt>
                <c:pt idx="74">
                  <c:v>1030.7972</c:v>
                </c:pt>
                <c:pt idx="75">
                  <c:v>1032.8630000000001</c:v>
                </c:pt>
                <c:pt idx="76">
                  <c:v>1038.0273</c:v>
                </c:pt>
                <c:pt idx="77">
                  <c:v>1084.5060999999998</c:v>
                </c:pt>
                <c:pt idx="78">
                  <c:v>1081.924</c:v>
                </c:pt>
                <c:pt idx="79">
                  <c:v>1076.7595999999999</c:v>
                </c:pt>
                <c:pt idx="80">
                  <c:v>1074.1775</c:v>
                </c:pt>
                <c:pt idx="81">
                  <c:v>1066.431</c:v>
                </c:pt>
                <c:pt idx="82">
                  <c:v>1066.431</c:v>
                </c:pt>
                <c:pt idx="83">
                  <c:v>1066.431</c:v>
                </c:pt>
                <c:pt idx="84">
                  <c:v>1074.1775</c:v>
                </c:pt>
                <c:pt idx="85">
                  <c:v>1078.5326</c:v>
                </c:pt>
                <c:pt idx="86">
                  <c:v>1083.6563000000001</c:v>
                </c:pt>
                <c:pt idx="87">
                  <c:v>1104.1508999999999</c:v>
                </c:pt>
                <c:pt idx="88">
                  <c:v>1099.0273</c:v>
                </c:pt>
                <c:pt idx="89">
                  <c:v>1088.78</c:v>
                </c:pt>
                <c:pt idx="90">
                  <c:v>1073.4089000000001</c:v>
                </c:pt>
                <c:pt idx="91">
                  <c:v>1065.7233999999999</c:v>
                </c:pt>
                <c:pt idx="92">
                  <c:v>1081.0944999999999</c:v>
                </c:pt>
                <c:pt idx="93">
                  <c:v>1106.7128</c:v>
                </c:pt>
                <c:pt idx="94">
                  <c:v>1104.1508999999999</c:v>
                </c:pt>
                <c:pt idx="95">
                  <c:v>1081.0944999999999</c:v>
                </c:pt>
                <c:pt idx="96">
                  <c:v>1086.2181</c:v>
                </c:pt>
                <c:pt idx="97">
                  <c:v>1101.5890999999999</c:v>
                </c:pt>
                <c:pt idx="98">
                  <c:v>1083.6563000000001</c:v>
                </c:pt>
                <c:pt idx="99">
                  <c:v>1091.3417999999999</c:v>
                </c:pt>
                <c:pt idx="100">
                  <c:v>1075.9708000000001</c:v>
                </c:pt>
                <c:pt idx="101">
                  <c:v>1047.7906</c:v>
                </c:pt>
                <c:pt idx="102">
                  <c:v>1058.038</c:v>
                </c:pt>
                <c:pt idx="103">
                  <c:v>1055.4760999999999</c:v>
                </c:pt>
                <c:pt idx="104">
                  <c:v>1042.6668999999999</c:v>
                </c:pt>
                <c:pt idx="105">
                  <c:v>1063.1616000000001</c:v>
                </c:pt>
                <c:pt idx="106">
                  <c:v>1040.1051</c:v>
                </c:pt>
                <c:pt idx="107">
                  <c:v>1032.4195999999999</c:v>
                </c:pt>
                <c:pt idx="108">
                  <c:v>1029.8577</c:v>
                </c:pt>
                <c:pt idx="109">
                  <c:v>1024.7341000000001</c:v>
                </c:pt>
                <c:pt idx="110">
                  <c:v>1027.2959000000001</c:v>
                </c:pt>
                <c:pt idx="111">
                  <c:v>1045.2287999999999</c:v>
                </c:pt>
                <c:pt idx="112">
                  <c:v>1032.4195999999999</c:v>
                </c:pt>
                <c:pt idx="113">
                  <c:v>1050.3524</c:v>
                </c:pt>
                <c:pt idx="114">
                  <c:v>1037.5433</c:v>
                </c:pt>
                <c:pt idx="115">
                  <c:v>1027.2959000000001</c:v>
                </c:pt>
                <c:pt idx="116">
                  <c:v>1003.2147</c:v>
                </c:pt>
                <c:pt idx="117">
                  <c:v>1012.4373000000001</c:v>
                </c:pt>
                <c:pt idx="118">
                  <c:v>1017.5608999999999</c:v>
                </c:pt>
                <c:pt idx="119">
                  <c:v>1007.3136</c:v>
                </c:pt>
                <c:pt idx="120">
                  <c:v>1024.7341000000001</c:v>
                </c:pt>
                <c:pt idx="121">
                  <c:v>1016.5362</c:v>
                </c:pt>
                <c:pt idx="122">
                  <c:v>1027.2959000000001</c:v>
                </c:pt>
                <c:pt idx="123">
                  <c:v>1032.4195999999999</c:v>
                </c:pt>
                <c:pt idx="124">
                  <c:v>1017.5608999999999</c:v>
                </c:pt>
                <c:pt idx="125">
                  <c:v>1021.6599</c:v>
                </c:pt>
                <c:pt idx="126">
                  <c:v>1034.9814000000001</c:v>
                </c:pt>
                <c:pt idx="127">
                  <c:v>1050.3524</c:v>
                </c:pt>
                <c:pt idx="128">
                  <c:v>1063.1616000000001</c:v>
                </c:pt>
                <c:pt idx="129">
                  <c:v>1063.1616000000001</c:v>
                </c:pt>
                <c:pt idx="130">
                  <c:v>1027.2959000000001</c:v>
                </c:pt>
                <c:pt idx="131">
                  <c:v>1047.7906</c:v>
                </c:pt>
                <c:pt idx="132">
                  <c:v>1037.5433</c:v>
                </c:pt>
                <c:pt idx="133">
                  <c:v>1042.6668999999999</c:v>
                </c:pt>
                <c:pt idx="134">
                  <c:v>1073.4089000000001</c:v>
                </c:pt>
                <c:pt idx="135">
                  <c:v>1037.5433</c:v>
                </c:pt>
                <c:pt idx="136">
                  <c:v>1050.3524</c:v>
                </c:pt>
                <c:pt idx="137">
                  <c:v>1058.038</c:v>
                </c:pt>
                <c:pt idx="138">
                  <c:v>1045.2287999999999</c:v>
                </c:pt>
                <c:pt idx="139">
                  <c:v>1040.1051</c:v>
                </c:pt>
                <c:pt idx="140">
                  <c:v>1022.6846</c:v>
                </c:pt>
                <c:pt idx="141">
                  <c:v>1032.4195999999999</c:v>
                </c:pt>
                <c:pt idx="142">
                  <c:v>1027.2959000000001</c:v>
                </c:pt>
                <c:pt idx="143">
                  <c:v>1021.6599</c:v>
                </c:pt>
                <c:pt idx="144">
                  <c:v>1050.3524</c:v>
                </c:pt>
                <c:pt idx="145">
                  <c:v>1063.1616000000001</c:v>
                </c:pt>
                <c:pt idx="146">
                  <c:v>1068.2853</c:v>
                </c:pt>
                <c:pt idx="147">
                  <c:v>1086.2181</c:v>
                </c:pt>
                <c:pt idx="148">
                  <c:v>1099.0273</c:v>
                </c:pt>
                <c:pt idx="149">
                  <c:v>1096.4655</c:v>
                </c:pt>
                <c:pt idx="150">
                  <c:v>1078.5326</c:v>
                </c:pt>
                <c:pt idx="151">
                  <c:v>1081.0944999999999</c:v>
                </c:pt>
                <c:pt idx="152">
                  <c:v>1073.4089000000001</c:v>
                </c:pt>
                <c:pt idx="153">
                  <c:v>1070.8471</c:v>
                </c:pt>
                <c:pt idx="154">
                  <c:v>1075.9708000000001</c:v>
                </c:pt>
                <c:pt idx="155">
                  <c:v>1063.1616000000001</c:v>
                </c:pt>
                <c:pt idx="156">
                  <c:v>1068.2853</c:v>
                </c:pt>
                <c:pt idx="157">
                  <c:v>1070.8471</c:v>
                </c:pt>
                <c:pt idx="158">
                  <c:v>1070.8471</c:v>
                </c:pt>
                <c:pt idx="159">
                  <c:v>1055.4760999999999</c:v>
                </c:pt>
                <c:pt idx="160">
                  <c:v>1029.8577</c:v>
                </c:pt>
                <c:pt idx="161">
                  <c:v>1018.5857000000001</c:v>
                </c:pt>
                <c:pt idx="162">
                  <c:v>1045.2287999999999</c:v>
                </c:pt>
                <c:pt idx="163">
                  <c:v>1091.3417999999999</c:v>
                </c:pt>
                <c:pt idx="164">
                  <c:v>1106.7128</c:v>
                </c:pt>
                <c:pt idx="165">
                  <c:v>1099.0273</c:v>
                </c:pt>
                <c:pt idx="166">
                  <c:v>1081.0944999999999</c:v>
                </c:pt>
                <c:pt idx="167">
                  <c:v>1116.9601</c:v>
                </c:pt>
                <c:pt idx="168">
                  <c:v>1160.5114000000001</c:v>
                </c:pt>
                <c:pt idx="169">
                  <c:v>1178.4441999999999</c:v>
                </c:pt>
                <c:pt idx="170">
                  <c:v>1155.3877</c:v>
                </c:pt>
                <c:pt idx="171">
                  <c:v>1157.9494999999999</c:v>
                </c:pt>
                <c:pt idx="172">
                  <c:v>1160.5114000000001</c:v>
                </c:pt>
                <c:pt idx="173">
                  <c:v>1124.6456000000001</c:v>
                </c:pt>
                <c:pt idx="174">
                  <c:v>1124.6456000000001</c:v>
                </c:pt>
                <c:pt idx="175">
                  <c:v>1119.5220000000002</c:v>
                </c:pt>
                <c:pt idx="176">
                  <c:v>1114.3982999999998</c:v>
                </c:pt>
                <c:pt idx="177">
                  <c:v>1109.2747000000002</c:v>
                </c:pt>
                <c:pt idx="178">
                  <c:v>1122.0838000000001</c:v>
                </c:pt>
                <c:pt idx="179">
                  <c:v>1091.3417999999999</c:v>
                </c:pt>
                <c:pt idx="180">
                  <c:v>1101.5890999999999</c:v>
                </c:pt>
                <c:pt idx="181">
                  <c:v>1101.5890999999999</c:v>
                </c:pt>
                <c:pt idx="182">
                  <c:v>1088.78</c:v>
                </c:pt>
                <c:pt idx="183">
                  <c:v>1091.3417999999999</c:v>
                </c:pt>
                <c:pt idx="184">
                  <c:v>1081.0944999999999</c:v>
                </c:pt>
                <c:pt idx="185">
                  <c:v>1070.8471</c:v>
                </c:pt>
                <c:pt idx="186">
                  <c:v>1063.1616000000001</c:v>
                </c:pt>
                <c:pt idx="187">
                  <c:v>1032.4195999999999</c:v>
                </c:pt>
                <c:pt idx="188">
                  <c:v>1023.7094</c:v>
                </c:pt>
                <c:pt idx="189">
                  <c:v>1010.3878</c:v>
                </c:pt>
                <c:pt idx="190">
                  <c:v>1000.1404000000001</c:v>
                </c:pt>
                <c:pt idx="191">
                  <c:v>992.96730000000014</c:v>
                </c:pt>
                <c:pt idx="192">
                  <c:v>1007.3136</c:v>
                </c:pt>
                <c:pt idx="193">
                  <c:v>1004.2393999999999</c:v>
                </c:pt>
                <c:pt idx="194">
                  <c:v>991.94259999999997</c:v>
                </c:pt>
                <c:pt idx="195">
                  <c:v>975.54680000000008</c:v>
                </c:pt>
                <c:pt idx="196">
                  <c:v>1001.1652</c:v>
                </c:pt>
                <c:pt idx="197">
                  <c:v>992.96730000000014</c:v>
                </c:pt>
                <c:pt idx="198">
                  <c:v>1001.1652</c:v>
                </c:pt>
                <c:pt idx="199">
                  <c:v>998.09100000000001</c:v>
                </c:pt>
                <c:pt idx="200">
                  <c:v>1005.2641999999998</c:v>
                </c:pt>
                <c:pt idx="201">
                  <c:v>995.01679999999999</c:v>
                </c:pt>
                <c:pt idx="202">
                  <c:v>985.79420000000016</c:v>
                </c:pt>
                <c:pt idx="203">
                  <c:v>1002.1899</c:v>
                </c:pt>
                <c:pt idx="204">
                  <c:v>1011.4124999999999</c:v>
                </c:pt>
                <c:pt idx="205">
                  <c:v>1005.2641999999998</c:v>
                </c:pt>
                <c:pt idx="206">
                  <c:v>1007.3136</c:v>
                </c:pt>
                <c:pt idx="207">
                  <c:v>1009.3630000000001</c:v>
                </c:pt>
                <c:pt idx="208">
                  <c:v>1018.5857000000001</c:v>
                </c:pt>
                <c:pt idx="209">
                  <c:v>1010.3878</c:v>
                </c:pt>
                <c:pt idx="210">
                  <c:v>1017.5608999999999</c:v>
                </c:pt>
                <c:pt idx="211">
                  <c:v>1047.7906</c:v>
                </c:pt>
                <c:pt idx="212">
                  <c:v>1045.2287999999999</c:v>
                </c:pt>
                <c:pt idx="213">
                  <c:v>1024.7341000000001</c:v>
                </c:pt>
                <c:pt idx="214">
                  <c:v>1018.1653000000001</c:v>
                </c:pt>
                <c:pt idx="215">
                  <c:v>1056.0623000000001</c:v>
                </c:pt>
                <c:pt idx="216">
                  <c:v>1061.1152</c:v>
                </c:pt>
                <c:pt idx="217">
                  <c:v>1058.5887</c:v>
                </c:pt>
                <c:pt idx="218">
                  <c:v>989.36360000000013</c:v>
                </c:pt>
                <c:pt idx="219">
                  <c:v>1001.4906</c:v>
                </c:pt>
                <c:pt idx="220">
                  <c:v>1015.6387999999999</c:v>
                </c:pt>
                <c:pt idx="221">
                  <c:v>986.33179999999993</c:v>
                </c:pt>
                <c:pt idx="222">
                  <c:v>994.41650000000004</c:v>
                </c:pt>
                <c:pt idx="223">
                  <c:v>986.33179999999993</c:v>
                </c:pt>
                <c:pt idx="224">
                  <c:v>981.27890000000002</c:v>
                </c:pt>
                <c:pt idx="225">
                  <c:v>974.20480000000009</c:v>
                </c:pt>
                <c:pt idx="226">
                  <c:v>989.36360000000013</c:v>
                </c:pt>
                <c:pt idx="227">
                  <c:v>989.36360000000013</c:v>
                </c:pt>
                <c:pt idx="228">
                  <c:v>975.21540000000005</c:v>
                </c:pt>
                <c:pt idx="229">
                  <c:v>948.94010000000003</c:v>
                </c:pt>
                <c:pt idx="230">
                  <c:v>961.06709999999998</c:v>
                </c:pt>
                <c:pt idx="231">
                  <c:v>955.00369999999998</c:v>
                </c:pt>
                <c:pt idx="232">
                  <c:v>956.01419999999985</c:v>
                </c:pt>
                <c:pt idx="233">
                  <c:v>955.00369999999998</c:v>
                </c:pt>
                <c:pt idx="234">
                  <c:v>973.19420000000002</c:v>
                </c:pt>
                <c:pt idx="235">
                  <c:v>961.06709999999998</c:v>
                </c:pt>
                <c:pt idx="236">
                  <c:v>958.03539999999998</c:v>
                </c:pt>
                <c:pt idx="237">
                  <c:v>968.14129999999989</c:v>
                </c:pt>
                <c:pt idx="238">
                  <c:v>969.15189999999996</c:v>
                </c:pt>
                <c:pt idx="239">
                  <c:v>950.96129999999994</c:v>
                </c:pt>
                <c:pt idx="240">
                  <c:v>943.88720000000001</c:v>
                </c:pt>
                <c:pt idx="241">
                  <c:v>949.95069999999998</c:v>
                </c:pt>
                <c:pt idx="242">
                  <c:v>942.87660000000017</c:v>
                </c:pt>
                <c:pt idx="243">
                  <c:v>953.99300000000005</c:v>
                </c:pt>
                <c:pt idx="244">
                  <c:v>989.36360000000013</c:v>
                </c:pt>
                <c:pt idx="245">
                  <c:v>979.2577</c:v>
                </c:pt>
                <c:pt idx="246">
                  <c:v>988.35300000000007</c:v>
                </c:pt>
                <c:pt idx="247">
                  <c:v>989.36360000000013</c:v>
                </c:pt>
                <c:pt idx="248">
                  <c:v>982.28949999999986</c:v>
                </c:pt>
                <c:pt idx="249">
                  <c:v>983.30000000000007</c:v>
                </c:pt>
                <c:pt idx="250">
                  <c:v>975.21540000000005</c:v>
                </c:pt>
                <c:pt idx="251">
                  <c:v>975.21540000000005</c:v>
                </c:pt>
                <c:pt idx="252">
                  <c:v>993.40589999999997</c:v>
                </c:pt>
                <c:pt idx="253">
                  <c:v>990.3741</c:v>
                </c:pt>
                <c:pt idx="254">
                  <c:v>988.35300000000007</c:v>
                </c:pt>
                <c:pt idx="255">
                  <c:v>980.26829999999995</c:v>
                </c:pt>
                <c:pt idx="256">
                  <c:v>988.35300000000007</c:v>
                </c:pt>
                <c:pt idx="257">
                  <c:v>985.32119999999986</c:v>
                </c:pt>
                <c:pt idx="258">
                  <c:v>963.08830000000012</c:v>
                </c:pt>
                <c:pt idx="259">
                  <c:v>967.13070000000005</c:v>
                </c:pt>
                <c:pt idx="260">
                  <c:v>943.88720000000001</c:v>
                </c:pt>
                <c:pt idx="261">
                  <c:v>942.87660000000017</c:v>
                </c:pt>
                <c:pt idx="262">
                  <c:v>951.97190000000001</c:v>
                </c:pt>
                <c:pt idx="263">
                  <c:v>956.01419999999985</c:v>
                </c:pt>
                <c:pt idx="264">
                  <c:v>947.92959999999994</c:v>
                </c:pt>
                <c:pt idx="265">
                  <c:v>962.07779999999991</c:v>
                </c:pt>
                <c:pt idx="266">
                  <c:v>952.98249999999985</c:v>
                </c:pt>
                <c:pt idx="267">
                  <c:v>934.79190000000006</c:v>
                </c:pt>
                <c:pt idx="268">
                  <c:v>938.83429999999987</c:v>
                </c:pt>
                <c:pt idx="269">
                  <c:v>945.90840000000003</c:v>
                </c:pt>
                <c:pt idx="270">
                  <c:v>937.82370000000003</c:v>
                </c:pt>
                <c:pt idx="271">
                  <c:v>924.68610000000012</c:v>
                </c:pt>
                <c:pt idx="272">
                  <c:v>928.72839999999997</c:v>
                </c:pt>
                <c:pt idx="273">
                  <c:v>926.70730000000003</c:v>
                </c:pt>
                <c:pt idx="274">
                  <c:v>916.60140000000001</c:v>
                </c:pt>
                <c:pt idx="275">
                  <c:v>909.52729999999985</c:v>
                </c:pt>
                <c:pt idx="276">
                  <c:v>919.63310000000001</c:v>
                </c:pt>
                <c:pt idx="277">
                  <c:v>920.64369999999997</c:v>
                </c:pt>
                <c:pt idx="278">
                  <c:v>921.65429999999992</c:v>
                </c:pt>
                <c:pt idx="279">
                  <c:v>924.68610000000012</c:v>
                </c:pt>
                <c:pt idx="280">
                  <c:v>918.62259999999992</c:v>
                </c:pt>
                <c:pt idx="281">
                  <c:v>902.45320000000004</c:v>
                </c:pt>
                <c:pt idx="282">
                  <c:v>929.73900000000003</c:v>
                </c:pt>
                <c:pt idx="283">
                  <c:v>935.80250000000001</c:v>
                </c:pt>
                <c:pt idx="284">
                  <c:v>913.56960000000015</c:v>
                </c:pt>
                <c:pt idx="285">
                  <c:v>916.60140000000001</c:v>
                </c:pt>
                <c:pt idx="286">
                  <c:v>922.66489999999999</c:v>
                </c:pt>
                <c:pt idx="287">
                  <c:v>944.89780000000007</c:v>
                </c:pt>
                <c:pt idx="288">
                  <c:v>939.84479999999996</c:v>
                </c:pt>
                <c:pt idx="289">
                  <c:v>955.00369999999998</c:v>
                </c:pt>
                <c:pt idx="290">
                  <c:v>956.01419999999985</c:v>
                </c:pt>
                <c:pt idx="291">
                  <c:v>957.02479999999991</c:v>
                </c:pt>
                <c:pt idx="292">
                  <c:v>941.86599999999987</c:v>
                </c:pt>
                <c:pt idx="293">
                  <c:v>952.98249999999985</c:v>
                </c:pt>
                <c:pt idx="294">
                  <c:v>952.98249999999985</c:v>
                </c:pt>
                <c:pt idx="295">
                  <c:v>946.91890000000001</c:v>
                </c:pt>
                <c:pt idx="296">
                  <c:v>934.79190000000006</c:v>
                </c:pt>
                <c:pt idx="297">
                  <c:v>924.68610000000012</c:v>
                </c:pt>
                <c:pt idx="298">
                  <c:v>936.81309999999996</c:v>
                </c:pt>
                <c:pt idx="299">
                  <c:v>922.66489999999999</c:v>
                </c:pt>
                <c:pt idx="300">
                  <c:v>913.56960000000015</c:v>
                </c:pt>
                <c:pt idx="301">
                  <c:v>921.65429999999992</c:v>
                </c:pt>
                <c:pt idx="302">
                  <c:v>927.7177999999999</c:v>
                </c:pt>
                <c:pt idx="303">
                  <c:v>919.63310000000001</c:v>
                </c:pt>
                <c:pt idx="304">
                  <c:v>924.68610000000012</c:v>
                </c:pt>
                <c:pt idx="305">
                  <c:v>914.58019999999999</c:v>
                </c:pt>
                <c:pt idx="306">
                  <c:v>936.81309999999996</c:v>
                </c:pt>
                <c:pt idx="307">
                  <c:v>925.69669999999996</c:v>
                </c:pt>
                <c:pt idx="308">
                  <c:v>937.82370000000003</c:v>
                </c:pt>
                <c:pt idx="309">
                  <c:v>933.78139999999996</c:v>
                </c:pt>
                <c:pt idx="310">
                  <c:v>929.73900000000003</c:v>
                </c:pt>
                <c:pt idx="311">
                  <c:v>906.49549999999999</c:v>
                </c:pt>
                <c:pt idx="312">
                  <c:v>923.67550000000006</c:v>
                </c:pt>
                <c:pt idx="313">
                  <c:v>917.61199999999997</c:v>
                </c:pt>
                <c:pt idx="314">
                  <c:v>919.63310000000001</c:v>
                </c:pt>
                <c:pt idx="315">
                  <c:v>922.66489999999999</c:v>
                </c:pt>
                <c:pt idx="316">
                  <c:v>955.00369999999998</c:v>
                </c:pt>
                <c:pt idx="317">
                  <c:v>964.09889999999996</c:v>
                </c:pt>
                <c:pt idx="318">
                  <c:v>971.17299999999989</c:v>
                </c:pt>
                <c:pt idx="319">
                  <c:v>965.10950000000003</c:v>
                </c:pt>
                <c:pt idx="320">
                  <c:v>968.14129999999989</c:v>
                </c:pt>
                <c:pt idx="321">
                  <c:v>953.99300000000005</c:v>
                </c:pt>
                <c:pt idx="322">
                  <c:v>956.01419999999985</c:v>
                </c:pt>
                <c:pt idx="323">
                  <c:v>944.89780000000007</c:v>
                </c:pt>
                <c:pt idx="324">
                  <c:v>940.85550000000001</c:v>
                </c:pt>
                <c:pt idx="325">
                  <c:v>937.82370000000003</c:v>
                </c:pt>
                <c:pt idx="326">
                  <c:v>922.66489999999999</c:v>
                </c:pt>
                <c:pt idx="327">
                  <c:v>898.41079999999988</c:v>
                </c:pt>
                <c:pt idx="328">
                  <c:v>897.40030000000002</c:v>
                </c:pt>
                <c:pt idx="329">
                  <c:v>916.60140000000001</c:v>
                </c:pt>
                <c:pt idx="330">
                  <c:v>909.52729999999985</c:v>
                </c:pt>
                <c:pt idx="331">
                  <c:v>891.33669999999995</c:v>
                </c:pt>
                <c:pt idx="332">
                  <c:v>905.48490000000004</c:v>
                </c:pt>
                <c:pt idx="333">
                  <c:v>901.44260000000008</c:v>
                </c:pt>
                <c:pt idx="334">
                  <c:v>908.51670000000001</c:v>
                </c:pt>
                <c:pt idx="335">
                  <c:v>924.68610000000012</c:v>
                </c:pt>
                <c:pt idx="336">
                  <c:v>909.52729999999985</c:v>
                </c:pt>
                <c:pt idx="337">
                  <c:v>935.08420000000001</c:v>
                </c:pt>
                <c:pt idx="338">
                  <c:v>952.12229999999988</c:v>
                </c:pt>
                <c:pt idx="339">
                  <c:v>939.09319999999991</c:v>
                </c:pt>
                <c:pt idx="340">
                  <c:v>934.08200000000011</c:v>
                </c:pt>
                <c:pt idx="341">
                  <c:v>942.09990000000005</c:v>
                </c:pt>
                <c:pt idx="342">
                  <c:v>937.08870000000002</c:v>
                </c:pt>
                <c:pt idx="343">
                  <c:v>923.05740000000003</c:v>
                </c:pt>
                <c:pt idx="344">
                  <c:v>929.07089999999994</c:v>
                </c:pt>
                <c:pt idx="345">
                  <c:v>937.08870000000002</c:v>
                </c:pt>
                <c:pt idx="346">
                  <c:v>918.04629999999997</c:v>
                </c:pt>
                <c:pt idx="347">
                  <c:v>936.0865</c:v>
                </c:pt>
                <c:pt idx="348">
                  <c:v>929.07089999999994</c:v>
                </c:pt>
                <c:pt idx="349">
                  <c:v>880.96360000000016</c:v>
                </c:pt>
                <c:pt idx="350">
                  <c:v>868.93679999999983</c:v>
                </c:pt>
                <c:pt idx="351">
                  <c:v>873.94800000000009</c:v>
                </c:pt>
                <c:pt idx="352">
                  <c:v>849.89430000000004</c:v>
                </c:pt>
                <c:pt idx="353">
                  <c:v>839.87200000000007</c:v>
                </c:pt>
                <c:pt idx="354">
                  <c:v>855.90779999999995</c:v>
                </c:pt>
                <c:pt idx="355">
                  <c:v>852.90110000000004</c:v>
                </c:pt>
                <c:pt idx="356">
                  <c:v>855.90779999999995</c:v>
                </c:pt>
                <c:pt idx="357">
                  <c:v>837.86760000000004</c:v>
                </c:pt>
                <c:pt idx="358">
                  <c:v>825.84079999999994</c:v>
                </c:pt>
                <c:pt idx="359">
                  <c:v>824.83849999999984</c:v>
                </c:pt>
                <c:pt idx="360">
                  <c:v>819.82730000000004</c:v>
                </c:pt>
                <c:pt idx="361">
                  <c:v>816.82069999999987</c:v>
                </c:pt>
                <c:pt idx="362">
                  <c:v>821.83180000000004</c:v>
                </c:pt>
                <c:pt idx="363">
                  <c:v>805.79610000000002</c:v>
                </c:pt>
                <c:pt idx="364">
                  <c:v>821.83180000000004</c:v>
                </c:pt>
                <c:pt idx="365">
                  <c:v>810.80730000000005</c:v>
                </c:pt>
                <c:pt idx="366">
                  <c:v>820.82960000000003</c:v>
                </c:pt>
                <c:pt idx="367">
                  <c:v>823.83629999999994</c:v>
                </c:pt>
                <c:pt idx="368">
                  <c:v>842.87869999999998</c:v>
                </c:pt>
                <c:pt idx="369">
                  <c:v>820.82960000000003</c:v>
                </c:pt>
                <c:pt idx="370">
                  <c:v>823.83629999999994</c:v>
                </c:pt>
                <c:pt idx="371">
                  <c:v>848.89219999999989</c:v>
                </c:pt>
                <c:pt idx="372">
                  <c:v>844.88319999999999</c:v>
                </c:pt>
                <c:pt idx="373">
                  <c:v>829.8497000000001</c:v>
                </c:pt>
                <c:pt idx="374">
                  <c:v>826.84299999999985</c:v>
                </c:pt>
                <c:pt idx="375">
                  <c:v>828.84749999999997</c:v>
                </c:pt>
                <c:pt idx="376">
                  <c:v>829.8497000000001</c:v>
                </c:pt>
                <c:pt idx="377">
                  <c:v>826.84299999999985</c:v>
                </c:pt>
                <c:pt idx="378">
                  <c:v>843.88099999999997</c:v>
                </c:pt>
                <c:pt idx="379">
                  <c:v>870.94129999999996</c:v>
                </c:pt>
                <c:pt idx="380">
                  <c:v>862.92340000000002</c:v>
                </c:pt>
                <c:pt idx="381">
                  <c:v>867.93460000000005</c:v>
                </c:pt>
                <c:pt idx="382">
                  <c:v>834.86080000000004</c:v>
                </c:pt>
                <c:pt idx="383">
                  <c:v>838.86980000000017</c:v>
                </c:pt>
                <c:pt idx="384">
                  <c:v>863.92570000000001</c:v>
                </c:pt>
                <c:pt idx="385">
                  <c:v>887.97919999999999</c:v>
                </c:pt>
                <c:pt idx="386">
                  <c:v>893.99270000000013</c:v>
                </c:pt>
                <c:pt idx="387">
                  <c:v>890.98599999999999</c:v>
                </c:pt>
                <c:pt idx="388">
                  <c:v>873.94800000000009</c:v>
                </c:pt>
                <c:pt idx="389">
                  <c:v>866.93239999999992</c:v>
                </c:pt>
                <c:pt idx="390">
                  <c:v>891.98820000000012</c:v>
                </c:pt>
                <c:pt idx="391">
                  <c:v>873.94800000000009</c:v>
                </c:pt>
                <c:pt idx="392">
                  <c:v>867.93460000000005</c:v>
                </c:pt>
                <c:pt idx="393">
                  <c:v>876.95469999999989</c:v>
                </c:pt>
                <c:pt idx="394">
                  <c:v>863.92570000000001</c:v>
                </c:pt>
                <c:pt idx="395">
                  <c:v>868.93679999999983</c:v>
                </c:pt>
                <c:pt idx="396">
                  <c:v>874.9502</c:v>
                </c:pt>
                <c:pt idx="397">
                  <c:v>878.9591999999999</c:v>
                </c:pt>
                <c:pt idx="398">
                  <c:v>877.95690000000002</c:v>
                </c:pt>
                <c:pt idx="399">
                  <c:v>883.97029999999995</c:v>
                </c:pt>
                <c:pt idx="400">
                  <c:v>898.00160000000005</c:v>
                </c:pt>
                <c:pt idx="401">
                  <c:v>898.00160000000005</c:v>
                </c:pt>
                <c:pt idx="402">
                  <c:v>895.99709999999993</c:v>
                </c:pt>
                <c:pt idx="403">
                  <c:v>888.98149999999987</c:v>
                </c:pt>
                <c:pt idx="404">
                  <c:v>884.97249999999997</c:v>
                </c:pt>
                <c:pt idx="405">
                  <c:v>874.9502</c:v>
                </c:pt>
                <c:pt idx="406">
                  <c:v>870.94129999999996</c:v>
                </c:pt>
                <c:pt idx="407">
                  <c:v>861.92120000000011</c:v>
                </c:pt>
                <c:pt idx="408">
                  <c:v>873.94800000000009</c:v>
                </c:pt>
                <c:pt idx="409">
                  <c:v>882.96810000000005</c:v>
                </c:pt>
                <c:pt idx="410">
                  <c:v>901.00829999999996</c:v>
                </c:pt>
                <c:pt idx="411">
                  <c:v>907.02170000000001</c:v>
                </c:pt>
                <c:pt idx="412">
                  <c:v>895.99709999999993</c:v>
                </c:pt>
                <c:pt idx="413">
                  <c:v>863.92570000000001</c:v>
                </c:pt>
                <c:pt idx="414">
                  <c:v>858.91449999999986</c:v>
                </c:pt>
                <c:pt idx="415">
                  <c:v>868.93679999999983</c:v>
                </c:pt>
                <c:pt idx="416">
                  <c:v>841.87650000000008</c:v>
                </c:pt>
                <c:pt idx="417">
                  <c:v>786.75369999999998</c:v>
                </c:pt>
                <c:pt idx="418">
                  <c:v>783.74689999999998</c:v>
                </c:pt>
                <c:pt idx="419">
                  <c:v>784.7491</c:v>
                </c:pt>
                <c:pt idx="420">
                  <c:v>768.71339999999998</c:v>
                </c:pt>
                <c:pt idx="421">
                  <c:v>770.71789999999999</c:v>
                </c:pt>
                <c:pt idx="422">
                  <c:v>788.75810000000001</c:v>
                </c:pt>
                <c:pt idx="423">
                  <c:v>790.76260000000002</c:v>
                </c:pt>
                <c:pt idx="424">
                  <c:v>794.77149999999995</c:v>
                </c:pt>
                <c:pt idx="425">
                  <c:v>796.77599999999995</c:v>
                </c:pt>
                <c:pt idx="426">
                  <c:v>786.75369999999998</c:v>
                </c:pt>
                <c:pt idx="427">
                  <c:v>793.76930000000004</c:v>
                </c:pt>
                <c:pt idx="428">
                  <c:v>778.73580000000004</c:v>
                </c:pt>
                <c:pt idx="429">
                  <c:v>781.74249999999995</c:v>
                </c:pt>
                <c:pt idx="430">
                  <c:v>784.7491</c:v>
                </c:pt>
                <c:pt idx="431">
                  <c:v>783.74689999999998</c:v>
                </c:pt>
                <c:pt idx="432">
                  <c:v>778.73580000000004</c:v>
                </c:pt>
                <c:pt idx="433">
                  <c:v>771.7201</c:v>
                </c:pt>
                <c:pt idx="434">
                  <c:v>774.72680000000003</c:v>
                </c:pt>
                <c:pt idx="435">
                  <c:v>776.73130000000003</c:v>
                </c:pt>
                <c:pt idx="436">
                  <c:v>779.73800000000006</c:v>
                </c:pt>
                <c:pt idx="437">
                  <c:v>769.71559999999999</c:v>
                </c:pt>
                <c:pt idx="438">
                  <c:v>759.69330000000002</c:v>
                </c:pt>
                <c:pt idx="439">
                  <c:v>764.70450000000005</c:v>
                </c:pt>
                <c:pt idx="440">
                  <c:v>751.67539999999997</c:v>
                </c:pt>
                <c:pt idx="441">
                  <c:v>751.67539999999997</c:v>
                </c:pt>
                <c:pt idx="442">
                  <c:v>764.70450000000005</c:v>
                </c:pt>
                <c:pt idx="443">
                  <c:v>764.70450000000005</c:v>
                </c:pt>
                <c:pt idx="444">
                  <c:v>752.67769999999996</c:v>
                </c:pt>
                <c:pt idx="445">
                  <c:v>737.64419999999996</c:v>
                </c:pt>
                <c:pt idx="446">
                  <c:v>752.67769999999996</c:v>
                </c:pt>
                <c:pt idx="447">
                  <c:v>734.63750000000005</c:v>
                </c:pt>
                <c:pt idx="448">
                  <c:v>730.62850000000003</c:v>
                </c:pt>
                <c:pt idx="449">
                  <c:v>747.66650000000004</c:v>
                </c:pt>
                <c:pt idx="450">
                  <c:v>765.70669999999996</c:v>
                </c:pt>
                <c:pt idx="451">
                  <c:v>757.68880000000001</c:v>
                </c:pt>
                <c:pt idx="452">
                  <c:v>755.68439999999998</c:v>
                </c:pt>
                <c:pt idx="453">
                  <c:v>753.67989999999998</c:v>
                </c:pt>
                <c:pt idx="454">
                  <c:v>758.69110000000001</c:v>
                </c:pt>
                <c:pt idx="455">
                  <c:v>756.6866</c:v>
                </c:pt>
                <c:pt idx="456">
                  <c:v>753.67989999999998</c:v>
                </c:pt>
                <c:pt idx="457">
                  <c:v>746.66420000000005</c:v>
                </c:pt>
                <c:pt idx="458">
                  <c:v>744.65980000000002</c:v>
                </c:pt>
                <c:pt idx="459">
                  <c:v>744.65980000000002</c:v>
                </c:pt>
                <c:pt idx="460">
                  <c:v>741.65309999999999</c:v>
                </c:pt>
                <c:pt idx="461">
                  <c:v>736.64189999999996</c:v>
                </c:pt>
                <c:pt idx="462">
                  <c:v>731.63070000000005</c:v>
                </c:pt>
                <c:pt idx="463">
                  <c:v>736.64189999999996</c:v>
                </c:pt>
                <c:pt idx="464">
                  <c:v>747.66650000000004</c:v>
                </c:pt>
                <c:pt idx="465">
                  <c:v>736.64189999999996</c:v>
                </c:pt>
                <c:pt idx="466">
                  <c:v>718.86770000000001</c:v>
                </c:pt>
                <c:pt idx="467">
                  <c:v>727.75480000000005</c:v>
                </c:pt>
                <c:pt idx="468">
                  <c:v>718.86770000000001</c:v>
                </c:pt>
                <c:pt idx="469">
                  <c:v>707.01819999999998</c:v>
                </c:pt>
                <c:pt idx="470">
                  <c:v>674.43230000000005</c:v>
                </c:pt>
                <c:pt idx="471">
                  <c:v>687.26919999999996</c:v>
                </c:pt>
                <c:pt idx="472">
                  <c:v>692.20640000000003</c:v>
                </c:pt>
                <c:pt idx="473">
                  <c:v>672.45730000000003</c:v>
                </c:pt>
                <c:pt idx="474">
                  <c:v>660.6078</c:v>
                </c:pt>
                <c:pt idx="475">
                  <c:v>661.59529999999995</c:v>
                </c:pt>
                <c:pt idx="476">
                  <c:v>658.63289999999995</c:v>
                </c:pt>
                <c:pt idx="477">
                  <c:v>651.72080000000005</c:v>
                </c:pt>
                <c:pt idx="478">
                  <c:v>653.69569999999999</c:v>
                </c:pt>
                <c:pt idx="479">
                  <c:v>655.67060000000004</c:v>
                </c:pt>
                <c:pt idx="480">
                  <c:v>667.52</c:v>
                </c:pt>
                <c:pt idx="481">
                  <c:v>666.5326</c:v>
                </c:pt>
                <c:pt idx="482">
                  <c:v>671.46979999999996</c:v>
                </c:pt>
                <c:pt idx="483">
                  <c:v>672.45730000000003</c:v>
                </c:pt>
                <c:pt idx="484">
                  <c:v>679.36950000000002</c:v>
                </c:pt>
                <c:pt idx="485">
                  <c:v>679.36950000000002</c:v>
                </c:pt>
                <c:pt idx="486">
                  <c:v>679.36950000000002</c:v>
                </c:pt>
                <c:pt idx="487">
                  <c:v>674.43230000000005</c:v>
                </c:pt>
                <c:pt idx="488">
                  <c:v>674.43230000000005</c:v>
                </c:pt>
                <c:pt idx="489">
                  <c:v>679.36950000000002</c:v>
                </c:pt>
                <c:pt idx="490">
                  <c:v>697.14369999999997</c:v>
                </c:pt>
                <c:pt idx="491">
                  <c:v>679.36950000000002</c:v>
                </c:pt>
                <c:pt idx="492">
                  <c:v>680.3569</c:v>
                </c:pt>
                <c:pt idx="493">
                  <c:v>678.38210000000004</c:v>
                </c:pt>
                <c:pt idx="494">
                  <c:v>696.15620000000001</c:v>
                </c:pt>
                <c:pt idx="495">
                  <c:v>695.16880000000003</c:v>
                </c:pt>
                <c:pt idx="496">
                  <c:v>690.23149999999998</c:v>
                </c:pt>
                <c:pt idx="497">
                  <c:v>681.34439999999995</c:v>
                </c:pt>
                <c:pt idx="498">
                  <c:v>669.49490000000003</c:v>
                </c:pt>
                <c:pt idx="499">
                  <c:v>667.52</c:v>
                </c:pt>
                <c:pt idx="500">
                  <c:v>649.74580000000003</c:v>
                </c:pt>
                <c:pt idx="501">
                  <c:v>642.83360000000005</c:v>
                </c:pt>
                <c:pt idx="502">
                  <c:v>657.64549999999997</c:v>
                </c:pt>
                <c:pt idx="503">
                  <c:v>657.64549999999997</c:v>
                </c:pt>
                <c:pt idx="504">
                  <c:v>662.58280000000002</c:v>
                </c:pt>
                <c:pt idx="505">
                  <c:v>667.52</c:v>
                </c:pt>
                <c:pt idx="506">
                  <c:v>664.55769999999995</c:v>
                </c:pt>
                <c:pt idx="507">
                  <c:v>655.67060000000004</c:v>
                </c:pt>
                <c:pt idx="508">
                  <c:v>666.5326</c:v>
                </c:pt>
                <c:pt idx="509">
                  <c:v>658.63289999999995</c:v>
                </c:pt>
                <c:pt idx="510">
                  <c:v>667.52</c:v>
                </c:pt>
                <c:pt idx="511">
                  <c:v>660.6078</c:v>
                </c:pt>
                <c:pt idx="512">
                  <c:v>647.77089999999998</c:v>
                </c:pt>
                <c:pt idx="513">
                  <c:v>637.89639999999997</c:v>
                </c:pt>
                <c:pt idx="514">
                  <c:v>629.00930000000005</c:v>
                </c:pt>
                <c:pt idx="515">
                  <c:v>647.77089999999998</c:v>
                </c:pt>
                <c:pt idx="516">
                  <c:v>640.85879999999997</c:v>
                </c:pt>
                <c:pt idx="517">
                  <c:v>678.38210000000004</c:v>
                </c:pt>
                <c:pt idx="518">
                  <c:v>647.77089999999998</c:v>
                </c:pt>
                <c:pt idx="519">
                  <c:v>671.46979999999996</c:v>
                </c:pt>
                <c:pt idx="520">
                  <c:v>680.3569</c:v>
                </c:pt>
                <c:pt idx="521">
                  <c:v>651.72080000000005</c:v>
                </c:pt>
                <c:pt idx="522">
                  <c:v>698.13120000000004</c:v>
                </c:pt>
                <c:pt idx="523">
                  <c:v>691.21900000000005</c:v>
                </c:pt>
                <c:pt idx="524">
                  <c:v>690.23149999999998</c:v>
                </c:pt>
                <c:pt idx="525">
                  <c:v>689.2441</c:v>
                </c:pt>
                <c:pt idx="526">
                  <c:v>688.25660000000005</c:v>
                </c:pt>
                <c:pt idx="527">
                  <c:v>682.33180000000004</c:v>
                </c:pt>
                <c:pt idx="528">
                  <c:v>671.46979999999996</c:v>
                </c:pt>
                <c:pt idx="529">
                  <c:v>660.6078</c:v>
                </c:pt>
                <c:pt idx="530">
                  <c:v>666.5326</c:v>
                </c:pt>
                <c:pt idx="531">
                  <c:v>659.62040000000002</c:v>
                </c:pt>
                <c:pt idx="532">
                  <c:v>671.46979999999996</c:v>
                </c:pt>
                <c:pt idx="533">
                  <c:v>676.40719999999999</c:v>
                </c:pt>
                <c:pt idx="534">
                  <c:v>666.5326</c:v>
                </c:pt>
                <c:pt idx="535">
                  <c:v>663.5702</c:v>
                </c:pt>
                <c:pt idx="536">
                  <c:v>663.5702</c:v>
                </c:pt>
                <c:pt idx="537">
                  <c:v>660.6078</c:v>
                </c:pt>
                <c:pt idx="538">
                  <c:v>660.6078</c:v>
                </c:pt>
                <c:pt idx="539">
                  <c:v>660.6078</c:v>
                </c:pt>
                <c:pt idx="540">
                  <c:v>675.41970000000003</c:v>
                </c:pt>
                <c:pt idx="541">
                  <c:v>674.43230000000005</c:v>
                </c:pt>
                <c:pt idx="542">
                  <c:v>673.44479999999999</c:v>
                </c:pt>
                <c:pt idx="543">
                  <c:v>678.38210000000004</c:v>
                </c:pt>
                <c:pt idx="544">
                  <c:v>678.38210000000004</c:v>
                </c:pt>
                <c:pt idx="545">
                  <c:v>659.62040000000002</c:v>
                </c:pt>
                <c:pt idx="546">
                  <c:v>619.13469999999995</c:v>
                </c:pt>
                <c:pt idx="547">
                  <c:v>622.09709999999995</c:v>
                </c:pt>
                <c:pt idx="548">
                  <c:v>626.04690000000005</c:v>
                </c:pt>
                <c:pt idx="549">
                  <c:v>635.92139999999995</c:v>
                </c:pt>
                <c:pt idx="550">
                  <c:v>636.90890000000002</c:v>
                </c:pt>
                <c:pt idx="551">
                  <c:v>632.95910000000003</c:v>
                </c:pt>
                <c:pt idx="552">
                  <c:v>622.09709999999995</c:v>
                </c:pt>
                <c:pt idx="553">
                  <c:v>631.97159999999997</c:v>
                </c:pt>
                <c:pt idx="554">
                  <c:v>625.05939999999998</c:v>
                </c:pt>
                <c:pt idx="555">
                  <c:v>620.12220000000002</c:v>
                </c:pt>
                <c:pt idx="556">
                  <c:v>625.05939999999998</c:v>
                </c:pt>
                <c:pt idx="557">
                  <c:v>620.12220000000002</c:v>
                </c:pt>
                <c:pt idx="558">
                  <c:v>624.072</c:v>
                </c:pt>
                <c:pt idx="559">
                  <c:v>616.17240000000004</c:v>
                </c:pt>
                <c:pt idx="560">
                  <c:v>622.09709999999995</c:v>
                </c:pt>
                <c:pt idx="561">
                  <c:v>604.3229</c:v>
                </c:pt>
                <c:pt idx="562">
                  <c:v>599.38559999999995</c:v>
                </c:pt>
                <c:pt idx="563">
                  <c:v>593.46090000000004</c:v>
                </c:pt>
                <c:pt idx="564">
                  <c:v>588.52359999999999</c:v>
                </c:pt>
                <c:pt idx="565">
                  <c:v>580.62389999999994</c:v>
                </c:pt>
                <c:pt idx="566">
                  <c:v>577.66160000000002</c:v>
                </c:pt>
                <c:pt idx="567">
                  <c:v>587.53610000000003</c:v>
                </c:pt>
                <c:pt idx="568">
                  <c:v>578.649</c:v>
                </c:pt>
                <c:pt idx="569">
                  <c:v>586.54869999999994</c:v>
                </c:pt>
                <c:pt idx="570">
                  <c:v>587.53610000000003</c:v>
                </c:pt>
                <c:pt idx="571">
                  <c:v>582.59879999999998</c:v>
                </c:pt>
                <c:pt idx="572">
                  <c:v>586.54869999999994</c:v>
                </c:pt>
                <c:pt idx="573">
                  <c:v>593.46090000000004</c:v>
                </c:pt>
                <c:pt idx="574">
                  <c:v>577.66160000000002</c:v>
                </c:pt>
                <c:pt idx="575">
                  <c:v>582.59879999999998</c:v>
                </c:pt>
                <c:pt idx="576">
                  <c:v>578.649</c:v>
                </c:pt>
                <c:pt idx="577">
                  <c:v>581.6114</c:v>
                </c:pt>
                <c:pt idx="578">
                  <c:v>582.59879999999998</c:v>
                </c:pt>
                <c:pt idx="579">
                  <c:v>585.56119999999999</c:v>
                </c:pt>
                <c:pt idx="580">
                  <c:v>570.74939999999992</c:v>
                </c:pt>
                <c:pt idx="581">
                  <c:v>572.72430000000008</c:v>
                </c:pt>
                <c:pt idx="582">
                  <c:v>562.84969999999998</c:v>
                </c:pt>
                <c:pt idx="583">
                  <c:v>558.8999</c:v>
                </c:pt>
                <c:pt idx="584">
                  <c:v>573.71179999999993</c:v>
                </c:pt>
                <c:pt idx="585">
                  <c:v>595.43579999999997</c:v>
                </c:pt>
                <c:pt idx="586">
                  <c:v>589.51099999999997</c:v>
                </c:pt>
                <c:pt idx="587">
                  <c:v>585.56119999999999</c:v>
                </c:pt>
                <c:pt idx="588">
                  <c:v>583.11940000000004</c:v>
                </c:pt>
                <c:pt idx="589">
                  <c:v>582.14260000000002</c:v>
                </c:pt>
                <c:pt idx="590">
                  <c:v>575.30540000000008</c:v>
                </c:pt>
                <c:pt idx="591">
                  <c:v>584.09609999999998</c:v>
                </c:pt>
                <c:pt idx="592">
                  <c:v>590.93330000000003</c:v>
                </c:pt>
                <c:pt idx="593">
                  <c:v>581.16579999999999</c:v>
                </c:pt>
                <c:pt idx="594">
                  <c:v>574.32860000000005</c:v>
                </c:pt>
                <c:pt idx="595">
                  <c:v>559.67740000000003</c:v>
                </c:pt>
                <c:pt idx="596">
                  <c:v>566.51459999999997</c:v>
                </c:pt>
                <c:pt idx="597">
                  <c:v>555.7704</c:v>
                </c:pt>
                <c:pt idx="598">
                  <c:v>561.6309</c:v>
                </c:pt>
                <c:pt idx="599">
                  <c:v>533.30510000000004</c:v>
                </c:pt>
                <c:pt idx="600">
                  <c:v>550.88660000000004</c:v>
                </c:pt>
                <c:pt idx="601">
                  <c:v>555.7704</c:v>
                </c:pt>
                <c:pt idx="602">
                  <c:v>538.18889999999999</c:v>
                </c:pt>
                <c:pt idx="603">
                  <c:v>504.97940000000006</c:v>
                </c:pt>
                <c:pt idx="604">
                  <c:v>514.74689999999998</c:v>
                </c:pt>
                <c:pt idx="605">
                  <c:v>501.07239999999996</c:v>
                </c:pt>
                <c:pt idx="606">
                  <c:v>493.25840000000005</c:v>
                </c:pt>
                <c:pt idx="607">
                  <c:v>470.79319999999996</c:v>
                </c:pt>
                <c:pt idx="608">
                  <c:v>475.67690000000005</c:v>
                </c:pt>
                <c:pt idx="609">
                  <c:v>489.35139999999996</c:v>
                </c:pt>
                <c:pt idx="610">
                  <c:v>482.51419999999996</c:v>
                </c:pt>
                <c:pt idx="611">
                  <c:v>490.32819999999998</c:v>
                </c:pt>
                <c:pt idx="612">
                  <c:v>504.0027</c:v>
                </c:pt>
                <c:pt idx="613">
                  <c:v>511.81670000000008</c:v>
                </c:pt>
                <c:pt idx="614">
                  <c:v>496.18869999999998</c:v>
                </c:pt>
                <c:pt idx="615">
                  <c:v>476.1653</c:v>
                </c:pt>
                <c:pt idx="616">
                  <c:v>469.81640000000004</c:v>
                </c:pt>
                <c:pt idx="617">
                  <c:v>483.0025</c:v>
                </c:pt>
                <c:pt idx="618">
                  <c:v>474.21179999999998</c:v>
                </c:pt>
                <c:pt idx="619">
                  <c:v>485.93279999999999</c:v>
                </c:pt>
                <c:pt idx="620">
                  <c:v>486.4212</c:v>
                </c:pt>
                <c:pt idx="621">
                  <c:v>465.42110000000002</c:v>
                </c:pt>
                <c:pt idx="622">
                  <c:v>466.88619999999997</c:v>
                </c:pt>
                <c:pt idx="623">
                  <c:v>459.07219999999995</c:v>
                </c:pt>
                <c:pt idx="624">
                  <c:v>474.7002</c:v>
                </c:pt>
                <c:pt idx="625">
                  <c:v>474.21179999999998</c:v>
                </c:pt>
                <c:pt idx="626">
                  <c:v>479.09559999999993</c:v>
                </c:pt>
                <c:pt idx="627">
                  <c:v>502.04919999999998</c:v>
                </c:pt>
                <c:pt idx="628">
                  <c:v>495.21189999999996</c:v>
                </c:pt>
                <c:pt idx="629">
                  <c:v>474.21179999999998</c:v>
                </c:pt>
                <c:pt idx="630">
                  <c:v>451.25819999999999</c:v>
                </c:pt>
                <c:pt idx="631">
                  <c:v>444.90929999999997</c:v>
                </c:pt>
                <c:pt idx="632">
                  <c:v>436.11860000000001</c:v>
                </c:pt>
                <c:pt idx="633">
                  <c:v>447.35119999999995</c:v>
                </c:pt>
                <c:pt idx="634">
                  <c:v>447.83960000000002</c:v>
                </c:pt>
                <c:pt idx="635">
                  <c:v>460.04889999999995</c:v>
                </c:pt>
                <c:pt idx="636">
                  <c:v>470.79319999999996</c:v>
                </c:pt>
                <c:pt idx="637">
                  <c:v>481.53740000000005</c:v>
                </c:pt>
                <c:pt idx="638">
                  <c:v>505.95609999999994</c:v>
                </c:pt>
                <c:pt idx="639">
                  <c:v>501.07239999999996</c:v>
                </c:pt>
                <c:pt idx="640">
                  <c:v>502.04919999999998</c:v>
                </c:pt>
                <c:pt idx="641">
                  <c:v>501.07239999999996</c:v>
                </c:pt>
                <c:pt idx="642">
                  <c:v>490.32819999999998</c:v>
                </c:pt>
                <c:pt idx="643">
                  <c:v>498.1422</c:v>
                </c:pt>
                <c:pt idx="644">
                  <c:v>519.63059999999996</c:v>
                </c:pt>
                <c:pt idx="645">
                  <c:v>501.07239999999996</c:v>
                </c:pt>
                <c:pt idx="646">
                  <c:v>491.30489999999992</c:v>
                </c:pt>
                <c:pt idx="647">
                  <c:v>484.46769999999998</c:v>
                </c:pt>
                <c:pt idx="648">
                  <c:v>487.88630000000001</c:v>
                </c:pt>
                <c:pt idx="649">
                  <c:v>484.95600000000002</c:v>
                </c:pt>
                <c:pt idx="650">
                  <c:v>497.16539999999992</c:v>
                </c:pt>
                <c:pt idx="651">
                  <c:v>468.83969999999999</c:v>
                </c:pt>
                <c:pt idx="652">
                  <c:v>508.88639999999998</c:v>
                </c:pt>
                <c:pt idx="653">
                  <c:v>506.93289999999996</c:v>
                </c:pt>
                <c:pt idx="654">
                  <c:v>517.67720000000008</c:v>
                </c:pt>
                <c:pt idx="655">
                  <c:v>533.30510000000004</c:v>
                </c:pt>
                <c:pt idx="656">
                  <c:v>523.5376</c:v>
                </c:pt>
                <c:pt idx="657">
                  <c:v>540.14240000000007</c:v>
                </c:pt>
                <c:pt idx="658">
                  <c:v>541.1191</c:v>
                </c:pt>
                <c:pt idx="659">
                  <c:v>551.86340000000007</c:v>
                </c:pt>
                <c:pt idx="660">
                  <c:v>578.23559999999998</c:v>
                </c:pt>
                <c:pt idx="661">
                  <c:v>569.44490000000008</c:v>
                </c:pt>
                <c:pt idx="662">
                  <c:v>587.02629999999999</c:v>
                </c:pt>
                <c:pt idx="663">
                  <c:v>601.67759999999998</c:v>
                </c:pt>
                <c:pt idx="664">
                  <c:v>606.56129999999996</c:v>
                </c:pt>
                <c:pt idx="665">
                  <c:v>601.67759999999998</c:v>
                </c:pt>
                <c:pt idx="666">
                  <c:v>607.53809999999999</c:v>
                </c:pt>
                <c:pt idx="667">
                  <c:v>582.14260000000002</c:v>
                </c:pt>
                <c:pt idx="668">
                  <c:v>596.79380000000003</c:v>
                </c:pt>
                <c:pt idx="669">
                  <c:v>605.58460000000002</c:v>
                </c:pt>
                <c:pt idx="670">
                  <c:v>607.53809999999999</c:v>
                </c:pt>
                <c:pt idx="671">
                  <c:v>599.72410000000002</c:v>
                </c:pt>
                <c:pt idx="672">
                  <c:v>620.23580000000004</c:v>
                </c:pt>
                <c:pt idx="673">
                  <c:v>637.81730000000005</c:v>
                </c:pt>
                <c:pt idx="674">
                  <c:v>642.70100000000002</c:v>
                </c:pt>
                <c:pt idx="675">
                  <c:v>625.11959999999999</c:v>
                </c:pt>
                <c:pt idx="676">
                  <c:v>610.4683</c:v>
                </c:pt>
                <c:pt idx="677">
                  <c:v>637.81730000000005</c:v>
                </c:pt>
                <c:pt idx="678">
                  <c:v>654.4221</c:v>
                </c:pt>
                <c:pt idx="679">
                  <c:v>649.53830000000005</c:v>
                </c:pt>
                <c:pt idx="680">
                  <c:v>643.67780000000005</c:v>
                </c:pt>
                <c:pt idx="681">
                  <c:v>618.28229999999996</c:v>
                </c:pt>
                <c:pt idx="682">
                  <c:v>608.51480000000004</c:v>
                </c:pt>
                <c:pt idx="683">
                  <c:v>585.07280000000003</c:v>
                </c:pt>
                <c:pt idx="684">
                  <c:v>594.84029999999996</c:v>
                </c:pt>
                <c:pt idx="685">
                  <c:v>585.07280000000003</c:v>
                </c:pt>
                <c:pt idx="686">
                  <c:v>588.97979999999995</c:v>
                </c:pt>
                <c:pt idx="687">
                  <c:v>590.93330000000003</c:v>
                </c:pt>
                <c:pt idx="688">
                  <c:v>588.97979999999995</c:v>
                </c:pt>
                <c:pt idx="689">
                  <c:v>587.02629999999999</c:v>
                </c:pt>
                <c:pt idx="690">
                  <c:v>576.28210000000001</c:v>
                </c:pt>
                <c:pt idx="691">
                  <c:v>571.39829999999995</c:v>
                </c:pt>
                <c:pt idx="692">
                  <c:v>556.74710000000005</c:v>
                </c:pt>
                <c:pt idx="693">
                  <c:v>564.56110000000001</c:v>
                </c:pt>
                <c:pt idx="694">
                  <c:v>563.58440000000007</c:v>
                </c:pt>
                <c:pt idx="695">
                  <c:v>565.53779999999995</c:v>
                </c:pt>
                <c:pt idx="696">
                  <c:v>573.35180000000003</c:v>
                </c:pt>
                <c:pt idx="697">
                  <c:v>586.04960000000005</c:v>
                </c:pt>
                <c:pt idx="698">
                  <c:v>581.16579999999999</c:v>
                </c:pt>
                <c:pt idx="699">
                  <c:v>566.51459999999997</c:v>
                </c:pt>
                <c:pt idx="700">
                  <c:v>546.00290000000007</c:v>
                </c:pt>
                <c:pt idx="701">
                  <c:v>542.09590000000003</c:v>
                </c:pt>
                <c:pt idx="702">
                  <c:v>559.67740000000003</c:v>
                </c:pt>
                <c:pt idx="703">
                  <c:v>564.56110000000001</c:v>
                </c:pt>
                <c:pt idx="704">
                  <c:v>561.6309</c:v>
                </c:pt>
                <c:pt idx="705">
                  <c:v>570.42160000000001</c:v>
                </c:pt>
                <c:pt idx="706">
                  <c:v>595.81709999999998</c:v>
                </c:pt>
                <c:pt idx="707">
                  <c:v>571.39829999999995</c:v>
                </c:pt>
                <c:pt idx="708">
                  <c:v>587.02629999999999</c:v>
                </c:pt>
                <c:pt idx="709">
                  <c:v>610.4683</c:v>
                </c:pt>
                <c:pt idx="710">
                  <c:v>636.84059999999999</c:v>
                </c:pt>
                <c:pt idx="711">
                  <c:v>665.16629999999998</c:v>
                </c:pt>
                <c:pt idx="712">
                  <c:v>673.95699999999999</c:v>
                </c:pt>
                <c:pt idx="713">
                  <c:v>671.02679999999998</c:v>
                </c:pt>
                <c:pt idx="714">
                  <c:v>653.44529999999997</c:v>
                </c:pt>
                <c:pt idx="715">
                  <c:v>671.26210000000003</c:v>
                </c:pt>
                <c:pt idx="716">
                  <c:v>690.52359999999999</c:v>
                </c:pt>
                <c:pt idx="717">
                  <c:v>697.26509999999996</c:v>
                </c:pt>
                <c:pt idx="718">
                  <c:v>688.59749999999997</c:v>
                </c:pt>
                <c:pt idx="719">
                  <c:v>669.33600000000001</c:v>
                </c:pt>
                <c:pt idx="720">
                  <c:v>652.96370000000002</c:v>
                </c:pt>
                <c:pt idx="721">
                  <c:v>654.88990000000001</c:v>
                </c:pt>
                <c:pt idx="722">
                  <c:v>643.33299999999997</c:v>
                </c:pt>
                <c:pt idx="723">
                  <c:v>630.81299999999999</c:v>
                </c:pt>
                <c:pt idx="724">
                  <c:v>641.40689999999995</c:v>
                </c:pt>
                <c:pt idx="725">
                  <c:v>644.29610000000002</c:v>
                </c:pt>
                <c:pt idx="726">
                  <c:v>632.73919999999998</c:v>
                </c:pt>
                <c:pt idx="727">
                  <c:v>633.70230000000004</c:v>
                </c:pt>
                <c:pt idx="728">
                  <c:v>613.47770000000003</c:v>
                </c:pt>
                <c:pt idx="729">
                  <c:v>626.96079999999995</c:v>
                </c:pt>
                <c:pt idx="730">
                  <c:v>622.1454</c:v>
                </c:pt>
                <c:pt idx="731">
                  <c:v>625.99770000000001</c:v>
                </c:pt>
                <c:pt idx="732">
                  <c:v>631.77610000000004</c:v>
                </c:pt>
                <c:pt idx="733">
                  <c:v>633.70230000000004</c:v>
                </c:pt>
                <c:pt idx="734">
                  <c:v>653.92679999999996</c:v>
                </c:pt>
                <c:pt idx="735">
                  <c:v>665.4837</c:v>
                </c:pt>
                <c:pt idx="736">
                  <c:v>666.44680000000005</c:v>
                </c:pt>
                <c:pt idx="737">
                  <c:v>667.40989999999999</c:v>
                </c:pt>
                <c:pt idx="738">
                  <c:v>656.81600000000003</c:v>
                </c:pt>
                <c:pt idx="739">
                  <c:v>658.74220000000003</c:v>
                </c:pt>
                <c:pt idx="740">
                  <c:v>660.66830000000004</c:v>
                </c:pt>
                <c:pt idx="741">
                  <c:v>672.22519999999997</c:v>
                </c:pt>
                <c:pt idx="742">
                  <c:v>678.00369999999998</c:v>
                </c:pt>
                <c:pt idx="743">
                  <c:v>678.00369999999998</c:v>
                </c:pt>
                <c:pt idx="744">
                  <c:v>677.04060000000004</c:v>
                </c:pt>
                <c:pt idx="745">
                  <c:v>692.44979999999998</c:v>
                </c:pt>
                <c:pt idx="746">
                  <c:v>692.44979999999998</c:v>
                </c:pt>
                <c:pt idx="747">
                  <c:v>683.78210000000001</c:v>
                </c:pt>
                <c:pt idx="748">
                  <c:v>687.63440000000003</c:v>
                </c:pt>
                <c:pt idx="749">
                  <c:v>695.33900000000006</c:v>
                </c:pt>
                <c:pt idx="750">
                  <c:v>715.56349999999998</c:v>
                </c:pt>
                <c:pt idx="751">
                  <c:v>705.93280000000004</c:v>
                </c:pt>
                <c:pt idx="752">
                  <c:v>717.48969999999997</c:v>
                </c:pt>
                <c:pt idx="753">
                  <c:v>734.82500000000005</c:v>
                </c:pt>
                <c:pt idx="754">
                  <c:v>728.08349999999996</c:v>
                </c:pt>
                <c:pt idx="755">
                  <c:v>708.822</c:v>
                </c:pt>
                <c:pt idx="756">
                  <c:v>717.48969999999997</c:v>
                </c:pt>
                <c:pt idx="757">
                  <c:v>731.93579999999997</c:v>
                </c:pt>
                <c:pt idx="758">
                  <c:v>714.60050000000001</c:v>
                </c:pt>
                <c:pt idx="759">
                  <c:v>737.71420000000001</c:v>
                </c:pt>
                <c:pt idx="760">
                  <c:v>745.41880000000003</c:v>
                </c:pt>
                <c:pt idx="761">
                  <c:v>737.71420000000001</c:v>
                </c:pt>
                <c:pt idx="762">
                  <c:v>732.89890000000003</c:v>
                </c:pt>
                <c:pt idx="763">
                  <c:v>732.89890000000003</c:v>
                </c:pt>
                <c:pt idx="764">
                  <c:v>737.71420000000001</c:v>
                </c:pt>
                <c:pt idx="765">
                  <c:v>718.45280000000002</c:v>
                </c:pt>
                <c:pt idx="766">
                  <c:v>710.7482</c:v>
                </c:pt>
                <c:pt idx="767">
                  <c:v>672.22519999999997</c:v>
                </c:pt>
                <c:pt idx="768">
                  <c:v>699.19129999999996</c:v>
                </c:pt>
                <c:pt idx="769">
                  <c:v>673.18830000000003</c:v>
                </c:pt>
                <c:pt idx="770">
                  <c:v>679.9298</c:v>
                </c:pt>
                <c:pt idx="771">
                  <c:v>623.10850000000005</c:v>
                </c:pt>
                <c:pt idx="772">
                  <c:v>587.47480000000007</c:v>
                </c:pt>
                <c:pt idx="773">
                  <c:v>584.58550000000002</c:v>
                </c:pt>
                <c:pt idx="774">
                  <c:v>600.95780000000002</c:v>
                </c:pt>
                <c:pt idx="775">
                  <c:v>639.48069999999996</c:v>
                </c:pt>
                <c:pt idx="776">
                  <c:v>657.77909999999997</c:v>
                </c:pt>
                <c:pt idx="777">
                  <c:v>653.92679999999996</c:v>
                </c:pt>
                <c:pt idx="778">
                  <c:v>678.96669999999995</c:v>
                </c:pt>
                <c:pt idx="779">
                  <c:v>671.26210000000003</c:v>
                </c:pt>
                <c:pt idx="780">
                  <c:v>659.70529999999997</c:v>
                </c:pt>
                <c:pt idx="781">
                  <c:v>678.96669999999995</c:v>
                </c:pt>
                <c:pt idx="782">
                  <c:v>690.52359999999999</c:v>
                </c:pt>
                <c:pt idx="783">
                  <c:v>695.33900000000006</c:v>
                </c:pt>
                <c:pt idx="784">
                  <c:v>708.822</c:v>
                </c:pt>
                <c:pt idx="785">
                  <c:v>718.45280000000002</c:v>
                </c:pt>
                <c:pt idx="786">
                  <c:v>725.1943</c:v>
                </c:pt>
                <c:pt idx="787">
                  <c:v>725.1943</c:v>
                </c:pt>
                <c:pt idx="788">
                  <c:v>713.63739999999996</c:v>
                </c:pt>
                <c:pt idx="789">
                  <c:v>728.08349999999996</c:v>
                </c:pt>
                <c:pt idx="790">
                  <c:v>749.27110000000005</c:v>
                </c:pt>
                <c:pt idx="791">
                  <c:v>746.38189999999997</c:v>
                </c:pt>
                <c:pt idx="792">
                  <c:v>736.75120000000004</c:v>
                </c:pt>
                <c:pt idx="793">
                  <c:v>730.97270000000003</c:v>
                </c:pt>
                <c:pt idx="794">
                  <c:v>710.7482</c:v>
                </c:pt>
                <c:pt idx="795">
                  <c:v>713.63739999999996</c:v>
                </c:pt>
                <c:pt idx="796">
                  <c:v>732.89890000000003</c:v>
                </c:pt>
                <c:pt idx="797">
                  <c:v>739.6404</c:v>
                </c:pt>
                <c:pt idx="798">
                  <c:v>719.41579999999999</c:v>
                </c:pt>
                <c:pt idx="799">
                  <c:v>697.26509999999996</c:v>
                </c:pt>
                <c:pt idx="800">
                  <c:v>714.60050000000001</c:v>
                </c:pt>
                <c:pt idx="801">
                  <c:v>712.67430000000002</c:v>
                </c:pt>
                <c:pt idx="802">
                  <c:v>704.00670000000002</c:v>
                </c:pt>
                <c:pt idx="803">
                  <c:v>680.89290000000005</c:v>
                </c:pt>
                <c:pt idx="804">
                  <c:v>714.60050000000001</c:v>
                </c:pt>
                <c:pt idx="805">
                  <c:v>737.71420000000001</c:v>
                </c:pt>
                <c:pt idx="806">
                  <c:v>742.52959999999996</c:v>
                </c:pt>
                <c:pt idx="807">
                  <c:v>741.56650000000002</c:v>
                </c:pt>
                <c:pt idx="808">
                  <c:v>761.79110000000003</c:v>
                </c:pt>
                <c:pt idx="809">
                  <c:v>754.0865</c:v>
                </c:pt>
                <c:pt idx="810">
                  <c:v>758.90189999999996</c:v>
                </c:pt>
                <c:pt idx="811">
                  <c:v>781.05250000000001</c:v>
                </c:pt>
                <c:pt idx="812">
                  <c:v>839.8</c:v>
                </c:pt>
                <c:pt idx="813">
                  <c:v>849.43069999999989</c:v>
                </c:pt>
                <c:pt idx="814">
                  <c:v>869.65530000000001</c:v>
                </c:pt>
                <c:pt idx="815">
                  <c:v>862.91380000000015</c:v>
                </c:pt>
                <c:pt idx="816">
                  <c:v>878.3229</c:v>
                </c:pt>
                <c:pt idx="817">
                  <c:v>879.28599999999994</c:v>
                </c:pt>
                <c:pt idx="818">
                  <c:v>864.83989999999994</c:v>
                </c:pt>
                <c:pt idx="819">
                  <c:v>866.76610000000005</c:v>
                </c:pt>
                <c:pt idx="820">
                  <c:v>871.58140000000003</c:v>
                </c:pt>
                <c:pt idx="821">
                  <c:v>841.72609999999997</c:v>
                </c:pt>
                <c:pt idx="822">
                  <c:v>842.68920000000003</c:v>
                </c:pt>
                <c:pt idx="823">
                  <c:v>840.76310000000001</c:v>
                </c:pt>
                <c:pt idx="824">
                  <c:v>834.02150000000006</c:v>
                </c:pt>
                <c:pt idx="825">
                  <c:v>830.16930000000002</c:v>
                </c:pt>
                <c:pt idx="826">
                  <c:v>834.9846</c:v>
                </c:pt>
                <c:pt idx="827">
                  <c:v>838.83690000000013</c:v>
                </c:pt>
                <c:pt idx="828">
                  <c:v>821.50160000000005</c:v>
                </c:pt>
                <c:pt idx="829">
                  <c:v>821.50160000000005</c:v>
                </c:pt>
                <c:pt idx="830">
                  <c:v>822.46470000000011</c:v>
                </c:pt>
                <c:pt idx="831">
                  <c:v>833.05849999999987</c:v>
                </c:pt>
                <c:pt idx="832">
                  <c:v>834.9846</c:v>
                </c:pt>
                <c:pt idx="833">
                  <c:v>837.87379999999985</c:v>
                </c:pt>
                <c:pt idx="834">
                  <c:v>826.31699999999989</c:v>
                </c:pt>
                <c:pt idx="835">
                  <c:v>815.72309999999993</c:v>
                </c:pt>
                <c:pt idx="836">
                  <c:v>822.46470000000011</c:v>
                </c:pt>
                <c:pt idx="837">
                  <c:v>815.72309999999993</c:v>
                </c:pt>
                <c:pt idx="838">
                  <c:v>812.85419999999999</c:v>
                </c:pt>
                <c:pt idx="839">
                  <c:v>807.11650000000009</c:v>
                </c:pt>
                <c:pt idx="840">
                  <c:v>796.59720000000004</c:v>
                </c:pt>
                <c:pt idx="841">
                  <c:v>801.37870000000009</c:v>
                </c:pt>
                <c:pt idx="842">
                  <c:v>815.72309999999993</c:v>
                </c:pt>
                <c:pt idx="843">
                  <c:v>892.22709999999984</c:v>
                </c:pt>
                <c:pt idx="844">
                  <c:v>886.48929999999984</c:v>
                </c:pt>
                <c:pt idx="845">
                  <c:v>887.44560000000001</c:v>
                </c:pt>
                <c:pt idx="846">
                  <c:v>891.27080000000001</c:v>
                </c:pt>
                <c:pt idx="847">
                  <c:v>891.27080000000001</c:v>
                </c:pt>
                <c:pt idx="848">
                  <c:v>881.70780000000002</c:v>
                </c:pt>
                <c:pt idx="849">
                  <c:v>879.79520000000002</c:v>
                </c:pt>
                <c:pt idx="850">
                  <c:v>883.62040000000002</c:v>
                </c:pt>
                <c:pt idx="851">
                  <c:v>875.01369999999986</c:v>
                </c:pt>
                <c:pt idx="852">
                  <c:v>869.27589999999987</c:v>
                </c:pt>
                <c:pt idx="853">
                  <c:v>868.31960000000004</c:v>
                </c:pt>
                <c:pt idx="854">
                  <c:v>858.75660000000005</c:v>
                </c:pt>
                <c:pt idx="855">
                  <c:v>872.14480000000003</c:v>
                </c:pt>
                <c:pt idx="856">
                  <c:v>860.66930000000002</c:v>
                </c:pt>
                <c:pt idx="857">
                  <c:v>874.05740000000003</c:v>
                </c:pt>
                <c:pt idx="858">
                  <c:v>867.36329999999987</c:v>
                </c:pt>
                <c:pt idx="859">
                  <c:v>861.62549999999987</c:v>
                </c:pt>
                <c:pt idx="860">
                  <c:v>875.97</c:v>
                </c:pt>
                <c:pt idx="861">
                  <c:v>876.92629999999986</c:v>
                </c:pt>
                <c:pt idx="862">
                  <c:v>860.66930000000002</c:v>
                </c:pt>
                <c:pt idx="863">
                  <c:v>869.27589999999987</c:v>
                </c:pt>
                <c:pt idx="864">
                  <c:v>869.27589999999987</c:v>
                </c:pt>
                <c:pt idx="865">
                  <c:v>853.97509999999988</c:v>
                </c:pt>
                <c:pt idx="866">
                  <c:v>841.54319999999996</c:v>
                </c:pt>
                <c:pt idx="867">
                  <c:v>830.06759999999997</c:v>
                </c:pt>
                <c:pt idx="868">
                  <c:v>843.45579999999995</c:v>
                </c:pt>
                <c:pt idx="869">
                  <c:v>837.71799999999996</c:v>
                </c:pt>
                <c:pt idx="870">
                  <c:v>834.84909999999991</c:v>
                </c:pt>
                <c:pt idx="871">
                  <c:v>833.89279999999997</c:v>
                </c:pt>
                <c:pt idx="872">
                  <c:v>836.76169999999991</c:v>
                </c:pt>
                <c:pt idx="873">
                  <c:v>841.54319999999996</c:v>
                </c:pt>
                <c:pt idx="874">
                  <c:v>820.50459999999998</c:v>
                </c:pt>
                <c:pt idx="875">
                  <c:v>821.46089999999992</c:v>
                </c:pt>
                <c:pt idx="876">
                  <c:v>821.46089999999992</c:v>
                </c:pt>
                <c:pt idx="877">
                  <c:v>828.15499999999997</c:v>
                </c:pt>
                <c:pt idx="878">
                  <c:v>817.63569999999993</c:v>
                </c:pt>
                <c:pt idx="879">
                  <c:v>812.85419999999999</c:v>
                </c:pt>
                <c:pt idx="880">
                  <c:v>822.41719999999998</c:v>
                </c:pt>
                <c:pt idx="881">
                  <c:v>813.81049999999993</c:v>
                </c:pt>
                <c:pt idx="882">
                  <c:v>868.31960000000004</c:v>
                </c:pt>
                <c:pt idx="883">
                  <c:v>853.97509999999988</c:v>
                </c:pt>
                <c:pt idx="884">
                  <c:v>855.88769999999988</c:v>
                </c:pt>
                <c:pt idx="885">
                  <c:v>858.75660000000005</c:v>
                </c:pt>
                <c:pt idx="886">
                  <c:v>862.58180000000004</c:v>
                </c:pt>
                <c:pt idx="887">
                  <c:v>875.97</c:v>
                </c:pt>
                <c:pt idx="888">
                  <c:v>879.79520000000002</c:v>
                </c:pt>
                <c:pt idx="889">
                  <c:v>861.62549999999987</c:v>
                </c:pt>
                <c:pt idx="890">
                  <c:v>855.88769999999988</c:v>
                </c:pt>
                <c:pt idx="891">
                  <c:v>872.14480000000003</c:v>
                </c:pt>
                <c:pt idx="892">
                  <c:v>882.66409999999985</c:v>
                </c:pt>
                <c:pt idx="893">
                  <c:v>882.66409999999985</c:v>
                </c:pt>
                <c:pt idx="894">
                  <c:v>880.75149999999985</c:v>
                </c:pt>
                <c:pt idx="895">
                  <c:v>897.96489999999983</c:v>
                </c:pt>
                <c:pt idx="896">
                  <c:v>896.05229999999983</c:v>
                </c:pt>
                <c:pt idx="897">
                  <c:v>886.48929999999984</c:v>
                </c:pt>
                <c:pt idx="898">
                  <c:v>879.79520000000002</c:v>
                </c:pt>
                <c:pt idx="899">
                  <c:v>901.79010000000005</c:v>
                </c:pt>
                <c:pt idx="900">
                  <c:v>909.44050000000004</c:v>
                </c:pt>
                <c:pt idx="901">
                  <c:v>895.096</c:v>
                </c:pt>
                <c:pt idx="902">
                  <c:v>905.61530000000005</c:v>
                </c:pt>
                <c:pt idx="903">
                  <c:v>887.44560000000001</c:v>
                </c:pt>
                <c:pt idx="904">
                  <c:v>885.53300000000002</c:v>
                </c:pt>
                <c:pt idx="905">
                  <c:v>884.57669999999985</c:v>
                </c:pt>
                <c:pt idx="906">
                  <c:v>873.10109999999986</c:v>
                </c:pt>
                <c:pt idx="907">
                  <c:v>896.05229999999983</c:v>
                </c:pt>
                <c:pt idx="908">
                  <c:v>868.31960000000004</c:v>
                </c:pt>
                <c:pt idx="909">
                  <c:v>853.01880000000006</c:v>
                </c:pt>
                <c:pt idx="910">
                  <c:v>876.92629999999986</c:v>
                </c:pt>
                <c:pt idx="911">
                  <c:v>862.58180000000004</c:v>
                </c:pt>
                <c:pt idx="912">
                  <c:v>870.23220000000003</c:v>
                </c:pt>
                <c:pt idx="913">
                  <c:v>859.71289999999988</c:v>
                </c:pt>
                <c:pt idx="914">
                  <c:v>842.4994999999999</c:v>
                </c:pt>
                <c:pt idx="915">
                  <c:v>852.06249999999989</c:v>
                </c:pt>
                <c:pt idx="916">
                  <c:v>852.06249999999989</c:v>
                </c:pt>
                <c:pt idx="917">
                  <c:v>866.40700000000004</c:v>
                </c:pt>
                <c:pt idx="918">
                  <c:v>794.68460000000005</c:v>
                </c:pt>
                <c:pt idx="919">
                  <c:v>781.29639999999995</c:v>
                </c:pt>
                <c:pt idx="920">
                  <c:v>773.64599999999996</c:v>
                </c:pt>
                <c:pt idx="921">
                  <c:v>786.0779</c:v>
                </c:pt>
                <c:pt idx="922">
                  <c:v>781.29639999999995</c:v>
                </c:pt>
                <c:pt idx="923">
                  <c:v>796.59720000000004</c:v>
                </c:pt>
                <c:pt idx="924">
                  <c:v>783.20899999999995</c:v>
                </c:pt>
                <c:pt idx="925">
                  <c:v>776.51490000000001</c:v>
                </c:pt>
                <c:pt idx="926">
                  <c:v>776.51490000000001</c:v>
                </c:pt>
                <c:pt idx="927">
                  <c:v>774.60230000000001</c:v>
                </c:pt>
                <c:pt idx="928">
                  <c:v>776.51490000000001</c:v>
                </c:pt>
                <c:pt idx="929">
                  <c:v>768.86450000000002</c:v>
                </c:pt>
                <c:pt idx="930">
                  <c:v>765.03930000000003</c:v>
                </c:pt>
                <c:pt idx="931">
                  <c:v>747.82590000000005</c:v>
                </c:pt>
                <c:pt idx="932">
                  <c:v>735.39400000000001</c:v>
                </c:pt>
                <c:pt idx="933">
                  <c:v>719.13699999999994</c:v>
                </c:pt>
                <c:pt idx="934">
                  <c:v>707.66139999999996</c:v>
                </c:pt>
                <c:pt idx="935">
                  <c:v>730.61249999999995</c:v>
                </c:pt>
                <c:pt idx="936">
                  <c:v>743.0444</c:v>
                </c:pt>
                <c:pt idx="937">
                  <c:v>758.34519999999998</c:v>
                </c:pt>
                <c:pt idx="938">
                  <c:v>758.34519999999998</c:v>
                </c:pt>
                <c:pt idx="939">
                  <c:v>739.2192</c:v>
                </c:pt>
                <c:pt idx="940">
                  <c:v>741.1318</c:v>
                </c:pt>
                <c:pt idx="941">
                  <c:v>723.91849999999999</c:v>
                </c:pt>
                <c:pt idx="942">
                  <c:v>741.1318</c:v>
                </c:pt>
                <c:pt idx="943">
                  <c:v>734.43769999999995</c:v>
                </c:pt>
                <c:pt idx="944">
                  <c:v>745.91330000000005</c:v>
                </c:pt>
                <c:pt idx="945">
                  <c:v>738.26289999999995</c:v>
                </c:pt>
                <c:pt idx="946">
                  <c:v>730.61249999999995</c:v>
                </c:pt>
                <c:pt idx="947">
                  <c:v>714.35550000000001</c:v>
                </c:pt>
                <c:pt idx="948">
                  <c:v>715.31179999999995</c:v>
                </c:pt>
                <c:pt idx="949">
                  <c:v>715.31179999999995</c:v>
                </c:pt>
                <c:pt idx="950">
                  <c:v>726.78740000000005</c:v>
                </c:pt>
                <c:pt idx="951">
                  <c:v>703.83619999999996</c:v>
                </c:pt>
                <c:pt idx="952">
                  <c:v>709.57399999999996</c:v>
                </c:pt>
                <c:pt idx="953">
                  <c:v>712.44290000000001</c:v>
                </c:pt>
                <c:pt idx="954">
                  <c:v>700.01099999999997</c:v>
                </c:pt>
                <c:pt idx="955">
                  <c:v>684.71019999999999</c:v>
                </c:pt>
                <c:pt idx="956">
                  <c:v>694.27319999999997</c:v>
                </c:pt>
                <c:pt idx="957">
                  <c:v>694.27319999999997</c:v>
                </c:pt>
                <c:pt idx="958">
                  <c:v>696.18579999999997</c:v>
                </c:pt>
                <c:pt idx="959">
                  <c:v>700.96730000000002</c:v>
                </c:pt>
                <c:pt idx="960">
                  <c:v>710.53030000000001</c:v>
                </c:pt>
                <c:pt idx="961">
                  <c:v>681.84130000000005</c:v>
                </c:pt>
                <c:pt idx="962">
                  <c:v>694.27319999999997</c:v>
                </c:pt>
                <c:pt idx="963">
                  <c:v>706.70510000000002</c:v>
                </c:pt>
                <c:pt idx="964">
                  <c:v>715.31179999999995</c:v>
                </c:pt>
                <c:pt idx="965">
                  <c:v>719.13699999999994</c:v>
                </c:pt>
                <c:pt idx="966">
                  <c:v>719.13699999999994</c:v>
                </c:pt>
                <c:pt idx="967">
                  <c:v>728.82629999999995</c:v>
                </c:pt>
                <c:pt idx="968">
                  <c:v>727.88099999999997</c:v>
                </c:pt>
                <c:pt idx="969">
                  <c:v>725.04499999999996</c:v>
                </c:pt>
                <c:pt idx="970">
                  <c:v>720.31859999999995</c:v>
                </c:pt>
                <c:pt idx="971">
                  <c:v>713.70150000000001</c:v>
                </c:pt>
                <c:pt idx="972">
                  <c:v>718.428</c:v>
                </c:pt>
                <c:pt idx="973">
                  <c:v>710.86559999999997</c:v>
                </c:pt>
                <c:pt idx="974">
                  <c:v>704.24850000000004</c:v>
                </c:pt>
                <c:pt idx="975">
                  <c:v>708.97500000000002</c:v>
                </c:pt>
                <c:pt idx="976">
                  <c:v>725.04499999999996</c:v>
                </c:pt>
                <c:pt idx="977">
                  <c:v>721.26390000000004</c:v>
                </c:pt>
                <c:pt idx="978">
                  <c:v>721.26390000000004</c:v>
                </c:pt>
                <c:pt idx="979">
                  <c:v>716.53740000000005</c:v>
                </c:pt>
                <c:pt idx="980">
                  <c:v>716.53740000000005</c:v>
                </c:pt>
                <c:pt idx="981">
                  <c:v>720.31859999999995</c:v>
                </c:pt>
                <c:pt idx="982">
                  <c:v>725.04499999999996</c:v>
                </c:pt>
                <c:pt idx="983">
                  <c:v>729.77149999999995</c:v>
                </c:pt>
                <c:pt idx="984">
                  <c:v>745.84169999999995</c:v>
                </c:pt>
                <c:pt idx="985">
                  <c:v>689.12369999999999</c:v>
                </c:pt>
                <c:pt idx="986">
                  <c:v>685.34249999999997</c:v>
                </c:pt>
                <c:pt idx="987">
                  <c:v>690.06899999999996</c:v>
                </c:pt>
                <c:pt idx="988">
                  <c:v>695.74080000000004</c:v>
                </c:pt>
                <c:pt idx="989">
                  <c:v>694.79549999999995</c:v>
                </c:pt>
                <c:pt idx="990">
                  <c:v>694.79549999999995</c:v>
                </c:pt>
                <c:pt idx="991">
                  <c:v>699.52200000000005</c:v>
                </c:pt>
                <c:pt idx="992">
                  <c:v>708.02970000000005</c:v>
                </c:pt>
                <c:pt idx="993">
                  <c:v>701.4126</c:v>
                </c:pt>
                <c:pt idx="994">
                  <c:v>702.3578</c:v>
                </c:pt>
                <c:pt idx="995">
                  <c:v>682.50660000000005</c:v>
                </c:pt>
                <c:pt idx="996">
                  <c:v>689.12369999999999</c:v>
                </c:pt>
                <c:pt idx="997">
                  <c:v>699.52200000000005</c:v>
                </c:pt>
                <c:pt idx="998">
                  <c:v>699.52200000000005</c:v>
                </c:pt>
                <c:pt idx="999">
                  <c:v>690.06899999999996</c:v>
                </c:pt>
                <c:pt idx="1000">
                  <c:v>698.57669999999996</c:v>
                </c:pt>
                <c:pt idx="1001">
                  <c:v>693.85019999999997</c:v>
                </c:pt>
                <c:pt idx="1002">
                  <c:v>703.30319999999995</c:v>
                </c:pt>
                <c:pt idx="1003">
                  <c:v>718.428</c:v>
                </c:pt>
                <c:pt idx="1004">
                  <c:v>711.81089999999995</c:v>
                </c:pt>
                <c:pt idx="1005">
                  <c:v>708.02970000000005</c:v>
                </c:pt>
                <c:pt idx="1006">
                  <c:v>702.3578</c:v>
                </c:pt>
                <c:pt idx="1007">
                  <c:v>695.74080000000004</c:v>
                </c:pt>
                <c:pt idx="1008">
                  <c:v>695.74080000000004</c:v>
                </c:pt>
                <c:pt idx="1009">
                  <c:v>686.28779999999995</c:v>
                </c:pt>
                <c:pt idx="1010">
                  <c:v>674.94420000000002</c:v>
                </c:pt>
                <c:pt idx="1011">
                  <c:v>678.72540000000004</c:v>
                </c:pt>
                <c:pt idx="1012">
                  <c:v>656.98350000000005</c:v>
                </c:pt>
                <c:pt idx="1013">
                  <c:v>656.98350000000005</c:v>
                </c:pt>
                <c:pt idx="1014">
                  <c:v>656.98350000000005</c:v>
                </c:pt>
                <c:pt idx="1015">
                  <c:v>663.60059999999999</c:v>
                </c:pt>
                <c:pt idx="1016">
                  <c:v>658.8741</c:v>
                </c:pt>
                <c:pt idx="1017">
                  <c:v>672.10829999999999</c:v>
                </c:pt>
                <c:pt idx="1018">
                  <c:v>687.23310000000004</c:v>
                </c:pt>
                <c:pt idx="1019">
                  <c:v>673.05359999999996</c:v>
                </c:pt>
                <c:pt idx="1020">
                  <c:v>659.81939999999997</c:v>
                </c:pt>
                <c:pt idx="1021">
                  <c:v>659.81939999999997</c:v>
                </c:pt>
                <c:pt idx="1022">
                  <c:v>656.03809999999999</c:v>
                </c:pt>
                <c:pt idx="1023">
                  <c:v>640.91340000000002</c:v>
                </c:pt>
                <c:pt idx="1024">
                  <c:v>624.8433</c:v>
                </c:pt>
                <c:pt idx="1025">
                  <c:v>620.11680000000001</c:v>
                </c:pt>
                <c:pt idx="1026">
                  <c:v>604.99199999999996</c:v>
                </c:pt>
                <c:pt idx="1027">
                  <c:v>609.71849999999995</c:v>
                </c:pt>
                <c:pt idx="1028">
                  <c:v>619.17139999999995</c:v>
                </c:pt>
                <c:pt idx="1029">
                  <c:v>609.71849999999995</c:v>
                </c:pt>
                <c:pt idx="1030">
                  <c:v>598.37490000000003</c:v>
                </c:pt>
                <c:pt idx="1031">
                  <c:v>601.21080000000006</c:v>
                </c:pt>
                <c:pt idx="1032">
                  <c:v>614.44500000000005</c:v>
                </c:pt>
                <c:pt idx="1033">
                  <c:v>617.28089999999997</c:v>
                </c:pt>
                <c:pt idx="1034">
                  <c:v>613.49969999999996</c:v>
                </c:pt>
                <c:pt idx="1035">
                  <c:v>604.04669999999999</c:v>
                </c:pt>
                <c:pt idx="1036">
                  <c:v>613.49969999999996</c:v>
                </c:pt>
                <c:pt idx="1037">
                  <c:v>593.64840000000004</c:v>
                </c:pt>
                <c:pt idx="1038">
                  <c:v>612.55439999999999</c:v>
                </c:pt>
                <c:pt idx="1039">
                  <c:v>625.78859999999997</c:v>
                </c:pt>
                <c:pt idx="1040">
                  <c:v>632.40570000000002</c:v>
                </c:pt>
                <c:pt idx="1041">
                  <c:v>627.67920000000004</c:v>
                </c:pt>
                <c:pt idx="1042">
                  <c:v>622.95270000000005</c:v>
                </c:pt>
                <c:pt idx="1043">
                  <c:v>630.51509999999996</c:v>
                </c:pt>
                <c:pt idx="1044">
                  <c:v>636.18690000000004</c:v>
                </c:pt>
                <c:pt idx="1045">
                  <c:v>631.46040000000005</c:v>
                </c:pt>
                <c:pt idx="1046">
                  <c:v>628.62450000000001</c:v>
                </c:pt>
                <c:pt idx="1047">
                  <c:v>640.91340000000002</c:v>
                </c:pt>
                <c:pt idx="1048">
                  <c:v>648.47580000000005</c:v>
                </c:pt>
                <c:pt idx="1049">
                  <c:v>638.07749999999999</c:v>
                </c:pt>
                <c:pt idx="1050">
                  <c:v>639.02279999999996</c:v>
                </c:pt>
                <c:pt idx="1051">
                  <c:v>639.02279999999996</c:v>
                </c:pt>
                <c:pt idx="1052">
                  <c:v>641.8587</c:v>
                </c:pt>
                <c:pt idx="1053">
                  <c:v>649.42110000000002</c:v>
                </c:pt>
                <c:pt idx="1054">
                  <c:v>666.43650000000002</c:v>
                </c:pt>
                <c:pt idx="1055">
                  <c:v>656.03809999999999</c:v>
                </c:pt>
                <c:pt idx="1056">
                  <c:v>667.3818</c:v>
                </c:pt>
                <c:pt idx="1057">
                  <c:v>677.78009999999995</c:v>
                </c:pt>
                <c:pt idx="1058">
                  <c:v>675.8895</c:v>
                </c:pt>
                <c:pt idx="1059">
                  <c:v>663.60059999999999</c:v>
                </c:pt>
                <c:pt idx="1060">
                  <c:v>663.60059999999999</c:v>
                </c:pt>
                <c:pt idx="1061">
                  <c:v>659.81939999999997</c:v>
                </c:pt>
                <c:pt idx="1062">
                  <c:v>656.98350000000005</c:v>
                </c:pt>
                <c:pt idx="1063">
                  <c:v>659.81939999999997</c:v>
                </c:pt>
                <c:pt idx="1064">
                  <c:v>657.92880000000002</c:v>
                </c:pt>
                <c:pt idx="1065">
                  <c:v>664.54589999999996</c:v>
                </c:pt>
                <c:pt idx="1066">
                  <c:v>688.17830000000004</c:v>
                </c:pt>
                <c:pt idx="1067">
                  <c:v>692.90480000000002</c:v>
                </c:pt>
                <c:pt idx="1068">
                  <c:v>668.32709999999997</c:v>
                </c:pt>
                <c:pt idx="1069">
                  <c:v>663.60059999999999</c:v>
                </c:pt>
                <c:pt idx="1070">
                  <c:v>672.10829999999999</c:v>
                </c:pt>
                <c:pt idx="1071">
                  <c:v>666.43650000000002</c:v>
                </c:pt>
                <c:pt idx="1072">
                  <c:v>671.16300000000001</c:v>
                </c:pt>
                <c:pt idx="1073">
                  <c:v>693.85019999999997</c:v>
                </c:pt>
                <c:pt idx="1074">
                  <c:v>660.76459999999997</c:v>
                </c:pt>
                <c:pt idx="1075">
                  <c:v>660.76459999999997</c:v>
                </c:pt>
                <c:pt idx="1076">
                  <c:v>654.14760000000001</c:v>
                </c:pt>
                <c:pt idx="1077">
                  <c:v>656.03809999999999</c:v>
                </c:pt>
                <c:pt idx="1078">
                  <c:v>655.09289999999999</c:v>
                </c:pt>
                <c:pt idx="1079">
                  <c:v>656.03809999999999</c:v>
                </c:pt>
                <c:pt idx="1080">
                  <c:v>649.42110000000002</c:v>
                </c:pt>
                <c:pt idx="1081">
                  <c:v>648.47580000000005</c:v>
                </c:pt>
                <c:pt idx="1082">
                  <c:v>636.18690000000004</c:v>
                </c:pt>
                <c:pt idx="1083">
                  <c:v>643.74929999999995</c:v>
                </c:pt>
                <c:pt idx="1084">
                  <c:v>642.80399999999997</c:v>
                </c:pt>
                <c:pt idx="1085">
                  <c:v>640.91340000000002</c:v>
                </c:pt>
                <c:pt idx="1086">
                  <c:v>638.07749999999999</c:v>
                </c:pt>
                <c:pt idx="1087">
                  <c:v>632.40570000000002</c:v>
                </c:pt>
                <c:pt idx="1088">
                  <c:v>654.14760000000001</c:v>
                </c:pt>
                <c:pt idx="1089">
                  <c:v>645.63990000000001</c:v>
                </c:pt>
                <c:pt idx="1090">
                  <c:v>640.38160000000005</c:v>
                </c:pt>
                <c:pt idx="1091">
                  <c:v>618.78520000000003</c:v>
                </c:pt>
                <c:pt idx="1092">
                  <c:v>619.72410000000002</c:v>
                </c:pt>
                <c:pt idx="1093">
                  <c:v>635.68669999999997</c:v>
                </c:pt>
                <c:pt idx="1094">
                  <c:v>624.41899999999998</c:v>
                </c:pt>
                <c:pt idx="1095">
                  <c:v>638.50369999999998</c:v>
                </c:pt>
                <c:pt idx="1096">
                  <c:v>640.38160000000005</c:v>
                </c:pt>
                <c:pt idx="1097">
                  <c:v>632.86980000000005</c:v>
                </c:pt>
                <c:pt idx="1098">
                  <c:v>626.29700000000003</c:v>
                </c:pt>
                <c:pt idx="1099">
                  <c:v>610.33439999999996</c:v>
                </c:pt>
                <c:pt idx="1100">
                  <c:v>632.86980000000005</c:v>
                </c:pt>
                <c:pt idx="1101">
                  <c:v>634.74770000000001</c:v>
                </c:pt>
                <c:pt idx="1102">
                  <c:v>631.93079999999998</c:v>
                </c:pt>
                <c:pt idx="1103">
                  <c:v>613.15129999999999</c:v>
                </c:pt>
                <c:pt idx="1104">
                  <c:v>621.60209999999995</c:v>
                </c:pt>
                <c:pt idx="1105">
                  <c:v>609.3954</c:v>
                </c:pt>
                <c:pt idx="1106">
                  <c:v>604.70049999999992</c:v>
                </c:pt>
                <c:pt idx="1107">
                  <c:v>591.55489999999998</c:v>
                </c:pt>
                <c:pt idx="1108">
                  <c:v>589.67690000000005</c:v>
                </c:pt>
                <c:pt idx="1109">
                  <c:v>575.59230000000002</c:v>
                </c:pt>
                <c:pt idx="1110">
                  <c:v>574.65330000000006</c:v>
                </c:pt>
                <c:pt idx="1111">
                  <c:v>569.01940000000002</c:v>
                </c:pt>
                <c:pt idx="1112">
                  <c:v>566.20249999999999</c:v>
                </c:pt>
                <c:pt idx="1113">
                  <c:v>563.38559999999995</c:v>
                </c:pt>
                <c:pt idx="1114">
                  <c:v>562.44659999999999</c:v>
                </c:pt>
                <c:pt idx="1115">
                  <c:v>561.50760000000002</c:v>
                </c:pt>
                <c:pt idx="1116">
                  <c:v>569.01940000000002</c:v>
                </c:pt>
                <c:pt idx="1117">
                  <c:v>571.83640000000003</c:v>
                </c:pt>
                <c:pt idx="1118">
                  <c:v>585.92100000000005</c:v>
                </c:pt>
                <c:pt idx="1119">
                  <c:v>557.75170000000003</c:v>
                </c:pt>
                <c:pt idx="1120">
                  <c:v>567.14149999999995</c:v>
                </c:pt>
                <c:pt idx="1121">
                  <c:v>553.05690000000004</c:v>
                </c:pt>
                <c:pt idx="1122">
                  <c:v>549.30089999999996</c:v>
                </c:pt>
                <c:pt idx="1123">
                  <c:v>564.32459999999992</c:v>
                </c:pt>
                <c:pt idx="1124">
                  <c:v>567.14149999999995</c:v>
                </c:pt>
                <c:pt idx="1125">
                  <c:v>559.62969999999996</c:v>
                </c:pt>
                <c:pt idx="1126">
                  <c:v>554.9348</c:v>
                </c:pt>
                <c:pt idx="1127">
                  <c:v>557.75170000000003</c:v>
                </c:pt>
                <c:pt idx="1128">
                  <c:v>564.32459999999992</c:v>
                </c:pt>
                <c:pt idx="1129">
                  <c:v>573.71429999999998</c:v>
                </c:pt>
                <c:pt idx="1130">
                  <c:v>563.38559999999995</c:v>
                </c:pt>
                <c:pt idx="1131">
                  <c:v>569.95839999999998</c:v>
                </c:pt>
                <c:pt idx="1132">
                  <c:v>563.38559999999995</c:v>
                </c:pt>
                <c:pt idx="1133">
                  <c:v>554.9348</c:v>
                </c:pt>
                <c:pt idx="1134">
                  <c:v>553.99579999999992</c:v>
                </c:pt>
                <c:pt idx="1135">
                  <c:v>560.56869999999992</c:v>
                </c:pt>
                <c:pt idx="1136">
                  <c:v>570.89740000000006</c:v>
                </c:pt>
                <c:pt idx="1137">
                  <c:v>570.89740000000006</c:v>
                </c:pt>
                <c:pt idx="1138">
                  <c:v>570.89740000000006</c:v>
                </c:pt>
                <c:pt idx="1139">
                  <c:v>561.50760000000002</c:v>
                </c:pt>
                <c:pt idx="1140">
                  <c:v>563.38559999999995</c:v>
                </c:pt>
                <c:pt idx="1141">
                  <c:v>567.14149999999995</c:v>
                </c:pt>
                <c:pt idx="1142">
                  <c:v>559.62969999999996</c:v>
                </c:pt>
                <c:pt idx="1143">
                  <c:v>568.08049999999992</c:v>
                </c:pt>
                <c:pt idx="1144">
                  <c:v>568.08049999999992</c:v>
                </c:pt>
                <c:pt idx="1145">
                  <c:v>568.08049999999992</c:v>
                </c:pt>
                <c:pt idx="1146">
                  <c:v>575.59230000000002</c:v>
                </c:pt>
                <c:pt idx="1147">
                  <c:v>563.38559999999995</c:v>
                </c:pt>
                <c:pt idx="1148">
                  <c:v>575.59230000000002</c:v>
                </c:pt>
                <c:pt idx="1149">
                  <c:v>575.59230000000002</c:v>
                </c:pt>
                <c:pt idx="1150">
                  <c:v>576.53120000000001</c:v>
                </c:pt>
                <c:pt idx="1151">
                  <c:v>568.08049999999992</c:v>
                </c:pt>
                <c:pt idx="1152">
                  <c:v>569.95839999999998</c:v>
                </c:pt>
                <c:pt idx="1153">
                  <c:v>577.47019999999998</c:v>
                </c:pt>
                <c:pt idx="1154">
                  <c:v>563.38559999999995</c:v>
                </c:pt>
                <c:pt idx="1155">
                  <c:v>563.38559999999995</c:v>
                </c:pt>
                <c:pt idx="1156">
                  <c:v>574.65330000000006</c:v>
                </c:pt>
                <c:pt idx="1157">
                  <c:v>570.89740000000006</c:v>
                </c:pt>
                <c:pt idx="1158">
                  <c:v>573.71429999999998</c:v>
                </c:pt>
                <c:pt idx="1159">
                  <c:v>584.98199999999997</c:v>
                </c:pt>
                <c:pt idx="1160">
                  <c:v>572.77530000000002</c:v>
                </c:pt>
                <c:pt idx="1161">
                  <c:v>591.55489999999998</c:v>
                </c:pt>
                <c:pt idx="1162">
                  <c:v>598.1277</c:v>
                </c:pt>
                <c:pt idx="1163">
                  <c:v>602.82259999999997</c:v>
                </c:pt>
                <c:pt idx="1164">
                  <c:v>601.8836</c:v>
                </c:pt>
                <c:pt idx="1165">
                  <c:v>600.00559999999996</c:v>
                </c:pt>
                <c:pt idx="1166">
                  <c:v>624.41899999999998</c:v>
                </c:pt>
                <c:pt idx="1167">
                  <c:v>626.29700000000003</c:v>
                </c:pt>
                <c:pt idx="1168">
                  <c:v>619.72410000000002</c:v>
                </c:pt>
                <c:pt idx="1169">
                  <c:v>617.84619999999995</c:v>
                </c:pt>
                <c:pt idx="1170">
                  <c:v>598.1277</c:v>
                </c:pt>
                <c:pt idx="1171">
                  <c:v>586.86</c:v>
                </c:pt>
                <c:pt idx="1172">
                  <c:v>584.98199999999997</c:v>
                </c:pt>
                <c:pt idx="1173">
                  <c:v>572.77530000000002</c:v>
                </c:pt>
                <c:pt idx="1174">
                  <c:v>579.34820000000002</c:v>
                </c:pt>
                <c:pt idx="1175">
                  <c:v>572.77530000000002</c:v>
                </c:pt>
                <c:pt idx="1176">
                  <c:v>574.65330000000006</c:v>
                </c:pt>
                <c:pt idx="1177">
                  <c:v>568.08049999999992</c:v>
                </c:pt>
                <c:pt idx="1178">
                  <c:v>584.04309999999998</c:v>
                </c:pt>
                <c:pt idx="1179">
                  <c:v>576.53120000000001</c:v>
                </c:pt>
                <c:pt idx="1180">
                  <c:v>580.28710000000001</c:v>
                </c:pt>
                <c:pt idx="1181">
                  <c:v>585.92100000000005</c:v>
                </c:pt>
                <c:pt idx="1182">
                  <c:v>596.24969999999996</c:v>
                </c:pt>
                <c:pt idx="1183">
                  <c:v>607.51749999999993</c:v>
                </c:pt>
                <c:pt idx="1184">
                  <c:v>601.8836</c:v>
                </c:pt>
                <c:pt idx="1185">
                  <c:v>612.21230000000003</c:v>
                </c:pt>
                <c:pt idx="1186">
                  <c:v>609.3954</c:v>
                </c:pt>
                <c:pt idx="1187">
                  <c:v>621.60209999999995</c:v>
                </c:pt>
                <c:pt idx="1188">
                  <c:v>599.06669999999997</c:v>
                </c:pt>
                <c:pt idx="1189">
                  <c:v>591.55489999999998</c:v>
                </c:pt>
                <c:pt idx="1190">
                  <c:v>589.67690000000005</c:v>
                </c:pt>
                <c:pt idx="1191">
                  <c:v>587.79899999999998</c:v>
                </c:pt>
                <c:pt idx="1192">
                  <c:v>596.24969999999996</c:v>
                </c:pt>
                <c:pt idx="1193">
                  <c:v>587.79899999999998</c:v>
                </c:pt>
                <c:pt idx="1194">
                  <c:v>596.24969999999996</c:v>
                </c:pt>
                <c:pt idx="1195">
                  <c:v>600.94459999999992</c:v>
                </c:pt>
                <c:pt idx="1196">
                  <c:v>609.3954</c:v>
                </c:pt>
                <c:pt idx="1197">
                  <c:v>582.16510000000005</c:v>
                </c:pt>
                <c:pt idx="1198">
                  <c:v>583.10410000000002</c:v>
                </c:pt>
                <c:pt idx="1199">
                  <c:v>579.34820000000002</c:v>
                </c:pt>
                <c:pt idx="1200">
                  <c:v>584.04309999999998</c:v>
                </c:pt>
                <c:pt idx="1201">
                  <c:v>597.18869999999993</c:v>
                </c:pt>
                <c:pt idx="1202">
                  <c:v>578.40920000000006</c:v>
                </c:pt>
                <c:pt idx="1203">
                  <c:v>591.55489999999998</c:v>
                </c:pt>
                <c:pt idx="1204">
                  <c:v>602.82259999999997</c:v>
                </c:pt>
                <c:pt idx="1205">
                  <c:v>629.11389999999994</c:v>
                </c:pt>
                <c:pt idx="1206">
                  <c:v>633.80880000000002</c:v>
                </c:pt>
                <c:pt idx="1207">
                  <c:v>626.29700000000003</c:v>
                </c:pt>
                <c:pt idx="1208">
                  <c:v>615.02919999999995</c:v>
                </c:pt>
                <c:pt idx="1209">
                  <c:v>619.72410000000002</c:v>
                </c:pt>
                <c:pt idx="1210">
                  <c:v>610.33439999999996</c:v>
                </c:pt>
                <c:pt idx="1211">
                  <c:v>584.04309999999998</c:v>
                </c:pt>
                <c:pt idx="1212">
                  <c:v>581.22609999999997</c:v>
                </c:pt>
                <c:pt idx="1213">
                  <c:v>579.34820000000002</c:v>
                </c:pt>
                <c:pt idx="1214">
                  <c:v>605.6395</c:v>
                </c:pt>
                <c:pt idx="1215">
                  <c:v>605.6395</c:v>
                </c:pt>
                <c:pt idx="1216">
                  <c:v>608.45639999999992</c:v>
                </c:pt>
                <c:pt idx="1217">
                  <c:v>620.66309999999999</c:v>
                </c:pt>
                <c:pt idx="1218">
                  <c:v>605.6395</c:v>
                </c:pt>
                <c:pt idx="1219">
                  <c:v>607.51749999999993</c:v>
                </c:pt>
                <c:pt idx="1220">
                  <c:v>594.37180000000001</c:v>
                </c:pt>
                <c:pt idx="1221">
                  <c:v>592.49379999999996</c:v>
                </c:pt>
                <c:pt idx="1222">
                  <c:v>599.06669999999997</c:v>
                </c:pt>
                <c:pt idx="1223">
                  <c:v>589.67690000000005</c:v>
                </c:pt>
                <c:pt idx="1224">
                  <c:v>586.86</c:v>
                </c:pt>
                <c:pt idx="1225">
                  <c:v>577.47019999999998</c:v>
                </c:pt>
                <c:pt idx="1226">
                  <c:v>564.32459999999992</c:v>
                </c:pt>
                <c:pt idx="1227">
                  <c:v>559.62969999999996</c:v>
                </c:pt>
                <c:pt idx="1228">
                  <c:v>553.99579999999992</c:v>
                </c:pt>
                <c:pt idx="1229">
                  <c:v>553.99579999999992</c:v>
                </c:pt>
                <c:pt idx="1230">
                  <c:v>538.97220000000004</c:v>
                </c:pt>
                <c:pt idx="1231">
                  <c:v>525.82650000000001</c:v>
                </c:pt>
                <c:pt idx="1232">
                  <c:v>503.29109999999997</c:v>
                </c:pt>
                <c:pt idx="1233">
                  <c:v>518.31470000000002</c:v>
                </c:pt>
                <c:pt idx="1234">
                  <c:v>522.07060000000001</c:v>
                </c:pt>
                <c:pt idx="1235">
                  <c:v>523.00959999999998</c:v>
                </c:pt>
                <c:pt idx="1236">
                  <c:v>525.82650000000001</c:v>
                </c:pt>
                <c:pt idx="1237">
                  <c:v>524.88760000000002</c:v>
                </c:pt>
                <c:pt idx="1238">
                  <c:v>535.21630000000005</c:v>
                </c:pt>
                <c:pt idx="1239">
                  <c:v>529.58249999999998</c:v>
                </c:pt>
                <c:pt idx="1240">
                  <c:v>535.21630000000005</c:v>
                </c:pt>
                <c:pt idx="1241">
                  <c:v>541.78909999999996</c:v>
                </c:pt>
                <c:pt idx="1242">
                  <c:v>538.03319999999997</c:v>
                </c:pt>
                <c:pt idx="1243">
                  <c:v>518.31470000000002</c:v>
                </c:pt>
                <c:pt idx="1244">
                  <c:v>529.58249999999998</c:v>
                </c:pt>
                <c:pt idx="1245">
                  <c:v>527.70450000000005</c:v>
                </c:pt>
                <c:pt idx="1246">
                  <c:v>509.86399999999998</c:v>
                </c:pt>
                <c:pt idx="1247">
                  <c:v>504.23009999999999</c:v>
                </c:pt>
                <c:pt idx="1248">
                  <c:v>498.59629999999999</c:v>
                </c:pt>
                <c:pt idx="1249">
                  <c:v>507.98599999999999</c:v>
                </c:pt>
                <c:pt idx="1250">
                  <c:v>516.43679999999995</c:v>
                </c:pt>
                <c:pt idx="1251">
                  <c:v>507.04700000000003</c:v>
                </c:pt>
                <c:pt idx="1252">
                  <c:v>502.35209999999995</c:v>
                </c:pt>
                <c:pt idx="1253">
                  <c:v>515.49779999999998</c:v>
                </c:pt>
                <c:pt idx="1254">
                  <c:v>510.80290000000002</c:v>
                </c:pt>
                <c:pt idx="1255">
                  <c:v>492.96240000000006</c:v>
                </c:pt>
                <c:pt idx="1256">
                  <c:v>491.08440000000002</c:v>
                </c:pt>
                <c:pt idx="1257">
                  <c:v>443.19670000000002</c:v>
                </c:pt>
                <c:pt idx="1258">
                  <c:v>423.00869999999992</c:v>
                </c:pt>
                <c:pt idx="1259">
                  <c:v>444.60509999999999</c:v>
                </c:pt>
                <c:pt idx="1260">
                  <c:v>446.01360000000005</c:v>
                </c:pt>
                <c:pt idx="1261">
                  <c:v>449.0652</c:v>
                </c:pt>
                <c:pt idx="1262">
                  <c:v>439.91019999999992</c:v>
                </c:pt>
                <c:pt idx="1263">
                  <c:v>456.57709999999997</c:v>
                </c:pt>
                <c:pt idx="1264">
                  <c:v>501.41320000000002</c:v>
                </c:pt>
                <c:pt idx="1265">
                  <c:v>515.96730000000002</c:v>
                </c:pt>
                <c:pt idx="1266">
                  <c:v>502.82159999999993</c:v>
                </c:pt>
                <c:pt idx="1267">
                  <c:v>543.19760000000008</c:v>
                </c:pt>
                <c:pt idx="1268">
                  <c:v>536.15530000000001</c:v>
                </c:pt>
                <c:pt idx="1269">
                  <c:v>539.91120000000001</c:v>
                </c:pt>
                <c:pt idx="1270">
                  <c:v>620.66309999999999</c:v>
                </c:pt>
                <c:pt idx="1271">
                  <c:v>609.3954</c:v>
                </c:pt>
                <c:pt idx="1272">
                  <c:v>616.90719999999999</c:v>
                </c:pt>
                <c:pt idx="1273">
                  <c:v>617.37670000000003</c:v>
                </c:pt>
                <c:pt idx="1274">
                  <c:v>619.72410000000002</c:v>
                </c:pt>
                <c:pt idx="1275">
                  <c:v>636.15620000000001</c:v>
                </c:pt>
                <c:pt idx="1276">
                  <c:v>615.02919999999995</c:v>
                </c:pt>
                <c:pt idx="1277">
                  <c:v>589.67690000000005</c:v>
                </c:pt>
                <c:pt idx="1278">
                  <c:v>611.74279999999999</c:v>
                </c:pt>
                <c:pt idx="1279">
                  <c:v>640.38160000000005</c:v>
                </c:pt>
                <c:pt idx="1280">
                  <c:v>676.06269999999995</c:v>
                </c:pt>
                <c:pt idx="1281">
                  <c:v>646.0154</c:v>
                </c:pt>
                <c:pt idx="1282">
                  <c:v>623.94949999999994</c:v>
                </c:pt>
                <c:pt idx="1283">
                  <c:v>627.70540000000005</c:v>
                </c:pt>
                <c:pt idx="1284">
                  <c:v>642.25959999999998</c:v>
                </c:pt>
                <c:pt idx="1285">
                  <c:v>676.53219999999999</c:v>
                </c:pt>
                <c:pt idx="1286">
                  <c:v>685.92190000000005</c:v>
                </c:pt>
                <c:pt idx="1287">
                  <c:v>680.28809999999999</c:v>
                </c:pt>
                <c:pt idx="1288">
                  <c:v>684.98299999999995</c:v>
                </c:pt>
                <c:pt idx="1289">
                  <c:v>687.79989999999998</c:v>
                </c:pt>
                <c:pt idx="1290">
                  <c:v>693.90329999999994</c:v>
                </c:pt>
                <c:pt idx="1291">
                  <c:v>688.26940000000002</c:v>
                </c:pt>
                <c:pt idx="1292">
                  <c:v>679.81859999999995</c:v>
                </c:pt>
                <c:pt idx="1293">
                  <c:v>678.87959999999998</c:v>
                </c:pt>
                <c:pt idx="1294">
                  <c:v>683.10500000000002</c:v>
                </c:pt>
                <c:pt idx="1295">
                  <c:v>692.02530000000002</c:v>
                </c:pt>
                <c:pt idx="1296">
                  <c:v>684.98299999999995</c:v>
                </c:pt>
                <c:pt idx="1297">
                  <c:v>664.32550000000003</c:v>
                </c:pt>
                <c:pt idx="1298">
                  <c:v>668.08140000000003</c:v>
                </c:pt>
                <c:pt idx="1299">
                  <c:v>677.47119999999995</c:v>
                </c:pt>
                <c:pt idx="1300">
                  <c:v>680.75760000000002</c:v>
                </c:pt>
                <c:pt idx="1301">
                  <c:v>680.75760000000002</c:v>
                </c:pt>
                <c:pt idx="1302">
                  <c:v>663.38649999999996</c:v>
                </c:pt>
                <c:pt idx="1303">
                  <c:v>667.14250000000004</c:v>
                </c:pt>
                <c:pt idx="1304">
                  <c:v>680.75760000000002</c:v>
                </c:pt>
                <c:pt idx="1305">
                  <c:v>687.33040000000005</c:v>
                </c:pt>
                <c:pt idx="1306">
                  <c:v>685.45249999999999</c:v>
                </c:pt>
                <c:pt idx="1307">
                  <c:v>688.26940000000002</c:v>
                </c:pt>
                <c:pt idx="1308">
                  <c:v>695.78120000000001</c:v>
                </c:pt>
                <c:pt idx="1309">
                  <c:v>665.73389999999995</c:v>
                </c:pt>
                <c:pt idx="1310">
                  <c:v>669.0204</c:v>
                </c:pt>
                <c:pt idx="1311">
                  <c:v>671.36779999999999</c:v>
                </c:pt>
                <c:pt idx="1312">
                  <c:v>678.87959999999998</c:v>
                </c:pt>
                <c:pt idx="1313">
                  <c:v>676.06269999999995</c:v>
                </c:pt>
                <c:pt idx="1314">
                  <c:v>680.75760000000002</c:v>
                </c:pt>
                <c:pt idx="1315">
                  <c:v>680.75760000000002</c:v>
                </c:pt>
                <c:pt idx="1316">
                  <c:v>682.63559999999995</c:v>
                </c:pt>
                <c:pt idx="1317">
                  <c:v>689.67790000000002</c:v>
                </c:pt>
                <c:pt idx="1318">
                  <c:v>677.47119999999995</c:v>
                </c:pt>
                <c:pt idx="1319">
                  <c:v>681.22709999999995</c:v>
                </c:pt>
                <c:pt idx="1320">
                  <c:v>681.22709999999995</c:v>
                </c:pt>
                <c:pt idx="1321">
                  <c:v>696.72019999999998</c:v>
                </c:pt>
                <c:pt idx="1322">
                  <c:v>685.45249999999999</c:v>
                </c:pt>
                <c:pt idx="1323">
                  <c:v>697.18960000000004</c:v>
                </c:pt>
                <c:pt idx="1324">
                  <c:v>701.8845</c:v>
                </c:pt>
                <c:pt idx="1325">
                  <c:v>691.55579999999998</c:v>
                </c:pt>
                <c:pt idx="1326">
                  <c:v>699.06759999999997</c:v>
                </c:pt>
                <c:pt idx="1327">
                  <c:v>707.0489</c:v>
                </c:pt>
                <c:pt idx="1328">
                  <c:v>704.23199999999997</c:v>
                </c:pt>
                <c:pt idx="1329">
                  <c:v>708.92690000000005</c:v>
                </c:pt>
                <c:pt idx="1330">
                  <c:v>704.23199999999997</c:v>
                </c:pt>
                <c:pt idx="1331">
                  <c:v>700.47609999999997</c:v>
                </c:pt>
                <c:pt idx="1332">
                  <c:v>702.35400000000004</c:v>
                </c:pt>
                <c:pt idx="1333">
                  <c:v>701.8845</c:v>
                </c:pt>
                <c:pt idx="1334">
                  <c:v>706.57939999999996</c:v>
                </c:pt>
                <c:pt idx="1335">
                  <c:v>698.12869999999998</c:v>
                </c:pt>
                <c:pt idx="1336">
                  <c:v>633.80880000000002</c:v>
                </c:pt>
                <c:pt idx="1337">
                  <c:v>631.46140000000003</c:v>
                </c:pt>
                <c:pt idx="1338">
                  <c:v>631.46140000000003</c:v>
                </c:pt>
                <c:pt idx="1339">
                  <c:v>629.11389999999994</c:v>
                </c:pt>
                <c:pt idx="1340">
                  <c:v>620.19359999999995</c:v>
                </c:pt>
                <c:pt idx="1341">
                  <c:v>634.27829999999994</c:v>
                </c:pt>
                <c:pt idx="1342">
                  <c:v>624.41899999999998</c:v>
                </c:pt>
                <c:pt idx="1343">
                  <c:v>621.60209999999995</c:v>
                </c:pt>
                <c:pt idx="1344">
                  <c:v>632.86980000000005</c:v>
                </c:pt>
                <c:pt idx="1345">
                  <c:v>638.03420000000006</c:v>
                </c:pt>
                <c:pt idx="1346">
                  <c:v>639.91210000000001</c:v>
                </c:pt>
                <c:pt idx="1347">
                  <c:v>638.23500000000001</c:v>
                </c:pt>
                <c:pt idx="1348">
                  <c:v>635.43979999999999</c:v>
                </c:pt>
                <c:pt idx="1349">
                  <c:v>635.90570000000002</c:v>
                </c:pt>
                <c:pt idx="1350">
                  <c:v>621.46389999999997</c:v>
                </c:pt>
                <c:pt idx="1351">
                  <c:v>618.66869999999994</c:v>
                </c:pt>
                <c:pt idx="1352">
                  <c:v>638.70090000000005</c:v>
                </c:pt>
                <c:pt idx="1353">
                  <c:v>645.22299999999996</c:v>
                </c:pt>
                <c:pt idx="1354">
                  <c:v>625.6567</c:v>
                </c:pt>
                <c:pt idx="1355">
                  <c:v>634.04219999999998</c:v>
                </c:pt>
                <c:pt idx="1356">
                  <c:v>626.58839999999998</c:v>
                </c:pt>
                <c:pt idx="1357">
                  <c:v>625.6567</c:v>
                </c:pt>
                <c:pt idx="1358">
                  <c:v>626.58839999999998</c:v>
                </c:pt>
                <c:pt idx="1359">
                  <c:v>629.84939999999995</c:v>
                </c:pt>
                <c:pt idx="1360">
                  <c:v>632.17880000000002</c:v>
                </c:pt>
                <c:pt idx="1361">
                  <c:v>630.78120000000001</c:v>
                </c:pt>
                <c:pt idx="1362">
                  <c:v>624.25900000000001</c:v>
                </c:pt>
                <c:pt idx="1363">
                  <c:v>629.84939999999995</c:v>
                </c:pt>
                <c:pt idx="1364">
                  <c:v>625.19079999999997</c:v>
                </c:pt>
                <c:pt idx="1365">
                  <c:v>625.6567</c:v>
                </c:pt>
                <c:pt idx="1366">
                  <c:v>610.28309999999999</c:v>
                </c:pt>
                <c:pt idx="1367">
                  <c:v>614.94179999999994</c:v>
                </c:pt>
                <c:pt idx="1368">
                  <c:v>616.80520000000001</c:v>
                </c:pt>
                <c:pt idx="1369">
                  <c:v>621.46389999999997</c:v>
                </c:pt>
                <c:pt idx="1370">
                  <c:v>618.66869999999994</c:v>
                </c:pt>
                <c:pt idx="1371">
                  <c:v>614.94179999999994</c:v>
                </c:pt>
                <c:pt idx="1372">
                  <c:v>625.6567</c:v>
                </c:pt>
                <c:pt idx="1373">
                  <c:v>616.80520000000001</c:v>
                </c:pt>
                <c:pt idx="1374">
                  <c:v>616.80520000000001</c:v>
                </c:pt>
                <c:pt idx="1375">
                  <c:v>616.80520000000001</c:v>
                </c:pt>
                <c:pt idx="1376">
                  <c:v>614.01</c:v>
                </c:pt>
                <c:pt idx="1377">
                  <c:v>590.2509</c:v>
                </c:pt>
                <c:pt idx="1378">
                  <c:v>599.56819999999993</c:v>
                </c:pt>
                <c:pt idx="1379">
                  <c:v>593.51200000000006</c:v>
                </c:pt>
                <c:pt idx="1380">
                  <c:v>596.30720000000008</c:v>
                </c:pt>
                <c:pt idx="1381">
                  <c:v>573.94560000000001</c:v>
                </c:pt>
                <c:pt idx="1382">
                  <c:v>558.10620000000006</c:v>
                </c:pt>
                <c:pt idx="1383">
                  <c:v>561.3673</c:v>
                </c:pt>
                <c:pt idx="1384">
                  <c:v>562.29899999999998</c:v>
                </c:pt>
                <c:pt idx="1385">
                  <c:v>565.0942</c:v>
                </c:pt>
                <c:pt idx="1386">
                  <c:v>559.03800000000001</c:v>
                </c:pt>
                <c:pt idx="1387">
                  <c:v>563.69659999999999</c:v>
                </c:pt>
                <c:pt idx="1388">
                  <c:v>577.20669999999996</c:v>
                </c:pt>
                <c:pt idx="1389">
                  <c:v>582.33120000000008</c:v>
                </c:pt>
                <c:pt idx="1390">
                  <c:v>580.00189999999998</c:v>
                </c:pt>
                <c:pt idx="1391">
                  <c:v>570.68459999999993</c:v>
                </c:pt>
                <c:pt idx="1392">
                  <c:v>567.42349999999999</c:v>
                </c:pt>
                <c:pt idx="1393">
                  <c:v>568.35529999999994</c:v>
                </c:pt>
                <c:pt idx="1394">
                  <c:v>568.35529999999994</c:v>
                </c:pt>
                <c:pt idx="1395">
                  <c:v>563.69659999999999</c:v>
                </c:pt>
                <c:pt idx="1396">
                  <c:v>557.6404</c:v>
                </c:pt>
                <c:pt idx="1397">
                  <c:v>556.24279999999999</c:v>
                </c:pt>
                <c:pt idx="1398">
                  <c:v>553.44760000000008</c:v>
                </c:pt>
                <c:pt idx="1399">
                  <c:v>548.78890000000001</c:v>
                </c:pt>
                <c:pt idx="1400">
                  <c:v>554.37929999999994</c:v>
                </c:pt>
                <c:pt idx="1401">
                  <c:v>548.32309999999995</c:v>
                </c:pt>
                <c:pt idx="1402">
                  <c:v>539.00580000000002</c:v>
                </c:pt>
                <c:pt idx="1403">
                  <c:v>534.81299999999999</c:v>
                </c:pt>
                <c:pt idx="1404">
                  <c:v>545.06200000000001</c:v>
                </c:pt>
                <c:pt idx="1405">
                  <c:v>545.99369999999999</c:v>
                </c:pt>
                <c:pt idx="1406">
                  <c:v>534.34709999999995</c:v>
                </c:pt>
                <c:pt idx="1407">
                  <c:v>542.26679999999999</c:v>
                </c:pt>
                <c:pt idx="1408">
                  <c:v>540.40339999999992</c:v>
                </c:pt>
                <c:pt idx="1409">
                  <c:v>536.67650000000003</c:v>
                </c:pt>
                <c:pt idx="1410">
                  <c:v>535.74470000000008</c:v>
                </c:pt>
                <c:pt idx="1411">
                  <c:v>537.14229999999998</c:v>
                </c:pt>
                <c:pt idx="1412">
                  <c:v>539.9375</c:v>
                </c:pt>
                <c:pt idx="1413">
                  <c:v>536.67650000000003</c:v>
                </c:pt>
                <c:pt idx="1414">
                  <c:v>535.27880000000005</c:v>
                </c:pt>
                <c:pt idx="1415">
                  <c:v>535.74470000000008</c:v>
                </c:pt>
                <c:pt idx="1416">
                  <c:v>526.42739999999992</c:v>
                </c:pt>
                <c:pt idx="1417">
                  <c:v>526.42739999999992</c:v>
                </c:pt>
                <c:pt idx="1418">
                  <c:v>528.75670000000002</c:v>
                </c:pt>
                <c:pt idx="1419">
                  <c:v>527.35910000000001</c:v>
                </c:pt>
                <c:pt idx="1420">
                  <c:v>525.49570000000006</c:v>
                </c:pt>
                <c:pt idx="1421">
                  <c:v>527.82500000000005</c:v>
                </c:pt>
                <c:pt idx="1422">
                  <c:v>522.2346</c:v>
                </c:pt>
                <c:pt idx="1423">
                  <c:v>514.7808</c:v>
                </c:pt>
                <c:pt idx="1424">
                  <c:v>513.38319999999999</c:v>
                </c:pt>
                <c:pt idx="1425">
                  <c:v>545.06200000000001</c:v>
                </c:pt>
                <c:pt idx="1426">
                  <c:v>526.89330000000007</c:v>
                </c:pt>
                <c:pt idx="1427">
                  <c:v>488.69240000000002</c:v>
                </c:pt>
                <c:pt idx="1428">
                  <c:v>501.73660000000001</c:v>
                </c:pt>
                <c:pt idx="1429">
                  <c:v>491.95340000000004</c:v>
                </c:pt>
                <c:pt idx="1430">
                  <c:v>500.80479999999994</c:v>
                </c:pt>
                <c:pt idx="1431">
                  <c:v>525.9615</c:v>
                </c:pt>
                <c:pt idx="1432">
                  <c:v>531.08609999999999</c:v>
                </c:pt>
                <c:pt idx="1433">
                  <c:v>530.15429999999992</c:v>
                </c:pt>
                <c:pt idx="1434">
                  <c:v>531.55190000000005</c:v>
                </c:pt>
                <c:pt idx="1435">
                  <c:v>542.26679999999999</c:v>
                </c:pt>
                <c:pt idx="1436">
                  <c:v>545.06200000000001</c:v>
                </c:pt>
                <c:pt idx="1437">
                  <c:v>545.99369999999999</c:v>
                </c:pt>
                <c:pt idx="1438">
                  <c:v>544.59619999999995</c:v>
                </c:pt>
                <c:pt idx="1439">
                  <c:v>534.81299999999999</c:v>
                </c:pt>
                <c:pt idx="1440">
                  <c:v>545.99369999999999</c:v>
                </c:pt>
                <c:pt idx="1441">
                  <c:v>542.73270000000002</c:v>
                </c:pt>
                <c:pt idx="1442">
                  <c:v>540.40339999999992</c:v>
                </c:pt>
                <c:pt idx="1443">
                  <c:v>538.07400000000007</c:v>
                </c:pt>
                <c:pt idx="1444">
                  <c:v>525.49570000000006</c:v>
                </c:pt>
                <c:pt idx="1445">
                  <c:v>526.42739999999992</c:v>
                </c:pt>
                <c:pt idx="1446">
                  <c:v>535.74470000000008</c:v>
                </c:pt>
                <c:pt idx="1447">
                  <c:v>535.27880000000005</c:v>
                </c:pt>
                <c:pt idx="1448">
                  <c:v>545.06200000000001</c:v>
                </c:pt>
                <c:pt idx="1449">
                  <c:v>543.19849999999997</c:v>
                </c:pt>
                <c:pt idx="1450">
                  <c:v>548.78890000000001</c:v>
                </c:pt>
                <c:pt idx="1451">
                  <c:v>548.32309999999995</c:v>
                </c:pt>
                <c:pt idx="1452">
                  <c:v>552.05000000000007</c:v>
                </c:pt>
                <c:pt idx="1453">
                  <c:v>548.32309999999995</c:v>
                </c:pt>
                <c:pt idx="1454">
                  <c:v>545.52790000000005</c:v>
                </c:pt>
                <c:pt idx="1455">
                  <c:v>553.9135</c:v>
                </c:pt>
                <c:pt idx="1456">
                  <c:v>554.37929999999994</c:v>
                </c:pt>
                <c:pt idx="1457">
                  <c:v>551.58410000000003</c:v>
                </c:pt>
                <c:pt idx="1458">
                  <c:v>553.9135</c:v>
                </c:pt>
                <c:pt idx="1459">
                  <c:v>559.03800000000001</c:v>
                </c:pt>
                <c:pt idx="1460">
                  <c:v>552.98169999999993</c:v>
                </c:pt>
                <c:pt idx="1461">
                  <c:v>552.51589999999999</c:v>
                </c:pt>
                <c:pt idx="1462">
                  <c:v>563.23069999999996</c:v>
                </c:pt>
                <c:pt idx="1463">
                  <c:v>559.03800000000001</c:v>
                </c:pt>
                <c:pt idx="1464">
                  <c:v>566.02589999999998</c:v>
                </c:pt>
                <c:pt idx="1465">
                  <c:v>554.37929999999994</c:v>
                </c:pt>
                <c:pt idx="1466">
                  <c:v>556.70859999999993</c:v>
                </c:pt>
                <c:pt idx="1467">
                  <c:v>555.31100000000004</c:v>
                </c:pt>
                <c:pt idx="1468">
                  <c:v>558.10620000000006</c:v>
                </c:pt>
                <c:pt idx="1469">
                  <c:v>559.50379999999996</c:v>
                </c:pt>
                <c:pt idx="1470">
                  <c:v>560.43550000000005</c:v>
                </c:pt>
                <c:pt idx="1471">
                  <c:v>562.76490000000001</c:v>
                </c:pt>
                <c:pt idx="1472">
                  <c:v>563.69659999999999</c:v>
                </c:pt>
                <c:pt idx="1473">
                  <c:v>566.02589999999998</c:v>
                </c:pt>
                <c:pt idx="1474">
                  <c:v>561.83319999999992</c:v>
                </c:pt>
                <c:pt idx="1475">
                  <c:v>565.56010000000003</c:v>
                </c:pt>
                <c:pt idx="1476">
                  <c:v>568.35529999999994</c:v>
                </c:pt>
                <c:pt idx="1477">
                  <c:v>573.01389999999992</c:v>
                </c:pt>
                <c:pt idx="1478">
                  <c:v>573.94560000000001</c:v>
                </c:pt>
                <c:pt idx="1479">
                  <c:v>580.46770000000004</c:v>
                </c:pt>
                <c:pt idx="1480">
                  <c:v>572.31790000000001</c:v>
                </c:pt>
                <c:pt idx="1481">
                  <c:v>573.23360000000002</c:v>
                </c:pt>
                <c:pt idx="1482">
                  <c:v>572.31790000000001</c:v>
                </c:pt>
                <c:pt idx="1483">
                  <c:v>581.47500000000002</c:v>
                </c:pt>
                <c:pt idx="1484">
                  <c:v>581.93290000000002</c:v>
                </c:pt>
                <c:pt idx="1485">
                  <c:v>572.7758</c:v>
                </c:pt>
                <c:pt idx="1486">
                  <c:v>573.23360000000002</c:v>
                </c:pt>
                <c:pt idx="1487">
                  <c:v>570.48649999999998</c:v>
                </c:pt>
                <c:pt idx="1488">
                  <c:v>575.06509999999992</c:v>
                </c:pt>
                <c:pt idx="1489">
                  <c:v>572.31790000000001</c:v>
                </c:pt>
                <c:pt idx="1490">
                  <c:v>585.59569999999997</c:v>
                </c:pt>
                <c:pt idx="1491">
                  <c:v>586.96929999999998</c:v>
                </c:pt>
                <c:pt idx="1492">
                  <c:v>592.92139999999995</c:v>
                </c:pt>
                <c:pt idx="1493">
                  <c:v>592.92139999999995</c:v>
                </c:pt>
                <c:pt idx="1494">
                  <c:v>589.25850000000003</c:v>
                </c:pt>
                <c:pt idx="1495">
                  <c:v>584.22219999999993</c:v>
                </c:pt>
                <c:pt idx="1496">
                  <c:v>586.96929999999998</c:v>
                </c:pt>
                <c:pt idx="1497">
                  <c:v>597.0421</c:v>
                </c:pt>
                <c:pt idx="1498">
                  <c:v>592.92139999999995</c:v>
                </c:pt>
                <c:pt idx="1499">
                  <c:v>591.54780000000005</c:v>
                </c:pt>
                <c:pt idx="1500">
                  <c:v>591.54780000000005</c:v>
                </c:pt>
                <c:pt idx="1501">
                  <c:v>595.21069999999997</c:v>
                </c:pt>
                <c:pt idx="1502">
                  <c:v>597.95780000000002</c:v>
                </c:pt>
                <c:pt idx="1503">
                  <c:v>595.21069999999997</c:v>
                </c:pt>
                <c:pt idx="1504">
                  <c:v>596.12639999999999</c:v>
                </c:pt>
                <c:pt idx="1505">
                  <c:v>595.66849999999999</c:v>
                </c:pt>
                <c:pt idx="1506">
                  <c:v>590.17430000000002</c:v>
                </c:pt>
                <c:pt idx="1507">
                  <c:v>590.17430000000002</c:v>
                </c:pt>
                <c:pt idx="1508">
                  <c:v>591.09</c:v>
                </c:pt>
                <c:pt idx="1509">
                  <c:v>585.13789999999995</c:v>
                </c:pt>
                <c:pt idx="1510">
                  <c:v>591.09</c:v>
                </c:pt>
                <c:pt idx="1511">
                  <c:v>574.14940000000001</c:v>
                </c:pt>
                <c:pt idx="1512">
                  <c:v>572.7758</c:v>
                </c:pt>
                <c:pt idx="1513">
                  <c:v>559.49799999999993</c:v>
                </c:pt>
                <c:pt idx="1514">
                  <c:v>567.28160000000003</c:v>
                </c:pt>
                <c:pt idx="1515">
                  <c:v>569.11300000000006</c:v>
                </c:pt>
                <c:pt idx="1516">
                  <c:v>549.42520000000002</c:v>
                </c:pt>
                <c:pt idx="1517">
                  <c:v>533.85820000000001</c:v>
                </c:pt>
                <c:pt idx="1518">
                  <c:v>539.35239999999999</c:v>
                </c:pt>
                <c:pt idx="1519">
                  <c:v>526.53250000000003</c:v>
                </c:pt>
                <c:pt idx="1520">
                  <c:v>532.9425</c:v>
                </c:pt>
                <c:pt idx="1521">
                  <c:v>549.42520000000002</c:v>
                </c:pt>
                <c:pt idx="1522">
                  <c:v>550.34089999999992</c:v>
                </c:pt>
                <c:pt idx="1523">
                  <c:v>553.08809999999994</c:v>
                </c:pt>
                <c:pt idx="1524">
                  <c:v>544.84669999999994</c:v>
                </c:pt>
                <c:pt idx="1525">
                  <c:v>544.84669999999994</c:v>
                </c:pt>
                <c:pt idx="1526">
                  <c:v>538.43669999999997</c:v>
                </c:pt>
                <c:pt idx="1527">
                  <c:v>536.60529999999994</c:v>
                </c:pt>
                <c:pt idx="1528">
                  <c:v>538.43669999999997</c:v>
                </c:pt>
                <c:pt idx="1529">
                  <c:v>539.81029999999998</c:v>
                </c:pt>
                <c:pt idx="1530">
                  <c:v>534.77390000000003</c:v>
                </c:pt>
                <c:pt idx="1531">
                  <c:v>525.61680000000001</c:v>
                </c:pt>
                <c:pt idx="1532">
                  <c:v>532.4846</c:v>
                </c:pt>
                <c:pt idx="1533">
                  <c:v>539.35239999999999</c:v>
                </c:pt>
                <c:pt idx="1534">
                  <c:v>541.18380000000002</c:v>
                </c:pt>
                <c:pt idx="1535">
                  <c:v>542.55740000000003</c:v>
                </c:pt>
                <c:pt idx="1536">
                  <c:v>540.2681</c:v>
                </c:pt>
                <c:pt idx="1537">
                  <c:v>542.09949999999992</c:v>
                </c:pt>
                <c:pt idx="1538">
                  <c:v>531.56889999999999</c:v>
                </c:pt>
                <c:pt idx="1539">
                  <c:v>529.27959999999996</c:v>
                </c:pt>
                <c:pt idx="1540">
                  <c:v>534.31600000000003</c:v>
                </c:pt>
                <c:pt idx="1541">
                  <c:v>539.35239999999999</c:v>
                </c:pt>
                <c:pt idx="1542">
                  <c:v>535.68960000000004</c:v>
                </c:pt>
                <c:pt idx="1543">
                  <c:v>534.31600000000003</c:v>
                </c:pt>
                <c:pt idx="1544">
                  <c:v>540.2681</c:v>
                </c:pt>
                <c:pt idx="1545">
                  <c:v>526.53250000000003</c:v>
                </c:pt>
                <c:pt idx="1546">
                  <c:v>527.44820000000004</c:v>
                </c:pt>
                <c:pt idx="1547">
                  <c:v>513.71260000000007</c:v>
                </c:pt>
                <c:pt idx="1548">
                  <c:v>504.09769999999997</c:v>
                </c:pt>
                <c:pt idx="1549">
                  <c:v>502.26620000000003</c:v>
                </c:pt>
                <c:pt idx="1550">
                  <c:v>503.18189999999998</c:v>
                </c:pt>
                <c:pt idx="1551">
                  <c:v>513.71260000000007</c:v>
                </c:pt>
                <c:pt idx="1552">
                  <c:v>511.42329999999998</c:v>
                </c:pt>
                <c:pt idx="1553">
                  <c:v>521.95400000000006</c:v>
                </c:pt>
                <c:pt idx="1554">
                  <c:v>522.41180000000008</c:v>
                </c:pt>
                <c:pt idx="1555">
                  <c:v>507.30259999999998</c:v>
                </c:pt>
                <c:pt idx="1556">
                  <c:v>505.47120000000001</c:v>
                </c:pt>
                <c:pt idx="1557">
                  <c:v>517.37540000000001</c:v>
                </c:pt>
                <c:pt idx="1558">
                  <c:v>514.62830000000008</c:v>
                </c:pt>
                <c:pt idx="1559">
                  <c:v>519.20680000000004</c:v>
                </c:pt>
                <c:pt idx="1560">
                  <c:v>524.2432</c:v>
                </c:pt>
                <c:pt idx="1561">
                  <c:v>529.27959999999996</c:v>
                </c:pt>
                <c:pt idx="1562">
                  <c:v>534.77390000000003</c:v>
                </c:pt>
                <c:pt idx="1563">
                  <c:v>540.2681</c:v>
                </c:pt>
                <c:pt idx="1564">
                  <c:v>549.42520000000002</c:v>
                </c:pt>
                <c:pt idx="1565">
                  <c:v>548.9674</c:v>
                </c:pt>
                <c:pt idx="1566">
                  <c:v>552.63020000000006</c:v>
                </c:pt>
                <c:pt idx="1567">
                  <c:v>542.55740000000003</c:v>
                </c:pt>
                <c:pt idx="1568">
                  <c:v>546.67809999999997</c:v>
                </c:pt>
                <c:pt idx="1569">
                  <c:v>542.55740000000003</c:v>
                </c:pt>
                <c:pt idx="1570">
                  <c:v>540.726</c:v>
                </c:pt>
                <c:pt idx="1571">
                  <c:v>542.55740000000003</c:v>
                </c:pt>
                <c:pt idx="1572">
                  <c:v>543.01530000000002</c:v>
                </c:pt>
                <c:pt idx="1573">
                  <c:v>543.01530000000002</c:v>
                </c:pt>
                <c:pt idx="1574">
                  <c:v>537.97889999999995</c:v>
                </c:pt>
                <c:pt idx="1575">
                  <c:v>523.32749999999999</c:v>
                </c:pt>
                <c:pt idx="1576">
                  <c:v>530.65320000000008</c:v>
                </c:pt>
                <c:pt idx="1577">
                  <c:v>548.9674</c:v>
                </c:pt>
                <c:pt idx="1578">
                  <c:v>549.42520000000002</c:v>
                </c:pt>
                <c:pt idx="1579">
                  <c:v>541.18380000000002</c:v>
                </c:pt>
                <c:pt idx="1580">
                  <c:v>522.86970000000008</c:v>
                </c:pt>
                <c:pt idx="1581">
                  <c:v>531.11110000000008</c:v>
                </c:pt>
                <c:pt idx="1582">
                  <c:v>516.4597</c:v>
                </c:pt>
                <c:pt idx="1583">
                  <c:v>525.15890000000002</c:v>
                </c:pt>
                <c:pt idx="1584">
                  <c:v>534.77390000000003</c:v>
                </c:pt>
                <c:pt idx="1585">
                  <c:v>523.32749999999999</c:v>
                </c:pt>
                <c:pt idx="1586">
                  <c:v>516.4597</c:v>
                </c:pt>
                <c:pt idx="1587">
                  <c:v>517.83330000000001</c:v>
                </c:pt>
                <c:pt idx="1588">
                  <c:v>516.4597</c:v>
                </c:pt>
                <c:pt idx="1589">
                  <c:v>515.08619999999996</c:v>
                </c:pt>
                <c:pt idx="1590">
                  <c:v>511.42329999999998</c:v>
                </c:pt>
                <c:pt idx="1591">
                  <c:v>507.30259999999998</c:v>
                </c:pt>
                <c:pt idx="1592">
                  <c:v>517.37540000000001</c:v>
                </c:pt>
                <c:pt idx="1593">
                  <c:v>518.74900000000002</c:v>
                </c:pt>
                <c:pt idx="1594">
                  <c:v>539.35239999999999</c:v>
                </c:pt>
                <c:pt idx="1595">
                  <c:v>544.38880000000006</c:v>
                </c:pt>
                <c:pt idx="1596">
                  <c:v>539.81029999999998</c:v>
                </c:pt>
                <c:pt idx="1597">
                  <c:v>548.05169999999998</c:v>
                </c:pt>
                <c:pt idx="1598">
                  <c:v>538.89460000000008</c:v>
                </c:pt>
                <c:pt idx="1599">
                  <c:v>539.34859999999992</c:v>
                </c:pt>
                <c:pt idx="1600">
                  <c:v>540.25660000000005</c:v>
                </c:pt>
                <c:pt idx="1601">
                  <c:v>527.54459999999995</c:v>
                </c:pt>
                <c:pt idx="1602">
                  <c:v>529.81460000000004</c:v>
                </c:pt>
                <c:pt idx="1603">
                  <c:v>525.27470000000005</c:v>
                </c:pt>
                <c:pt idx="1604">
                  <c:v>508.47680000000003</c:v>
                </c:pt>
                <c:pt idx="1605">
                  <c:v>503.02879999999999</c:v>
                </c:pt>
                <c:pt idx="1606">
                  <c:v>512.1087</c:v>
                </c:pt>
                <c:pt idx="1607">
                  <c:v>505.29880000000003</c:v>
                </c:pt>
                <c:pt idx="1608">
                  <c:v>501.21280000000007</c:v>
                </c:pt>
                <c:pt idx="1609">
                  <c:v>494.85679999999996</c:v>
                </c:pt>
                <c:pt idx="1610">
                  <c:v>490.77089999999998</c:v>
                </c:pt>
                <c:pt idx="1611">
                  <c:v>483.50689999999997</c:v>
                </c:pt>
                <c:pt idx="1612">
                  <c:v>484.86890000000005</c:v>
                </c:pt>
                <c:pt idx="1613">
                  <c:v>481.23690000000005</c:v>
                </c:pt>
                <c:pt idx="1614">
                  <c:v>469.43299999999999</c:v>
                </c:pt>
                <c:pt idx="1615">
                  <c:v>475.33499999999992</c:v>
                </c:pt>
                <c:pt idx="1616">
                  <c:v>476.24299999999999</c:v>
                </c:pt>
                <c:pt idx="1617">
                  <c:v>479.87490000000008</c:v>
                </c:pt>
                <c:pt idx="1618">
                  <c:v>473.97299999999996</c:v>
                </c:pt>
                <c:pt idx="1619">
                  <c:v>449.6841</c:v>
                </c:pt>
                <c:pt idx="1620">
                  <c:v>441.51220000000001</c:v>
                </c:pt>
                <c:pt idx="1621">
                  <c:v>453.99709999999993</c:v>
                </c:pt>
                <c:pt idx="1622">
                  <c:v>433.34019999999998</c:v>
                </c:pt>
                <c:pt idx="1623">
                  <c:v>428.57330000000002</c:v>
                </c:pt>
                <c:pt idx="1624">
                  <c:v>409.73240000000004</c:v>
                </c:pt>
                <c:pt idx="1625">
                  <c:v>411.09440000000001</c:v>
                </c:pt>
                <c:pt idx="1626">
                  <c:v>413.36440000000005</c:v>
                </c:pt>
                <c:pt idx="1627">
                  <c:v>415.18040000000002</c:v>
                </c:pt>
                <c:pt idx="1628">
                  <c:v>413.13740000000001</c:v>
                </c:pt>
                <c:pt idx="1629">
                  <c:v>421.30930000000006</c:v>
                </c:pt>
                <c:pt idx="1630">
                  <c:v>422.21729999999997</c:v>
                </c:pt>
                <c:pt idx="1631">
                  <c:v>415.8614</c:v>
                </c:pt>
                <c:pt idx="1632">
                  <c:v>426.75730000000004</c:v>
                </c:pt>
                <c:pt idx="1633">
                  <c:v>428.80029999999999</c:v>
                </c:pt>
                <c:pt idx="1634">
                  <c:v>420.62830000000008</c:v>
                </c:pt>
                <c:pt idx="1635">
                  <c:v>430.38930000000005</c:v>
                </c:pt>
                <c:pt idx="1636">
                  <c:v>445.14420000000001</c:v>
                </c:pt>
                <c:pt idx="1637">
                  <c:v>454.4511</c:v>
                </c:pt>
                <c:pt idx="1638">
                  <c:v>454.90510000000006</c:v>
                </c:pt>
                <c:pt idx="1639">
                  <c:v>452.63510000000002</c:v>
                </c:pt>
                <c:pt idx="1640">
                  <c:v>449.6841</c:v>
                </c:pt>
                <c:pt idx="1641">
                  <c:v>448.09520000000003</c:v>
                </c:pt>
                <c:pt idx="1642">
                  <c:v>447.64110000000005</c:v>
                </c:pt>
                <c:pt idx="1643">
                  <c:v>447.41420000000005</c:v>
                </c:pt>
                <c:pt idx="1644">
                  <c:v>460.80709999999999</c:v>
                </c:pt>
                <c:pt idx="1645">
                  <c:v>462.16910000000001</c:v>
                </c:pt>
                <c:pt idx="1646">
                  <c:v>469.43299999999999</c:v>
                </c:pt>
                <c:pt idx="1647">
                  <c:v>468.52499999999998</c:v>
                </c:pt>
                <c:pt idx="1648">
                  <c:v>473.97299999999996</c:v>
                </c:pt>
                <c:pt idx="1649">
                  <c:v>478.05900000000003</c:v>
                </c:pt>
                <c:pt idx="1650">
                  <c:v>476.24299999999999</c:v>
                </c:pt>
                <c:pt idx="1651">
                  <c:v>474.88099999999997</c:v>
                </c:pt>
                <c:pt idx="1652">
                  <c:v>472.15699999999998</c:v>
                </c:pt>
                <c:pt idx="1653">
                  <c:v>473.065</c:v>
                </c:pt>
                <c:pt idx="1654">
                  <c:v>469.88699999999994</c:v>
                </c:pt>
                <c:pt idx="1655">
                  <c:v>467.61700000000008</c:v>
                </c:pt>
                <c:pt idx="1656">
                  <c:v>470.34100000000001</c:v>
                </c:pt>
                <c:pt idx="1657">
                  <c:v>469.88699999999994</c:v>
                </c:pt>
                <c:pt idx="1658">
                  <c:v>467.61700000000008</c:v>
                </c:pt>
                <c:pt idx="1659">
                  <c:v>456.72110000000004</c:v>
                </c:pt>
                <c:pt idx="1660">
                  <c:v>463.53109999999998</c:v>
                </c:pt>
                <c:pt idx="1661">
                  <c:v>477.15100000000001</c:v>
                </c:pt>
                <c:pt idx="1662">
                  <c:v>481.6909</c:v>
                </c:pt>
                <c:pt idx="1663">
                  <c:v>481.23690000000005</c:v>
                </c:pt>
                <c:pt idx="1664">
                  <c:v>476.69700000000006</c:v>
                </c:pt>
                <c:pt idx="1665">
                  <c:v>488.04689999999999</c:v>
                </c:pt>
                <c:pt idx="1666">
                  <c:v>499.85079999999994</c:v>
                </c:pt>
                <c:pt idx="1667">
                  <c:v>494.85679999999996</c:v>
                </c:pt>
                <c:pt idx="1668">
                  <c:v>490.31690000000003</c:v>
                </c:pt>
                <c:pt idx="1669">
                  <c:v>484.86890000000005</c:v>
                </c:pt>
                <c:pt idx="1670">
                  <c:v>517.55669999999998</c:v>
                </c:pt>
                <c:pt idx="1671">
                  <c:v>499.39679999999998</c:v>
                </c:pt>
                <c:pt idx="1672">
                  <c:v>498.48879999999997</c:v>
                </c:pt>
                <c:pt idx="1673">
                  <c:v>491.22489999999999</c:v>
                </c:pt>
                <c:pt idx="1674">
                  <c:v>498.94280000000003</c:v>
                </c:pt>
                <c:pt idx="1675">
                  <c:v>469.43299999999999</c:v>
                </c:pt>
                <c:pt idx="1676">
                  <c:v>491.67889999999994</c:v>
                </c:pt>
                <c:pt idx="1677">
                  <c:v>510.74680000000001</c:v>
                </c:pt>
                <c:pt idx="1678">
                  <c:v>500.3048</c:v>
                </c:pt>
                <c:pt idx="1679">
                  <c:v>667.37570000000005</c:v>
                </c:pt>
                <c:pt idx="1680">
                  <c:v>668.73770000000002</c:v>
                </c:pt>
                <c:pt idx="1681">
                  <c:v>658.74980000000005</c:v>
                </c:pt>
                <c:pt idx="1682">
                  <c:v>662.83579999999995</c:v>
                </c:pt>
                <c:pt idx="1683">
                  <c:v>678.27170000000001</c:v>
                </c:pt>
                <c:pt idx="1684">
                  <c:v>684.17359999999996</c:v>
                </c:pt>
                <c:pt idx="1685">
                  <c:v>688.25959999999998</c:v>
                </c:pt>
                <c:pt idx="1686">
                  <c:v>677.36369999999999</c:v>
                </c:pt>
                <c:pt idx="1687">
                  <c:v>670.09969999999998</c:v>
                </c:pt>
                <c:pt idx="1688">
                  <c:v>676.90970000000004</c:v>
                </c:pt>
                <c:pt idx="1689">
                  <c:v>683.71969999999999</c:v>
                </c:pt>
                <c:pt idx="1690">
                  <c:v>674.63969999999995</c:v>
                </c:pt>
                <c:pt idx="1691">
                  <c:v>685.08169999999996</c:v>
                </c:pt>
                <c:pt idx="1692">
                  <c:v>687.80560000000003</c:v>
                </c:pt>
                <c:pt idx="1693">
                  <c:v>691.43759999999997</c:v>
                </c:pt>
                <c:pt idx="1694">
                  <c:v>691.43759999999997</c:v>
                </c:pt>
                <c:pt idx="1695">
                  <c:v>682.8116</c:v>
                </c:pt>
                <c:pt idx="1696">
                  <c:v>675.54769999999996</c:v>
                </c:pt>
                <c:pt idx="1697">
                  <c:v>676.00170000000003</c:v>
                </c:pt>
                <c:pt idx="1698">
                  <c:v>665.10580000000004</c:v>
                </c:pt>
                <c:pt idx="1699">
                  <c:v>675.54769999999996</c:v>
                </c:pt>
                <c:pt idx="1700">
                  <c:v>671.46169999999995</c:v>
                </c:pt>
                <c:pt idx="1701">
                  <c:v>667.82979999999998</c:v>
                </c:pt>
                <c:pt idx="1702">
                  <c:v>674.63969999999995</c:v>
                </c:pt>
                <c:pt idx="1703">
                  <c:v>680.99570000000006</c:v>
                </c:pt>
                <c:pt idx="1704">
                  <c:v>671.46169999999995</c:v>
                </c:pt>
                <c:pt idx="1705">
                  <c:v>675.54769999999996</c:v>
                </c:pt>
                <c:pt idx="1706">
                  <c:v>671.46169999999995</c:v>
                </c:pt>
                <c:pt idx="1707">
                  <c:v>659.65779999999995</c:v>
                </c:pt>
                <c:pt idx="1708">
                  <c:v>661.47379999999998</c:v>
                </c:pt>
                <c:pt idx="1709">
                  <c:v>657.84180000000003</c:v>
                </c:pt>
                <c:pt idx="1710">
                  <c:v>666.46780000000001</c:v>
                </c:pt>
                <c:pt idx="1711">
                  <c:v>681.90369999999996</c:v>
                </c:pt>
                <c:pt idx="1712">
                  <c:v>650.12379999999996</c:v>
                </c:pt>
                <c:pt idx="1713">
                  <c:v>670.55370000000005</c:v>
                </c:pt>
                <c:pt idx="1714">
                  <c:v>664.19780000000003</c:v>
                </c:pt>
                <c:pt idx="1715">
                  <c:v>677.36369999999999</c:v>
                </c:pt>
                <c:pt idx="1716">
                  <c:v>672.82370000000003</c:v>
                </c:pt>
                <c:pt idx="1717">
                  <c:v>683.71969999999999</c:v>
                </c:pt>
                <c:pt idx="1718">
                  <c:v>679.63369999999998</c:v>
                </c:pt>
                <c:pt idx="1719">
                  <c:v>674.63969999999995</c:v>
                </c:pt>
                <c:pt idx="1720">
                  <c:v>682.8116</c:v>
                </c:pt>
                <c:pt idx="1721">
                  <c:v>680.54169999999999</c:v>
                </c:pt>
                <c:pt idx="1722">
                  <c:v>673.73180000000002</c:v>
                </c:pt>
                <c:pt idx="1723">
                  <c:v>658.29579999999999</c:v>
                </c:pt>
                <c:pt idx="1724">
                  <c:v>654.66380000000004</c:v>
                </c:pt>
                <c:pt idx="1725">
                  <c:v>641.49789999999996</c:v>
                </c:pt>
                <c:pt idx="1726">
                  <c:v>641.04390000000001</c:v>
                </c:pt>
                <c:pt idx="1727">
                  <c:v>639.22799999999995</c:v>
                </c:pt>
                <c:pt idx="1728">
                  <c:v>631.51</c:v>
                </c:pt>
                <c:pt idx="1729">
                  <c:v>626.06200000000001</c:v>
                </c:pt>
                <c:pt idx="1730">
                  <c:v>632.87199999999996</c:v>
                </c:pt>
                <c:pt idx="1731">
                  <c:v>632.41800000000001</c:v>
                </c:pt>
                <c:pt idx="1732">
                  <c:v>636.62339999999995</c:v>
                </c:pt>
                <c:pt idx="1733">
                  <c:v>640.20240000000001</c:v>
                </c:pt>
                <c:pt idx="1734">
                  <c:v>635.28120000000001</c:v>
                </c:pt>
                <c:pt idx="1735">
                  <c:v>630.80740000000003</c:v>
                </c:pt>
                <c:pt idx="1736">
                  <c:v>631.25480000000005</c:v>
                </c:pt>
                <c:pt idx="1737">
                  <c:v>657.65030000000002</c:v>
                </c:pt>
                <c:pt idx="1738">
                  <c:v>646.46579999999994</c:v>
                </c:pt>
                <c:pt idx="1739">
                  <c:v>653.17650000000003</c:v>
                </c:pt>
                <c:pt idx="1740">
                  <c:v>658.99239999999998</c:v>
                </c:pt>
                <c:pt idx="1741">
                  <c:v>654.07119999999998</c:v>
                </c:pt>
                <c:pt idx="1742">
                  <c:v>648.70259999999996</c:v>
                </c:pt>
                <c:pt idx="1743">
                  <c:v>617.38599999999997</c:v>
                </c:pt>
                <c:pt idx="1744">
                  <c:v>604.41190000000006</c:v>
                </c:pt>
                <c:pt idx="1745">
                  <c:v>603.06979999999999</c:v>
                </c:pt>
                <c:pt idx="1746">
                  <c:v>597.25379999999996</c:v>
                </c:pt>
                <c:pt idx="1747">
                  <c:v>592.33260000000007</c:v>
                </c:pt>
                <c:pt idx="1748">
                  <c:v>593.6748</c:v>
                </c:pt>
                <c:pt idx="1749">
                  <c:v>601.72759999999994</c:v>
                </c:pt>
                <c:pt idx="1750">
                  <c:v>604.85930000000008</c:v>
                </c:pt>
                <c:pt idx="1751">
                  <c:v>597.70119999999997</c:v>
                </c:pt>
                <c:pt idx="1752">
                  <c:v>601.72759999999994</c:v>
                </c:pt>
                <c:pt idx="1753">
                  <c:v>603.5172</c:v>
                </c:pt>
                <c:pt idx="1754">
                  <c:v>595.01689999999996</c:v>
                </c:pt>
                <c:pt idx="1755">
                  <c:v>595.01689999999996</c:v>
                </c:pt>
                <c:pt idx="1756">
                  <c:v>590.54309999999998</c:v>
                </c:pt>
                <c:pt idx="1757">
                  <c:v>584.72710000000006</c:v>
                </c:pt>
                <c:pt idx="1758">
                  <c:v>584.72710000000006</c:v>
                </c:pt>
                <c:pt idx="1759">
                  <c:v>587.85879999999997</c:v>
                </c:pt>
                <c:pt idx="1760">
                  <c:v>581.1481</c:v>
                </c:pt>
                <c:pt idx="1761">
                  <c:v>581.59550000000002</c:v>
                </c:pt>
                <c:pt idx="1762">
                  <c:v>581.1481</c:v>
                </c:pt>
                <c:pt idx="1763">
                  <c:v>574.43740000000003</c:v>
                </c:pt>
                <c:pt idx="1764">
                  <c:v>572.64790000000005</c:v>
                </c:pt>
                <c:pt idx="1765">
                  <c:v>591.43790000000001</c:v>
                </c:pt>
                <c:pt idx="1766">
                  <c:v>577.12170000000003</c:v>
                </c:pt>
                <c:pt idx="1767">
                  <c:v>591.43790000000001</c:v>
                </c:pt>
                <c:pt idx="1768">
                  <c:v>594.56949999999995</c:v>
                </c:pt>
                <c:pt idx="1769">
                  <c:v>578.91120000000001</c:v>
                </c:pt>
                <c:pt idx="1770">
                  <c:v>575.33219999999994</c:v>
                </c:pt>
                <c:pt idx="1771">
                  <c:v>569.51620000000003</c:v>
                </c:pt>
                <c:pt idx="1772">
                  <c:v>577.12170000000003</c:v>
                </c:pt>
                <c:pt idx="1773">
                  <c:v>581.59550000000002</c:v>
                </c:pt>
                <c:pt idx="1774">
                  <c:v>596.35910000000001</c:v>
                </c:pt>
                <c:pt idx="1775">
                  <c:v>593.6748</c:v>
                </c:pt>
                <c:pt idx="1776">
                  <c:v>589.20100000000002</c:v>
                </c:pt>
                <c:pt idx="1777">
                  <c:v>587.41140000000007</c:v>
                </c:pt>
                <c:pt idx="1778">
                  <c:v>586.0693</c:v>
                </c:pt>
                <c:pt idx="1779">
                  <c:v>594.12220000000002</c:v>
                </c:pt>
                <c:pt idx="1780">
                  <c:v>591.88529999999992</c:v>
                </c:pt>
                <c:pt idx="1781">
                  <c:v>589.64829999999995</c:v>
                </c:pt>
                <c:pt idx="1782">
                  <c:v>601.72759999999994</c:v>
                </c:pt>
                <c:pt idx="1783">
                  <c:v>603.96450000000004</c:v>
                </c:pt>
                <c:pt idx="1784">
                  <c:v>580.25339999999994</c:v>
                </c:pt>
                <c:pt idx="1785">
                  <c:v>552.96310000000005</c:v>
                </c:pt>
                <c:pt idx="1786">
                  <c:v>539.09429999999998</c:v>
                </c:pt>
                <c:pt idx="1787">
                  <c:v>539.98900000000003</c:v>
                </c:pt>
                <c:pt idx="1788">
                  <c:v>547.59449999999993</c:v>
                </c:pt>
                <c:pt idx="1789">
                  <c:v>543.56809999999996</c:v>
                </c:pt>
                <c:pt idx="1790">
                  <c:v>554.30520000000001</c:v>
                </c:pt>
                <c:pt idx="1791">
                  <c:v>553.8578</c:v>
                </c:pt>
                <c:pt idx="1792">
                  <c:v>549.38400000000001</c:v>
                </c:pt>
                <c:pt idx="1793">
                  <c:v>541.77859999999998</c:v>
                </c:pt>
                <c:pt idx="1794">
                  <c:v>540.43640000000005</c:v>
                </c:pt>
                <c:pt idx="1795">
                  <c:v>537.30470000000003</c:v>
                </c:pt>
                <c:pt idx="1796">
                  <c:v>533.72569999999996</c:v>
                </c:pt>
                <c:pt idx="1797">
                  <c:v>532.38350000000003</c:v>
                </c:pt>
                <c:pt idx="1798">
                  <c:v>531.04139999999995</c:v>
                </c:pt>
                <c:pt idx="1799">
                  <c:v>518.06740000000002</c:v>
                </c:pt>
                <c:pt idx="1800">
                  <c:v>515.38310000000001</c:v>
                </c:pt>
                <c:pt idx="1801">
                  <c:v>522.09379999999999</c:v>
                </c:pt>
                <c:pt idx="1802">
                  <c:v>520.75160000000005</c:v>
                </c:pt>
                <c:pt idx="1803">
                  <c:v>521.64639999999997</c:v>
                </c:pt>
                <c:pt idx="1804">
                  <c:v>530.14670000000001</c:v>
                </c:pt>
                <c:pt idx="1805">
                  <c:v>510.90929999999997</c:v>
                </c:pt>
                <c:pt idx="1806">
                  <c:v>523.43590000000006</c:v>
                </c:pt>
                <c:pt idx="1807">
                  <c:v>532.38350000000003</c:v>
                </c:pt>
                <c:pt idx="1808">
                  <c:v>538.64689999999996</c:v>
                </c:pt>
                <c:pt idx="1809">
                  <c:v>536.41000000000008</c:v>
                </c:pt>
                <c:pt idx="1810">
                  <c:v>535.06779999999992</c:v>
                </c:pt>
                <c:pt idx="1811">
                  <c:v>545.80500000000006</c:v>
                </c:pt>
                <c:pt idx="1812">
                  <c:v>550.27879999999993</c:v>
                </c:pt>
                <c:pt idx="1813">
                  <c:v>554.75259999999992</c:v>
                </c:pt>
                <c:pt idx="1814">
                  <c:v>563.7002</c:v>
                </c:pt>
                <c:pt idx="1815">
                  <c:v>567.72669999999994</c:v>
                </c:pt>
                <c:pt idx="1816">
                  <c:v>569.51620000000003</c:v>
                </c:pt>
                <c:pt idx="1817">
                  <c:v>578.91120000000001</c:v>
                </c:pt>
                <c:pt idx="1818">
                  <c:v>582.93759999999997</c:v>
                </c:pt>
                <c:pt idx="1819">
                  <c:v>587.41140000000007</c:v>
                </c:pt>
                <c:pt idx="1820">
                  <c:v>593.6748</c:v>
                </c:pt>
                <c:pt idx="1821">
                  <c:v>595.01689999999996</c:v>
                </c:pt>
                <c:pt idx="1822">
                  <c:v>596.80650000000003</c:v>
                </c:pt>
                <c:pt idx="1823">
                  <c:v>591.43790000000001</c:v>
                </c:pt>
                <c:pt idx="1824">
                  <c:v>585.62189999999998</c:v>
                </c:pt>
                <c:pt idx="1825">
                  <c:v>588.75360000000001</c:v>
                </c:pt>
                <c:pt idx="1826">
                  <c:v>594.56949999999995</c:v>
                </c:pt>
                <c:pt idx="1827">
                  <c:v>590.9905</c:v>
                </c:pt>
                <c:pt idx="1828">
                  <c:v>589.64829999999995</c:v>
                </c:pt>
                <c:pt idx="1829">
                  <c:v>591.88529999999992</c:v>
                </c:pt>
                <c:pt idx="1830">
                  <c:v>593.22739999999999</c:v>
                </c:pt>
                <c:pt idx="1831">
                  <c:v>599.04329999999993</c:v>
                </c:pt>
                <c:pt idx="1832">
                  <c:v>599.49070000000006</c:v>
                </c:pt>
                <c:pt idx="1833">
                  <c:v>600.38549999999998</c:v>
                </c:pt>
                <c:pt idx="1834">
                  <c:v>600.38549999999998</c:v>
                </c:pt>
                <c:pt idx="1835">
                  <c:v>592.78</c:v>
                </c:pt>
                <c:pt idx="1836">
                  <c:v>592.33260000000007</c:v>
                </c:pt>
                <c:pt idx="1837">
                  <c:v>592.33260000000007</c:v>
                </c:pt>
                <c:pt idx="1838">
                  <c:v>592.78</c:v>
                </c:pt>
                <c:pt idx="1839">
                  <c:v>595.01689999999996</c:v>
                </c:pt>
                <c:pt idx="1840">
                  <c:v>599.49070000000006</c:v>
                </c:pt>
                <c:pt idx="1841">
                  <c:v>590.9905</c:v>
                </c:pt>
                <c:pt idx="1842">
                  <c:v>586.51670000000001</c:v>
                </c:pt>
                <c:pt idx="1843">
                  <c:v>581.59550000000002</c:v>
                </c:pt>
                <c:pt idx="1844">
                  <c:v>586.51670000000001</c:v>
                </c:pt>
                <c:pt idx="1845">
                  <c:v>573.99</c:v>
                </c:pt>
                <c:pt idx="1846">
                  <c:v>572.20049999999992</c:v>
                </c:pt>
                <c:pt idx="1847">
                  <c:v>576.2269</c:v>
                </c:pt>
                <c:pt idx="1848">
                  <c:v>575.33219999999994</c:v>
                </c:pt>
                <c:pt idx="1849">
                  <c:v>565.04240000000004</c:v>
                </c:pt>
                <c:pt idx="1850">
                  <c:v>572.64790000000005</c:v>
                </c:pt>
                <c:pt idx="1851">
                  <c:v>589.34679999999992</c:v>
                </c:pt>
                <c:pt idx="1852">
                  <c:v>590.23500000000001</c:v>
                </c:pt>
                <c:pt idx="1853">
                  <c:v>583.57320000000004</c:v>
                </c:pt>
                <c:pt idx="1854">
                  <c:v>593.34379999999999</c:v>
                </c:pt>
                <c:pt idx="1855">
                  <c:v>584.01729999999998</c:v>
                </c:pt>
                <c:pt idx="1856">
                  <c:v>582.24079999999992</c:v>
                </c:pt>
                <c:pt idx="1857">
                  <c:v>586.23790000000008</c:v>
                </c:pt>
                <c:pt idx="1858">
                  <c:v>582.24079999999992</c:v>
                </c:pt>
                <c:pt idx="1859">
                  <c:v>573.80259999999998</c:v>
                </c:pt>
                <c:pt idx="1860">
                  <c:v>571.13779999999997</c:v>
                </c:pt>
                <c:pt idx="1861">
                  <c:v>572.02609999999993</c:v>
                </c:pt>
                <c:pt idx="1862">
                  <c:v>580.9085</c:v>
                </c:pt>
                <c:pt idx="1863">
                  <c:v>572.91430000000003</c:v>
                </c:pt>
                <c:pt idx="1864">
                  <c:v>577.79970000000003</c:v>
                </c:pt>
                <c:pt idx="1865">
                  <c:v>586.23790000000008</c:v>
                </c:pt>
                <c:pt idx="1866">
                  <c:v>590.67910000000006</c:v>
                </c:pt>
                <c:pt idx="1867">
                  <c:v>591.56740000000002</c:v>
                </c:pt>
                <c:pt idx="1868">
                  <c:v>596.00850000000003</c:v>
                </c:pt>
                <c:pt idx="1869">
                  <c:v>596.00850000000003</c:v>
                </c:pt>
                <c:pt idx="1870">
                  <c:v>595.12029999999993</c:v>
                </c:pt>
                <c:pt idx="1871">
                  <c:v>596.89679999999998</c:v>
                </c:pt>
                <c:pt idx="1872">
                  <c:v>587.12619999999993</c:v>
                </c:pt>
                <c:pt idx="1873">
                  <c:v>574.24669999999992</c:v>
                </c:pt>
                <c:pt idx="1874">
                  <c:v>568.029</c:v>
                </c:pt>
                <c:pt idx="1875">
                  <c:v>567.58490000000006</c:v>
                </c:pt>
                <c:pt idx="1876">
                  <c:v>567.58490000000006</c:v>
                </c:pt>
                <c:pt idx="1877">
                  <c:v>566.25249999999994</c:v>
                </c:pt>
                <c:pt idx="1878">
                  <c:v>568.47310000000004</c:v>
                </c:pt>
                <c:pt idx="1879">
                  <c:v>565.80840000000001</c:v>
                </c:pt>
                <c:pt idx="1880">
                  <c:v>571.13779999999997</c:v>
                </c:pt>
                <c:pt idx="1881">
                  <c:v>563.14369999999997</c:v>
                </c:pt>
                <c:pt idx="1882">
                  <c:v>565.80840000000001</c:v>
                </c:pt>
                <c:pt idx="1883">
                  <c:v>572.91430000000003</c:v>
                </c:pt>
                <c:pt idx="1884">
                  <c:v>570.24959999999999</c:v>
                </c:pt>
                <c:pt idx="1885">
                  <c:v>560.92309999999998</c:v>
                </c:pt>
                <c:pt idx="1886">
                  <c:v>560.92309999999998</c:v>
                </c:pt>
                <c:pt idx="1887">
                  <c:v>558.25839999999994</c:v>
                </c:pt>
                <c:pt idx="1888">
                  <c:v>551.15250000000003</c:v>
                </c:pt>
                <c:pt idx="1889">
                  <c:v>559.59079999999994</c:v>
                </c:pt>
                <c:pt idx="1890">
                  <c:v>554.70540000000005</c:v>
                </c:pt>
                <c:pt idx="1891">
                  <c:v>557.37009999999998</c:v>
                </c:pt>
                <c:pt idx="1892">
                  <c:v>559.14659999999992</c:v>
                </c:pt>
                <c:pt idx="1893">
                  <c:v>560.03489999999999</c:v>
                </c:pt>
                <c:pt idx="1894">
                  <c:v>561.36720000000003</c:v>
                </c:pt>
                <c:pt idx="1895">
                  <c:v>546.2672</c:v>
                </c:pt>
                <c:pt idx="1896">
                  <c:v>547.15539999999999</c:v>
                </c:pt>
                <c:pt idx="1897">
                  <c:v>548.04359999999997</c:v>
                </c:pt>
                <c:pt idx="1898">
                  <c:v>543.15829999999994</c:v>
                </c:pt>
                <c:pt idx="1899">
                  <c:v>539.16129999999998</c:v>
                </c:pt>
                <c:pt idx="1900">
                  <c:v>541.3818</c:v>
                </c:pt>
                <c:pt idx="1901">
                  <c:v>550.70830000000001</c:v>
                </c:pt>
                <c:pt idx="1902">
                  <c:v>556.03780000000006</c:v>
                </c:pt>
                <c:pt idx="1903">
                  <c:v>554.70540000000005</c:v>
                </c:pt>
                <c:pt idx="1904">
                  <c:v>552.04070000000002</c:v>
                </c:pt>
                <c:pt idx="1905">
                  <c:v>551.15250000000003</c:v>
                </c:pt>
                <c:pt idx="1906">
                  <c:v>558.25839999999994</c:v>
                </c:pt>
                <c:pt idx="1907">
                  <c:v>568.91730000000007</c:v>
                </c:pt>
                <c:pt idx="1908">
                  <c:v>572.02609999999993</c:v>
                </c:pt>
                <c:pt idx="1909">
                  <c:v>573.35849999999994</c:v>
                </c:pt>
                <c:pt idx="1910">
                  <c:v>572.91430000000003</c:v>
                </c:pt>
                <c:pt idx="1911">
                  <c:v>567.58490000000006</c:v>
                </c:pt>
                <c:pt idx="1912">
                  <c:v>566.69670000000008</c:v>
                </c:pt>
                <c:pt idx="1913">
                  <c:v>570.69370000000004</c:v>
                </c:pt>
                <c:pt idx="1914">
                  <c:v>580.9085</c:v>
                </c:pt>
                <c:pt idx="1915">
                  <c:v>570.69370000000004</c:v>
                </c:pt>
                <c:pt idx="1916">
                  <c:v>568.91730000000007</c:v>
                </c:pt>
                <c:pt idx="1917">
                  <c:v>568.91730000000007</c:v>
                </c:pt>
                <c:pt idx="1918">
                  <c:v>568.029</c:v>
                </c:pt>
                <c:pt idx="1919">
                  <c:v>569.80550000000005</c:v>
                </c:pt>
                <c:pt idx="1920">
                  <c:v>572.02609999999993</c:v>
                </c:pt>
                <c:pt idx="1921">
                  <c:v>582.68500000000006</c:v>
                </c:pt>
                <c:pt idx="1922">
                  <c:v>595.12029999999993</c:v>
                </c:pt>
                <c:pt idx="1923">
                  <c:v>596.00850000000003</c:v>
                </c:pt>
                <c:pt idx="1924">
                  <c:v>597.34090000000003</c:v>
                </c:pt>
                <c:pt idx="1925">
                  <c:v>600.00559999999996</c:v>
                </c:pt>
                <c:pt idx="1926">
                  <c:v>596.00850000000003</c:v>
                </c:pt>
                <c:pt idx="1927">
                  <c:v>604.44680000000005</c:v>
                </c:pt>
                <c:pt idx="1928">
                  <c:v>603.55860000000007</c:v>
                </c:pt>
                <c:pt idx="1929">
                  <c:v>617.7704</c:v>
                </c:pt>
                <c:pt idx="1930">
                  <c:v>633.75869999999998</c:v>
                </c:pt>
                <c:pt idx="1931">
                  <c:v>624.43219999999997</c:v>
                </c:pt>
                <c:pt idx="1932">
                  <c:v>623.98810000000003</c:v>
                </c:pt>
                <c:pt idx="1933">
                  <c:v>623.54390000000001</c:v>
                </c:pt>
                <c:pt idx="1934">
                  <c:v>629.3175</c:v>
                </c:pt>
                <c:pt idx="1935">
                  <c:v>618.21450000000004</c:v>
                </c:pt>
                <c:pt idx="1936">
                  <c:v>612.88509999999997</c:v>
                </c:pt>
                <c:pt idx="1937">
                  <c:v>595.12029999999993</c:v>
                </c:pt>
                <c:pt idx="1938">
                  <c:v>596.45270000000005</c:v>
                </c:pt>
                <c:pt idx="1939">
                  <c:v>602.6703</c:v>
                </c:pt>
                <c:pt idx="1940">
                  <c:v>615.5498</c:v>
                </c:pt>
                <c:pt idx="1941">
                  <c:v>618.65859999999998</c:v>
                </c:pt>
                <c:pt idx="1942">
                  <c:v>604.44680000000005</c:v>
                </c:pt>
                <c:pt idx="1943">
                  <c:v>608.44389999999999</c:v>
                </c:pt>
                <c:pt idx="1944">
                  <c:v>611.10860000000002</c:v>
                </c:pt>
                <c:pt idx="1945">
                  <c:v>618.21450000000004</c:v>
                </c:pt>
                <c:pt idx="1946">
                  <c:v>608.88799999999992</c:v>
                </c:pt>
                <c:pt idx="1947">
                  <c:v>614.21749999999997</c:v>
                </c:pt>
                <c:pt idx="1948">
                  <c:v>609.77629999999999</c:v>
                </c:pt>
                <c:pt idx="1949">
                  <c:v>604.89100000000008</c:v>
                </c:pt>
                <c:pt idx="1950">
                  <c:v>601.78210000000001</c:v>
                </c:pt>
                <c:pt idx="1951">
                  <c:v>608.44389999999999</c:v>
                </c:pt>
                <c:pt idx="1952">
                  <c:v>611.99689999999998</c:v>
                </c:pt>
                <c:pt idx="1953">
                  <c:v>613.77329999999995</c:v>
                </c:pt>
                <c:pt idx="1954">
                  <c:v>609.33219999999994</c:v>
                </c:pt>
                <c:pt idx="1955">
                  <c:v>618.65859999999998</c:v>
                </c:pt>
                <c:pt idx="1956">
                  <c:v>611.55269999999996</c:v>
                </c:pt>
                <c:pt idx="1957">
                  <c:v>607.99979999999994</c:v>
                </c:pt>
                <c:pt idx="1958">
                  <c:v>612.88509999999997</c:v>
                </c:pt>
                <c:pt idx="1959">
                  <c:v>609.77629999999999</c:v>
                </c:pt>
                <c:pt idx="1960">
                  <c:v>599.56150000000002</c:v>
                </c:pt>
                <c:pt idx="1961">
                  <c:v>614.21749999999997</c:v>
                </c:pt>
                <c:pt idx="1962">
                  <c:v>621.76750000000004</c:v>
                </c:pt>
                <c:pt idx="1963">
                  <c:v>617.7704</c:v>
                </c:pt>
                <c:pt idx="1964">
                  <c:v>619.54690000000005</c:v>
                </c:pt>
                <c:pt idx="1965">
                  <c:v>608.44389999999999</c:v>
                </c:pt>
                <c:pt idx="1966">
                  <c:v>613.32920000000001</c:v>
                </c:pt>
                <c:pt idx="1967">
                  <c:v>617.7704</c:v>
                </c:pt>
                <c:pt idx="1968">
                  <c:v>619.1028</c:v>
                </c:pt>
                <c:pt idx="1969">
                  <c:v>596.89679999999998</c:v>
                </c:pt>
                <c:pt idx="1970">
                  <c:v>608.88799999999992</c:v>
                </c:pt>
                <c:pt idx="1971">
                  <c:v>607.5557</c:v>
                </c:pt>
                <c:pt idx="1972">
                  <c:v>611.10860000000002</c:v>
                </c:pt>
                <c:pt idx="1973">
                  <c:v>619.1028</c:v>
                </c:pt>
                <c:pt idx="1974">
                  <c:v>617.32629999999995</c:v>
                </c:pt>
                <c:pt idx="1975">
                  <c:v>615.99400000000003</c:v>
                </c:pt>
                <c:pt idx="1976">
                  <c:v>619.99099999999999</c:v>
                </c:pt>
                <c:pt idx="1977">
                  <c:v>630.6499</c:v>
                </c:pt>
                <c:pt idx="1978">
                  <c:v>655.07650000000001</c:v>
                </c:pt>
                <c:pt idx="1979">
                  <c:v>654.18820000000005</c:v>
                </c:pt>
                <c:pt idx="1980">
                  <c:v>639.08810000000005</c:v>
                </c:pt>
                <c:pt idx="1981">
                  <c:v>630.20569999999998</c:v>
                </c:pt>
                <c:pt idx="1982">
                  <c:v>628.42930000000001</c:v>
                </c:pt>
                <c:pt idx="1983">
                  <c:v>631.98220000000003</c:v>
                </c:pt>
                <c:pt idx="1984">
                  <c:v>613.1662</c:v>
                </c:pt>
                <c:pt idx="1985">
                  <c:v>607.0258</c:v>
                </c:pt>
                <c:pt idx="1986">
                  <c:v>597.81509999999992</c:v>
                </c:pt>
                <c:pt idx="1987">
                  <c:v>598.25369999999998</c:v>
                </c:pt>
                <c:pt idx="1988">
                  <c:v>587.72730000000001</c:v>
                </c:pt>
                <c:pt idx="1989">
                  <c:v>589.04309999999998</c:v>
                </c:pt>
                <c:pt idx="1990">
                  <c:v>608.78020000000004</c:v>
                </c:pt>
                <c:pt idx="1991">
                  <c:v>578.07799999999997</c:v>
                </c:pt>
                <c:pt idx="1992">
                  <c:v>569.74459999999999</c:v>
                </c:pt>
                <c:pt idx="1993">
                  <c:v>579.83240000000001</c:v>
                </c:pt>
                <c:pt idx="1994">
                  <c:v>608.34160000000008</c:v>
                </c:pt>
                <c:pt idx="1995">
                  <c:v>591.23610000000008</c:v>
                </c:pt>
                <c:pt idx="1996">
                  <c:v>580.70960000000002</c:v>
                </c:pt>
                <c:pt idx="1997">
                  <c:v>584.21839999999997</c:v>
                </c:pt>
                <c:pt idx="1998">
                  <c:v>582.46399999999994</c:v>
                </c:pt>
                <c:pt idx="1999">
                  <c:v>578.95519999999999</c:v>
                </c:pt>
                <c:pt idx="2000">
                  <c:v>581.58680000000004</c:v>
                </c:pt>
                <c:pt idx="2001">
                  <c:v>582.46399999999994</c:v>
                </c:pt>
                <c:pt idx="2002">
                  <c:v>581.14819999999997</c:v>
                </c:pt>
                <c:pt idx="2003">
                  <c:v>573.25340000000006</c:v>
                </c:pt>
                <c:pt idx="2004">
                  <c:v>568.86739999999998</c:v>
                </c:pt>
                <c:pt idx="2005">
                  <c:v>567.99009999999998</c:v>
                </c:pt>
                <c:pt idx="2006">
                  <c:v>556.5865</c:v>
                </c:pt>
                <c:pt idx="2007">
                  <c:v>557.46370000000002</c:v>
                </c:pt>
                <c:pt idx="2008">
                  <c:v>563.16550000000007</c:v>
                </c:pt>
                <c:pt idx="2009">
                  <c:v>557.46370000000002</c:v>
                </c:pt>
                <c:pt idx="2010">
                  <c:v>578.51660000000004</c:v>
                </c:pt>
                <c:pt idx="2011">
                  <c:v>577.20080000000007</c:v>
                </c:pt>
                <c:pt idx="2012">
                  <c:v>570.18319999999994</c:v>
                </c:pt>
                <c:pt idx="2013">
                  <c:v>575.00779999999997</c:v>
                </c:pt>
                <c:pt idx="2014">
                  <c:v>586.41139999999996</c:v>
                </c:pt>
                <c:pt idx="2015">
                  <c:v>578.95519999999999</c:v>
                </c:pt>
                <c:pt idx="2016">
                  <c:v>575.00779999999997</c:v>
                </c:pt>
                <c:pt idx="2017">
                  <c:v>559.21810000000005</c:v>
                </c:pt>
                <c:pt idx="2018">
                  <c:v>560.53390000000002</c:v>
                </c:pt>
                <c:pt idx="2019">
                  <c:v>557.90230000000008</c:v>
                </c:pt>
                <c:pt idx="2020">
                  <c:v>566.67430000000002</c:v>
                </c:pt>
                <c:pt idx="2021">
                  <c:v>556.5865</c:v>
                </c:pt>
                <c:pt idx="2022">
                  <c:v>553.5163</c:v>
                </c:pt>
                <c:pt idx="2023">
                  <c:v>544.74419999999998</c:v>
                </c:pt>
                <c:pt idx="2024">
                  <c:v>552.63909999999998</c:v>
                </c:pt>
                <c:pt idx="2025">
                  <c:v>561.41109999999992</c:v>
                </c:pt>
                <c:pt idx="2026">
                  <c:v>557.46370000000002</c:v>
                </c:pt>
                <c:pt idx="2027">
                  <c:v>553.95489999999995</c:v>
                </c:pt>
                <c:pt idx="2028">
                  <c:v>579.83240000000001</c:v>
                </c:pt>
                <c:pt idx="2029">
                  <c:v>592.9905</c:v>
                </c:pt>
                <c:pt idx="2030">
                  <c:v>574.13059999999996</c:v>
                </c:pt>
                <c:pt idx="2031">
                  <c:v>564.48130000000003</c:v>
                </c:pt>
                <c:pt idx="2032">
                  <c:v>556.5865</c:v>
                </c:pt>
                <c:pt idx="2033">
                  <c:v>548.25310000000002</c:v>
                </c:pt>
                <c:pt idx="2034">
                  <c:v>557.02509999999995</c:v>
                </c:pt>
                <c:pt idx="2035">
                  <c:v>555.27070000000003</c:v>
                </c:pt>
                <c:pt idx="2036">
                  <c:v>547.37580000000003</c:v>
                </c:pt>
                <c:pt idx="2037">
                  <c:v>504.39280000000002</c:v>
                </c:pt>
                <c:pt idx="2038">
                  <c:v>506.1472</c:v>
                </c:pt>
                <c:pt idx="2039">
                  <c:v>508.34019999999998</c:v>
                </c:pt>
                <c:pt idx="2040">
                  <c:v>505.70859999999999</c:v>
                </c:pt>
                <c:pt idx="2041">
                  <c:v>503.95420000000001</c:v>
                </c:pt>
                <c:pt idx="2042">
                  <c:v>483.77850000000001</c:v>
                </c:pt>
                <c:pt idx="2043">
                  <c:v>480.70830000000007</c:v>
                </c:pt>
                <c:pt idx="2044">
                  <c:v>486.84870000000001</c:v>
                </c:pt>
                <c:pt idx="2045">
                  <c:v>511.84899999999993</c:v>
                </c:pt>
                <c:pt idx="2046">
                  <c:v>527.63869999999997</c:v>
                </c:pt>
                <c:pt idx="2047">
                  <c:v>523.69130000000007</c:v>
                </c:pt>
                <c:pt idx="2048">
                  <c:v>519.74390000000005</c:v>
                </c:pt>
                <c:pt idx="2049">
                  <c:v>516.23509999999999</c:v>
                </c:pt>
                <c:pt idx="2050">
                  <c:v>517.55089999999996</c:v>
                </c:pt>
                <c:pt idx="2051">
                  <c:v>522.81409999999994</c:v>
                </c:pt>
                <c:pt idx="2052">
                  <c:v>523.69130000000007</c:v>
                </c:pt>
                <c:pt idx="2053">
                  <c:v>524.12990000000002</c:v>
                </c:pt>
                <c:pt idx="2054">
                  <c:v>524.12990000000002</c:v>
                </c:pt>
                <c:pt idx="2055">
                  <c:v>523.2527</c:v>
                </c:pt>
                <c:pt idx="2056">
                  <c:v>532.90189999999996</c:v>
                </c:pt>
                <c:pt idx="2057">
                  <c:v>535.09500000000003</c:v>
                </c:pt>
                <c:pt idx="2058">
                  <c:v>525.88429999999994</c:v>
                </c:pt>
                <c:pt idx="2059">
                  <c:v>532.90189999999996</c:v>
                </c:pt>
                <c:pt idx="2060">
                  <c:v>528.51589999999999</c:v>
                </c:pt>
                <c:pt idx="2061">
                  <c:v>526.3229</c:v>
                </c:pt>
                <c:pt idx="2062">
                  <c:v>528.95450000000005</c:v>
                </c:pt>
                <c:pt idx="2063">
                  <c:v>513.16489999999999</c:v>
                </c:pt>
                <c:pt idx="2064">
                  <c:v>497.81379999999996</c:v>
                </c:pt>
                <c:pt idx="2065">
                  <c:v>508.77879999999999</c:v>
                </c:pt>
                <c:pt idx="2066">
                  <c:v>512.72630000000004</c:v>
                </c:pt>
                <c:pt idx="2067">
                  <c:v>512.72630000000004</c:v>
                </c:pt>
                <c:pt idx="2068">
                  <c:v>510.97179999999997</c:v>
                </c:pt>
                <c:pt idx="2069">
                  <c:v>510.53320000000008</c:v>
                </c:pt>
                <c:pt idx="2070">
                  <c:v>515.3578</c:v>
                </c:pt>
                <c:pt idx="2071">
                  <c:v>518.86669999999992</c:v>
                </c:pt>
                <c:pt idx="2072">
                  <c:v>515.79639999999995</c:v>
                </c:pt>
                <c:pt idx="2073">
                  <c:v>516.67370000000005</c:v>
                </c:pt>
                <c:pt idx="2074">
                  <c:v>520.1825</c:v>
                </c:pt>
                <c:pt idx="2075">
                  <c:v>519.74390000000005</c:v>
                </c:pt>
                <c:pt idx="2076">
                  <c:v>520.1825</c:v>
                </c:pt>
                <c:pt idx="2077">
                  <c:v>520.62109999999996</c:v>
                </c:pt>
                <c:pt idx="2078">
                  <c:v>517.98950000000002</c:v>
                </c:pt>
                <c:pt idx="2079">
                  <c:v>517.1123</c:v>
                </c:pt>
                <c:pt idx="2080">
                  <c:v>519.74390000000005</c:v>
                </c:pt>
                <c:pt idx="2081">
                  <c:v>518.42809999999997</c:v>
                </c:pt>
                <c:pt idx="2082">
                  <c:v>520.62109999999996</c:v>
                </c:pt>
                <c:pt idx="2083">
                  <c:v>525.88429999999994</c:v>
                </c:pt>
                <c:pt idx="2084">
                  <c:v>525.44569999999999</c:v>
                </c:pt>
                <c:pt idx="2085">
                  <c:v>525.44569999999999</c:v>
                </c:pt>
                <c:pt idx="2086">
                  <c:v>525.88429999999994</c:v>
                </c:pt>
                <c:pt idx="2087">
                  <c:v>525.00710000000004</c:v>
                </c:pt>
                <c:pt idx="2088">
                  <c:v>521.05970000000002</c:v>
                </c:pt>
                <c:pt idx="2089">
                  <c:v>516.23509999999999</c:v>
                </c:pt>
                <c:pt idx="2090">
                  <c:v>515.3578</c:v>
                </c:pt>
                <c:pt idx="2091">
                  <c:v>522.37549999999999</c:v>
                </c:pt>
                <c:pt idx="2092">
                  <c:v>519.74390000000005</c:v>
                </c:pt>
                <c:pt idx="2093">
                  <c:v>525.00710000000004</c:v>
                </c:pt>
                <c:pt idx="2094">
                  <c:v>527.20010000000002</c:v>
                </c:pt>
                <c:pt idx="2095">
                  <c:v>531.58619999999996</c:v>
                </c:pt>
                <c:pt idx="2096">
                  <c:v>535.09500000000003</c:v>
                </c:pt>
                <c:pt idx="2097">
                  <c:v>534.21780000000001</c:v>
                </c:pt>
                <c:pt idx="2098">
                  <c:v>534.21780000000001</c:v>
                </c:pt>
                <c:pt idx="2099">
                  <c:v>533.77920000000006</c:v>
                </c:pt>
                <c:pt idx="2100">
                  <c:v>535.09500000000003</c:v>
                </c:pt>
                <c:pt idx="2101">
                  <c:v>535.09500000000003</c:v>
                </c:pt>
                <c:pt idx="2102">
                  <c:v>540.79680000000008</c:v>
                </c:pt>
                <c:pt idx="2103">
                  <c:v>538.16520000000003</c:v>
                </c:pt>
                <c:pt idx="2104">
                  <c:v>537.72660000000008</c:v>
                </c:pt>
                <c:pt idx="2105">
                  <c:v>544.30560000000003</c:v>
                </c:pt>
                <c:pt idx="2106">
                  <c:v>544.30560000000003</c:v>
                </c:pt>
                <c:pt idx="2107">
                  <c:v>546.06000000000006</c:v>
                </c:pt>
                <c:pt idx="2108">
                  <c:v>545.84219999999993</c:v>
                </c:pt>
                <c:pt idx="2109">
                  <c:v>540.17899999999997</c:v>
                </c:pt>
                <c:pt idx="2110">
                  <c:v>537.56529999999998</c:v>
                </c:pt>
                <c:pt idx="2111">
                  <c:v>538.43650000000002</c:v>
                </c:pt>
                <c:pt idx="2112">
                  <c:v>545.40660000000003</c:v>
                </c:pt>
                <c:pt idx="2113">
                  <c:v>527.11019999999996</c:v>
                </c:pt>
                <c:pt idx="2114">
                  <c:v>534.95150000000001</c:v>
                </c:pt>
                <c:pt idx="2115">
                  <c:v>531.4665</c:v>
                </c:pt>
                <c:pt idx="2116">
                  <c:v>541.05029999999999</c:v>
                </c:pt>
                <c:pt idx="2117">
                  <c:v>544.53530000000001</c:v>
                </c:pt>
                <c:pt idx="2118">
                  <c:v>504.45749999999998</c:v>
                </c:pt>
                <c:pt idx="2119">
                  <c:v>463.94409999999999</c:v>
                </c:pt>
                <c:pt idx="2120">
                  <c:v>462.20160000000004</c:v>
                </c:pt>
                <c:pt idx="2121">
                  <c:v>456.53839999999997</c:v>
                </c:pt>
                <c:pt idx="2122">
                  <c:v>471.34979999999996</c:v>
                </c:pt>
                <c:pt idx="2123">
                  <c:v>465.25099999999998</c:v>
                </c:pt>
                <c:pt idx="2124">
                  <c:v>460.45909999999992</c:v>
                </c:pt>
                <c:pt idx="2125">
                  <c:v>437.37079999999997</c:v>
                </c:pt>
                <c:pt idx="2126">
                  <c:v>451.3109</c:v>
                </c:pt>
                <c:pt idx="2127">
                  <c:v>454.3603</c:v>
                </c:pt>
                <c:pt idx="2128">
                  <c:v>464.37970000000001</c:v>
                </c:pt>
                <c:pt idx="2129">
                  <c:v>479.62670000000003</c:v>
                </c:pt>
                <c:pt idx="2130">
                  <c:v>480.49800000000005</c:v>
                </c:pt>
                <c:pt idx="2131">
                  <c:v>480.93360000000001</c:v>
                </c:pt>
                <c:pt idx="2132">
                  <c:v>485.72550000000001</c:v>
                </c:pt>
                <c:pt idx="2133">
                  <c:v>504.89319999999998</c:v>
                </c:pt>
                <c:pt idx="2134">
                  <c:v>508.37820000000005</c:v>
                </c:pt>
                <c:pt idx="2135">
                  <c:v>495.30930000000001</c:v>
                </c:pt>
                <c:pt idx="2136">
                  <c:v>507.07130000000006</c:v>
                </c:pt>
                <c:pt idx="2137">
                  <c:v>514.04139999999995</c:v>
                </c:pt>
                <c:pt idx="2138">
                  <c:v>514.47699999999998</c:v>
                </c:pt>
                <c:pt idx="2139">
                  <c:v>513.60569999999996</c:v>
                </c:pt>
                <c:pt idx="2140">
                  <c:v>509.68509999999998</c:v>
                </c:pt>
                <c:pt idx="2141">
                  <c:v>500.10129999999992</c:v>
                </c:pt>
                <c:pt idx="2142">
                  <c:v>520.57580000000007</c:v>
                </c:pt>
                <c:pt idx="2143">
                  <c:v>517.09079999999994</c:v>
                </c:pt>
                <c:pt idx="2144">
                  <c:v>514.04139999999995</c:v>
                </c:pt>
                <c:pt idx="2145">
                  <c:v>506.63569999999999</c:v>
                </c:pt>
                <c:pt idx="2146">
                  <c:v>494.00240000000002</c:v>
                </c:pt>
                <c:pt idx="2147">
                  <c:v>501.84379999999999</c:v>
                </c:pt>
                <c:pt idx="2148">
                  <c:v>500.10129999999992</c:v>
                </c:pt>
                <c:pt idx="2149">
                  <c:v>487.90370000000001</c:v>
                </c:pt>
                <c:pt idx="2150">
                  <c:v>504.02190000000007</c:v>
                </c:pt>
                <c:pt idx="2151">
                  <c:v>508.37820000000005</c:v>
                </c:pt>
                <c:pt idx="2152">
                  <c:v>512.29880000000003</c:v>
                </c:pt>
                <c:pt idx="2153">
                  <c:v>512.73450000000003</c:v>
                </c:pt>
                <c:pt idx="2154">
                  <c:v>505.76439999999997</c:v>
                </c:pt>
                <c:pt idx="2155">
                  <c:v>513.17009999999993</c:v>
                </c:pt>
                <c:pt idx="2156">
                  <c:v>510.99189999999999</c:v>
                </c:pt>
                <c:pt idx="2157">
                  <c:v>514.04139999999995</c:v>
                </c:pt>
                <c:pt idx="2158">
                  <c:v>511.86320000000001</c:v>
                </c:pt>
                <c:pt idx="2159">
                  <c:v>513.60569999999996</c:v>
                </c:pt>
                <c:pt idx="2160">
                  <c:v>513.60569999999996</c:v>
                </c:pt>
                <c:pt idx="2161">
                  <c:v>517.52640000000008</c:v>
                </c:pt>
                <c:pt idx="2162">
                  <c:v>520.57580000000007</c:v>
                </c:pt>
                <c:pt idx="2163">
                  <c:v>525.36770000000001</c:v>
                </c:pt>
                <c:pt idx="2164">
                  <c:v>527.54579999999999</c:v>
                </c:pt>
                <c:pt idx="2165">
                  <c:v>523.18949999999995</c:v>
                </c:pt>
                <c:pt idx="2166">
                  <c:v>516.21949999999993</c:v>
                </c:pt>
                <c:pt idx="2167">
                  <c:v>509.68509999999998</c:v>
                </c:pt>
                <c:pt idx="2168">
                  <c:v>508.37820000000005</c:v>
                </c:pt>
                <c:pt idx="2169">
                  <c:v>514.9126</c:v>
                </c:pt>
                <c:pt idx="2170">
                  <c:v>518.83330000000001</c:v>
                </c:pt>
                <c:pt idx="2171">
                  <c:v>514.47699999999998</c:v>
                </c:pt>
                <c:pt idx="2172">
                  <c:v>521.447</c:v>
                </c:pt>
                <c:pt idx="2173">
                  <c:v>526.23900000000003</c:v>
                </c:pt>
                <c:pt idx="2174">
                  <c:v>525.80330000000004</c:v>
                </c:pt>
                <c:pt idx="2175">
                  <c:v>526.67460000000005</c:v>
                </c:pt>
                <c:pt idx="2176">
                  <c:v>524.93209999999999</c:v>
                </c:pt>
                <c:pt idx="2177">
                  <c:v>519.70450000000005</c:v>
                </c:pt>
                <c:pt idx="2178">
                  <c:v>519.26889999999992</c:v>
                </c:pt>
                <c:pt idx="2179">
                  <c:v>514.47699999999998</c:v>
                </c:pt>
                <c:pt idx="2180">
                  <c:v>517.96199999999999</c:v>
                </c:pt>
                <c:pt idx="2181">
                  <c:v>498.79440000000005</c:v>
                </c:pt>
                <c:pt idx="2182">
                  <c:v>487.0324</c:v>
                </c:pt>
                <c:pt idx="2183">
                  <c:v>497.92310000000003</c:v>
                </c:pt>
                <c:pt idx="2184">
                  <c:v>491.82430000000005</c:v>
                </c:pt>
                <c:pt idx="2185">
                  <c:v>497.92310000000003</c:v>
                </c:pt>
                <c:pt idx="2186">
                  <c:v>497.05180000000001</c:v>
                </c:pt>
                <c:pt idx="2187">
                  <c:v>468.30040000000002</c:v>
                </c:pt>
                <c:pt idx="2188">
                  <c:v>461.33030000000002</c:v>
                </c:pt>
                <c:pt idx="2189">
                  <c:v>461.76600000000008</c:v>
                </c:pt>
                <c:pt idx="2190">
                  <c:v>467.42910000000001</c:v>
                </c:pt>
                <c:pt idx="2191">
                  <c:v>467.86469999999997</c:v>
                </c:pt>
                <c:pt idx="2192">
                  <c:v>465.25099999999998</c:v>
                </c:pt>
                <c:pt idx="2193">
                  <c:v>461.76600000000008</c:v>
                </c:pt>
                <c:pt idx="2194">
                  <c:v>463.94409999999999</c:v>
                </c:pt>
                <c:pt idx="2195">
                  <c:v>464.37970000000001</c:v>
                </c:pt>
                <c:pt idx="2196">
                  <c:v>460.89470000000006</c:v>
                </c:pt>
                <c:pt idx="2197">
                  <c:v>453.48899999999998</c:v>
                </c:pt>
                <c:pt idx="2198">
                  <c:v>429.96510000000001</c:v>
                </c:pt>
                <c:pt idx="2199">
                  <c:v>426.91570000000002</c:v>
                </c:pt>
                <c:pt idx="2200">
                  <c:v>430.40070000000003</c:v>
                </c:pt>
                <c:pt idx="2201">
                  <c:v>422.12379999999996</c:v>
                </c:pt>
                <c:pt idx="2202">
                  <c:v>411.01530000000002</c:v>
                </c:pt>
                <c:pt idx="2203">
                  <c:v>409.92619999999994</c:v>
                </c:pt>
                <c:pt idx="2204">
                  <c:v>404.69869999999997</c:v>
                </c:pt>
                <c:pt idx="2205">
                  <c:v>381.82819999999998</c:v>
                </c:pt>
                <c:pt idx="2206">
                  <c:v>374.64030000000002</c:v>
                </c:pt>
                <c:pt idx="2207">
                  <c:v>375.7294</c:v>
                </c:pt>
                <c:pt idx="2208">
                  <c:v>375.29379999999998</c:v>
                </c:pt>
                <c:pt idx="2209">
                  <c:v>382.04599999999999</c:v>
                </c:pt>
                <c:pt idx="2210">
                  <c:v>387.27350000000001</c:v>
                </c:pt>
                <c:pt idx="2211">
                  <c:v>387.49130000000002</c:v>
                </c:pt>
                <c:pt idx="2212">
                  <c:v>365.7099</c:v>
                </c:pt>
                <c:pt idx="2213">
                  <c:v>363.31400000000002</c:v>
                </c:pt>
                <c:pt idx="2214">
                  <c:v>342.40379999999999</c:v>
                </c:pt>
                <c:pt idx="2215">
                  <c:v>363.74959999999999</c:v>
                </c:pt>
                <c:pt idx="2216">
                  <c:v>405.56990000000008</c:v>
                </c:pt>
                <c:pt idx="2217">
                  <c:v>391.8476</c:v>
                </c:pt>
                <c:pt idx="2218">
                  <c:v>392.06540000000001</c:v>
                </c:pt>
                <c:pt idx="2219">
                  <c:v>390.97640000000001</c:v>
                </c:pt>
                <c:pt idx="2220">
                  <c:v>379.86790000000002</c:v>
                </c:pt>
                <c:pt idx="2221">
                  <c:v>365.7099</c:v>
                </c:pt>
                <c:pt idx="2222">
                  <c:v>378.56099999999998</c:v>
                </c:pt>
                <c:pt idx="2223">
                  <c:v>377.25409999999999</c:v>
                </c:pt>
                <c:pt idx="2224">
                  <c:v>384.44200000000001</c:v>
                </c:pt>
                <c:pt idx="2225">
                  <c:v>390.54070000000002</c:v>
                </c:pt>
                <c:pt idx="2226">
                  <c:v>391.62979999999999</c:v>
                </c:pt>
                <c:pt idx="2227">
                  <c:v>392.06540000000001</c:v>
                </c:pt>
                <c:pt idx="2228">
                  <c:v>392.06540000000001</c:v>
                </c:pt>
                <c:pt idx="2229">
                  <c:v>394.24360000000001</c:v>
                </c:pt>
                <c:pt idx="2230">
                  <c:v>396.20389999999998</c:v>
                </c:pt>
                <c:pt idx="2231">
                  <c:v>404.69869999999997</c:v>
                </c:pt>
                <c:pt idx="2232">
                  <c:v>404.48079999999999</c:v>
                </c:pt>
                <c:pt idx="2233">
                  <c:v>410.36180000000002</c:v>
                </c:pt>
                <c:pt idx="2234">
                  <c:v>412.75779999999997</c:v>
                </c:pt>
                <c:pt idx="2235">
                  <c:v>414.50029999999998</c:v>
                </c:pt>
                <c:pt idx="2236">
                  <c:v>414.88679999999999</c:v>
                </c:pt>
                <c:pt idx="2237">
                  <c:v>411.88040000000001</c:v>
                </c:pt>
                <c:pt idx="2238">
                  <c:v>418.75219999999996</c:v>
                </c:pt>
                <c:pt idx="2239">
                  <c:v>424.76510000000002</c:v>
                </c:pt>
                <c:pt idx="2240">
                  <c:v>423.26189999999997</c:v>
                </c:pt>
                <c:pt idx="2241">
                  <c:v>429.05999999999995</c:v>
                </c:pt>
                <c:pt idx="2242">
                  <c:v>429.48950000000002</c:v>
                </c:pt>
                <c:pt idx="2243">
                  <c:v>382.24560000000002</c:v>
                </c:pt>
                <c:pt idx="2244">
                  <c:v>383.31939999999997</c:v>
                </c:pt>
                <c:pt idx="2245">
                  <c:v>383.31939999999997</c:v>
                </c:pt>
                <c:pt idx="2246">
                  <c:v>385.46679999999998</c:v>
                </c:pt>
                <c:pt idx="2247">
                  <c:v>387.39949999999999</c:v>
                </c:pt>
                <c:pt idx="2248">
                  <c:v>394.2713</c:v>
                </c:pt>
                <c:pt idx="2249">
                  <c:v>395.3451</c:v>
                </c:pt>
                <c:pt idx="2250">
                  <c:v>398.56619999999998</c:v>
                </c:pt>
                <c:pt idx="2251">
                  <c:v>391.05020000000002</c:v>
                </c:pt>
                <c:pt idx="2252">
                  <c:v>399.64</c:v>
                </c:pt>
                <c:pt idx="2253">
                  <c:v>400.92840000000001</c:v>
                </c:pt>
                <c:pt idx="2254">
                  <c:v>400.49889999999999</c:v>
                </c:pt>
                <c:pt idx="2255">
                  <c:v>401.35789999999997</c:v>
                </c:pt>
                <c:pt idx="2256">
                  <c:v>401.5727</c:v>
                </c:pt>
                <c:pt idx="2257">
                  <c:v>401.5727</c:v>
                </c:pt>
                <c:pt idx="2258">
                  <c:v>406.94130000000001</c:v>
                </c:pt>
                <c:pt idx="2259">
                  <c:v>398.56619999999998</c:v>
                </c:pt>
                <c:pt idx="2260">
                  <c:v>395.98930000000001</c:v>
                </c:pt>
                <c:pt idx="2261">
                  <c:v>401.14319999999992</c:v>
                </c:pt>
                <c:pt idx="2262">
                  <c:v>402.64640000000009</c:v>
                </c:pt>
                <c:pt idx="2263">
                  <c:v>400.92840000000001</c:v>
                </c:pt>
                <c:pt idx="2264">
                  <c:v>406.51179999999999</c:v>
                </c:pt>
                <c:pt idx="2265">
                  <c:v>403.72009999999995</c:v>
                </c:pt>
                <c:pt idx="2266">
                  <c:v>403.72009999999995</c:v>
                </c:pt>
                <c:pt idx="2267">
                  <c:v>402.64640000000009</c:v>
                </c:pt>
                <c:pt idx="2268">
                  <c:v>402.21690000000001</c:v>
                </c:pt>
                <c:pt idx="2269">
                  <c:v>401.5727</c:v>
                </c:pt>
                <c:pt idx="2270">
                  <c:v>399.64</c:v>
                </c:pt>
                <c:pt idx="2271">
                  <c:v>377.95069999999998</c:v>
                </c:pt>
                <c:pt idx="2272">
                  <c:v>379.02449999999999</c:v>
                </c:pt>
                <c:pt idx="2273">
                  <c:v>387.1848</c:v>
                </c:pt>
                <c:pt idx="2274">
                  <c:v>387.82900000000001</c:v>
                </c:pt>
                <c:pt idx="2275">
                  <c:v>384.17829999999998</c:v>
                </c:pt>
                <c:pt idx="2276">
                  <c:v>374.51479999999998</c:v>
                </c:pt>
                <c:pt idx="2277">
                  <c:v>366.35449999999997</c:v>
                </c:pt>
                <c:pt idx="2278">
                  <c:v>371.50839999999999</c:v>
                </c:pt>
                <c:pt idx="2279">
                  <c:v>376.2328</c:v>
                </c:pt>
                <c:pt idx="2280">
                  <c:v>368.28719999999998</c:v>
                </c:pt>
                <c:pt idx="2281">
                  <c:v>367.42829999999998</c:v>
                </c:pt>
                <c:pt idx="2282">
                  <c:v>370.2199</c:v>
                </c:pt>
                <c:pt idx="2283">
                  <c:v>371.29360000000003</c:v>
                </c:pt>
                <c:pt idx="2284">
                  <c:v>371.50839999999999</c:v>
                </c:pt>
                <c:pt idx="2285">
                  <c:v>370.64940000000001</c:v>
                </c:pt>
                <c:pt idx="2286">
                  <c:v>375.80329999999998</c:v>
                </c:pt>
                <c:pt idx="2287">
                  <c:v>385.68150000000003</c:v>
                </c:pt>
                <c:pt idx="2288">
                  <c:v>361.8449</c:v>
                </c:pt>
                <c:pt idx="2289">
                  <c:v>322.11709999999999</c:v>
                </c:pt>
                <c:pt idx="2290">
                  <c:v>323.83510000000001</c:v>
                </c:pt>
                <c:pt idx="2291">
                  <c:v>327.27100000000002</c:v>
                </c:pt>
                <c:pt idx="2292">
                  <c:v>322.54660000000001</c:v>
                </c:pt>
                <c:pt idx="2293">
                  <c:v>328.55940000000004</c:v>
                </c:pt>
                <c:pt idx="2294">
                  <c:v>328.9889</c:v>
                </c:pt>
                <c:pt idx="2295">
                  <c:v>332.85429999999997</c:v>
                </c:pt>
                <c:pt idx="2296">
                  <c:v>341.87360000000001</c:v>
                </c:pt>
                <c:pt idx="2297">
                  <c:v>325.553</c:v>
                </c:pt>
                <c:pt idx="2298">
                  <c:v>319.54020000000003</c:v>
                </c:pt>
                <c:pt idx="2299">
                  <c:v>322.76130000000001</c:v>
                </c:pt>
                <c:pt idx="2300">
                  <c:v>324.69400000000002</c:v>
                </c:pt>
                <c:pt idx="2301">
                  <c:v>330.49219999999997</c:v>
                </c:pt>
                <c:pt idx="2302">
                  <c:v>333.7133</c:v>
                </c:pt>
                <c:pt idx="2303">
                  <c:v>328.55940000000004</c:v>
                </c:pt>
                <c:pt idx="2304">
                  <c:v>316.96320000000003</c:v>
                </c:pt>
                <c:pt idx="2305">
                  <c:v>316.74850000000004</c:v>
                </c:pt>
                <c:pt idx="2306">
                  <c:v>319.96969999999999</c:v>
                </c:pt>
                <c:pt idx="2307">
                  <c:v>318.89589999999998</c:v>
                </c:pt>
                <c:pt idx="2308">
                  <c:v>321.47290000000004</c:v>
                </c:pt>
                <c:pt idx="2309">
                  <c:v>322.33179999999999</c:v>
                </c:pt>
                <c:pt idx="2310">
                  <c:v>330.70689999999996</c:v>
                </c:pt>
                <c:pt idx="2311">
                  <c:v>330.2774</c:v>
                </c:pt>
                <c:pt idx="2312">
                  <c:v>329.84789999999998</c:v>
                </c:pt>
                <c:pt idx="2313">
                  <c:v>334.35759999999999</c:v>
                </c:pt>
                <c:pt idx="2314">
                  <c:v>333.92810000000003</c:v>
                </c:pt>
                <c:pt idx="2315">
                  <c:v>331.13640000000004</c:v>
                </c:pt>
                <c:pt idx="2316">
                  <c:v>323.19079999999997</c:v>
                </c:pt>
                <c:pt idx="2317">
                  <c:v>319.75490000000002</c:v>
                </c:pt>
                <c:pt idx="2318">
                  <c:v>322.97609999999997</c:v>
                </c:pt>
                <c:pt idx="2319">
                  <c:v>324.0498</c:v>
                </c:pt>
                <c:pt idx="2320">
                  <c:v>323.83510000000001</c:v>
                </c:pt>
                <c:pt idx="2321">
                  <c:v>317.82220000000001</c:v>
                </c:pt>
                <c:pt idx="2322">
                  <c:v>317.82220000000001</c:v>
                </c:pt>
                <c:pt idx="2323">
                  <c:v>318.46639999999996</c:v>
                </c:pt>
                <c:pt idx="2324">
                  <c:v>318.25169999999997</c:v>
                </c:pt>
                <c:pt idx="2325">
                  <c:v>319.11070000000001</c:v>
                </c:pt>
                <c:pt idx="2326">
                  <c:v>321.47290000000004</c:v>
                </c:pt>
                <c:pt idx="2327">
                  <c:v>315.8895</c:v>
                </c:pt>
                <c:pt idx="2328">
                  <c:v>315.24529999999999</c:v>
                </c:pt>
                <c:pt idx="2329">
                  <c:v>318.68119999999999</c:v>
                </c:pt>
                <c:pt idx="2330">
                  <c:v>326.41200000000003</c:v>
                </c:pt>
                <c:pt idx="2331">
                  <c:v>325.76779999999997</c:v>
                </c:pt>
                <c:pt idx="2332">
                  <c:v>325.3383</c:v>
                </c:pt>
                <c:pt idx="2333">
                  <c:v>327.05619999999999</c:v>
                </c:pt>
                <c:pt idx="2334">
                  <c:v>326.41200000000003</c:v>
                </c:pt>
                <c:pt idx="2335">
                  <c:v>320.18439999999998</c:v>
                </c:pt>
                <c:pt idx="2336">
                  <c:v>325.12349999999998</c:v>
                </c:pt>
                <c:pt idx="2337">
                  <c:v>324.47930000000002</c:v>
                </c:pt>
                <c:pt idx="2338">
                  <c:v>324.69400000000002</c:v>
                </c:pt>
                <c:pt idx="2339">
                  <c:v>324.69400000000002</c:v>
                </c:pt>
                <c:pt idx="2340">
                  <c:v>324.26460000000003</c:v>
                </c:pt>
                <c:pt idx="2341">
                  <c:v>323.83510000000001</c:v>
                </c:pt>
                <c:pt idx="2342">
                  <c:v>324.26460000000003</c:v>
                </c:pt>
                <c:pt idx="2343">
                  <c:v>325.76779999999997</c:v>
                </c:pt>
                <c:pt idx="2344">
                  <c:v>322.76130000000001</c:v>
                </c:pt>
                <c:pt idx="2345">
                  <c:v>325.76779999999997</c:v>
                </c:pt>
                <c:pt idx="2346">
                  <c:v>328.77420000000001</c:v>
                </c:pt>
                <c:pt idx="2347">
                  <c:v>324.26460000000003</c:v>
                </c:pt>
                <c:pt idx="2348">
                  <c:v>321.9024</c:v>
                </c:pt>
                <c:pt idx="2349">
                  <c:v>322.11709999999999</c:v>
                </c:pt>
                <c:pt idx="2350">
                  <c:v>316.10419999999999</c:v>
                </c:pt>
                <c:pt idx="2351">
                  <c:v>319.11070000000001</c:v>
                </c:pt>
                <c:pt idx="2352">
                  <c:v>322.11709999999999</c:v>
                </c:pt>
                <c:pt idx="2353">
                  <c:v>321.25810000000001</c:v>
                </c:pt>
                <c:pt idx="2354">
                  <c:v>313.52729999999997</c:v>
                </c:pt>
                <c:pt idx="2355">
                  <c:v>315.24529999999999</c:v>
                </c:pt>
                <c:pt idx="2356">
                  <c:v>312.66829999999999</c:v>
                </c:pt>
                <c:pt idx="2357">
                  <c:v>312.88310000000001</c:v>
                </c:pt>
                <c:pt idx="2358">
                  <c:v>307.08500000000004</c:v>
                </c:pt>
                <c:pt idx="2359">
                  <c:v>302.7901</c:v>
                </c:pt>
                <c:pt idx="2360">
                  <c:v>296.13300000000004</c:v>
                </c:pt>
                <c:pt idx="2361">
                  <c:v>295.70349999999996</c:v>
                </c:pt>
                <c:pt idx="2362">
                  <c:v>285.18100000000004</c:v>
                </c:pt>
                <c:pt idx="2363">
                  <c:v>276.59120000000001</c:v>
                </c:pt>
                <c:pt idx="2364">
                  <c:v>276.37650000000002</c:v>
                </c:pt>
                <c:pt idx="2365">
                  <c:v>274.63480000000004</c:v>
                </c:pt>
                <c:pt idx="2366">
                  <c:v>277.18360000000007</c:v>
                </c:pt>
                <c:pt idx="2367">
                  <c:v>273.99759999999998</c:v>
                </c:pt>
                <c:pt idx="2368">
                  <c:v>276.1216</c:v>
                </c:pt>
                <c:pt idx="2369">
                  <c:v>280.36959999999999</c:v>
                </c:pt>
                <c:pt idx="2370">
                  <c:v>289.29050000000001</c:v>
                </c:pt>
                <c:pt idx="2371">
                  <c:v>290.35250000000002</c:v>
                </c:pt>
                <c:pt idx="2372">
                  <c:v>290.56489999999997</c:v>
                </c:pt>
                <c:pt idx="2373">
                  <c:v>290.98969999999997</c:v>
                </c:pt>
                <c:pt idx="2374">
                  <c:v>290.56489999999997</c:v>
                </c:pt>
                <c:pt idx="2375">
                  <c:v>290.14009999999996</c:v>
                </c:pt>
                <c:pt idx="2376">
                  <c:v>290.35250000000002</c:v>
                </c:pt>
                <c:pt idx="2377">
                  <c:v>290.14009999999996</c:v>
                </c:pt>
                <c:pt idx="2378">
                  <c:v>289.92769999999996</c:v>
                </c:pt>
                <c:pt idx="2379">
                  <c:v>292.05170000000004</c:v>
                </c:pt>
                <c:pt idx="2380">
                  <c:v>290.77729999999997</c:v>
                </c:pt>
                <c:pt idx="2381">
                  <c:v>289.29050000000001</c:v>
                </c:pt>
                <c:pt idx="2382">
                  <c:v>288.2285</c:v>
                </c:pt>
                <c:pt idx="2383">
                  <c:v>290.35250000000002</c:v>
                </c:pt>
                <c:pt idx="2384">
                  <c:v>285.89210000000003</c:v>
                </c:pt>
                <c:pt idx="2385">
                  <c:v>281.0068</c:v>
                </c:pt>
                <c:pt idx="2386">
                  <c:v>282.06880000000001</c:v>
                </c:pt>
                <c:pt idx="2387">
                  <c:v>280.36959999999999</c:v>
                </c:pt>
                <c:pt idx="2388">
                  <c:v>279.09519999999998</c:v>
                </c:pt>
                <c:pt idx="2389">
                  <c:v>287.16650000000004</c:v>
                </c:pt>
                <c:pt idx="2390">
                  <c:v>284.61759999999998</c:v>
                </c:pt>
                <c:pt idx="2391">
                  <c:v>290.98969999999997</c:v>
                </c:pt>
                <c:pt idx="2392">
                  <c:v>293.11369999999999</c:v>
                </c:pt>
                <c:pt idx="2393">
                  <c:v>292.68889999999999</c:v>
                </c:pt>
                <c:pt idx="2394">
                  <c:v>290.14009999999996</c:v>
                </c:pt>
                <c:pt idx="2395">
                  <c:v>293.3261</c:v>
                </c:pt>
                <c:pt idx="2396">
                  <c:v>293.5385</c:v>
                </c:pt>
                <c:pt idx="2397">
                  <c:v>293.96329999999995</c:v>
                </c:pt>
                <c:pt idx="2398">
                  <c:v>294.38810000000001</c:v>
                </c:pt>
                <c:pt idx="2399">
                  <c:v>295.23769999999996</c:v>
                </c:pt>
                <c:pt idx="2400">
                  <c:v>298.6361</c:v>
                </c:pt>
                <c:pt idx="2401">
                  <c:v>296.93690000000004</c:v>
                </c:pt>
                <c:pt idx="2402">
                  <c:v>299.48570000000001</c:v>
                </c:pt>
                <c:pt idx="2403">
                  <c:v>303.7337</c:v>
                </c:pt>
                <c:pt idx="2404">
                  <c:v>303.52139999999997</c:v>
                </c:pt>
                <c:pt idx="2405">
                  <c:v>303.94619999999998</c:v>
                </c:pt>
                <c:pt idx="2406">
                  <c:v>302.45940000000002</c:v>
                </c:pt>
                <c:pt idx="2407">
                  <c:v>306.2826</c:v>
                </c:pt>
                <c:pt idx="2408">
                  <c:v>309.89340000000004</c:v>
                </c:pt>
                <c:pt idx="2409">
                  <c:v>300.76009999999997</c:v>
                </c:pt>
                <c:pt idx="2410">
                  <c:v>298.6361</c:v>
                </c:pt>
                <c:pt idx="2411">
                  <c:v>299.27330000000001</c:v>
                </c:pt>
                <c:pt idx="2412">
                  <c:v>297.36169999999998</c:v>
                </c:pt>
                <c:pt idx="2413">
                  <c:v>295.45009999999996</c:v>
                </c:pt>
                <c:pt idx="2414">
                  <c:v>295.02530000000002</c:v>
                </c:pt>
                <c:pt idx="2415">
                  <c:v>299.91050000000001</c:v>
                </c:pt>
                <c:pt idx="2416">
                  <c:v>300.76009999999997</c:v>
                </c:pt>
                <c:pt idx="2417">
                  <c:v>300.33529999999996</c:v>
                </c:pt>
                <c:pt idx="2418">
                  <c:v>301.39729999999997</c:v>
                </c:pt>
                <c:pt idx="2419">
                  <c:v>302.88420000000002</c:v>
                </c:pt>
                <c:pt idx="2420">
                  <c:v>305.43299999999999</c:v>
                </c:pt>
                <c:pt idx="2421">
                  <c:v>304.79579999999999</c:v>
                </c:pt>
                <c:pt idx="2422">
                  <c:v>304.58340000000004</c:v>
                </c:pt>
                <c:pt idx="2423">
                  <c:v>301.60970000000003</c:v>
                </c:pt>
                <c:pt idx="2424">
                  <c:v>299.91050000000001</c:v>
                </c:pt>
                <c:pt idx="2425">
                  <c:v>297.36169999999998</c:v>
                </c:pt>
                <c:pt idx="2426">
                  <c:v>293.5385</c:v>
                </c:pt>
                <c:pt idx="2427">
                  <c:v>307.13220000000001</c:v>
                </c:pt>
                <c:pt idx="2428">
                  <c:v>308.40660000000003</c:v>
                </c:pt>
                <c:pt idx="2429">
                  <c:v>311.80500000000001</c:v>
                </c:pt>
                <c:pt idx="2430">
                  <c:v>307.13220000000001</c:v>
                </c:pt>
                <c:pt idx="2431">
                  <c:v>299.27330000000001</c:v>
                </c:pt>
                <c:pt idx="2432">
                  <c:v>297.78649999999999</c:v>
                </c:pt>
                <c:pt idx="2433">
                  <c:v>299.0609</c:v>
                </c:pt>
                <c:pt idx="2434">
                  <c:v>297.36169999999998</c:v>
                </c:pt>
                <c:pt idx="2435">
                  <c:v>298.21129999999999</c:v>
                </c:pt>
                <c:pt idx="2436">
                  <c:v>288.8657</c:v>
                </c:pt>
                <c:pt idx="2437">
                  <c:v>288.8657</c:v>
                </c:pt>
                <c:pt idx="2438">
                  <c:v>295.23769999999996</c:v>
                </c:pt>
                <c:pt idx="2439">
                  <c:v>292.68889999999999</c:v>
                </c:pt>
                <c:pt idx="2440">
                  <c:v>291.83929999999998</c:v>
                </c:pt>
                <c:pt idx="2441">
                  <c:v>291.62689999999998</c:v>
                </c:pt>
                <c:pt idx="2442">
                  <c:v>294.60050000000007</c:v>
                </c:pt>
                <c:pt idx="2443">
                  <c:v>292.79510000000005</c:v>
                </c:pt>
                <c:pt idx="2444">
                  <c:v>291.41449999999998</c:v>
                </c:pt>
                <c:pt idx="2445">
                  <c:v>292.05170000000004</c:v>
                </c:pt>
                <c:pt idx="2446">
                  <c:v>295.87490000000003</c:v>
                </c:pt>
                <c:pt idx="2447">
                  <c:v>295.02530000000002</c:v>
                </c:pt>
                <c:pt idx="2448">
                  <c:v>296.08730000000003</c:v>
                </c:pt>
                <c:pt idx="2449">
                  <c:v>296.51209999999998</c:v>
                </c:pt>
                <c:pt idx="2450">
                  <c:v>297.57410000000004</c:v>
                </c:pt>
                <c:pt idx="2451">
                  <c:v>296.29970000000003</c:v>
                </c:pt>
                <c:pt idx="2452">
                  <c:v>297.36169999999998</c:v>
                </c:pt>
                <c:pt idx="2453">
                  <c:v>300.76009999999997</c:v>
                </c:pt>
                <c:pt idx="2454">
                  <c:v>295.23769999999996</c:v>
                </c:pt>
                <c:pt idx="2455">
                  <c:v>297.36169999999998</c:v>
                </c:pt>
                <c:pt idx="2456">
                  <c:v>297.36169999999998</c:v>
                </c:pt>
                <c:pt idx="2457">
                  <c:v>291.83929999999998</c:v>
                </c:pt>
                <c:pt idx="2458">
                  <c:v>280.7944</c:v>
                </c:pt>
                <c:pt idx="2459">
                  <c:v>282.49360000000001</c:v>
                </c:pt>
                <c:pt idx="2460">
                  <c:v>281.85640000000001</c:v>
                </c:pt>
                <c:pt idx="2461">
                  <c:v>282.49360000000001</c:v>
                </c:pt>
                <c:pt idx="2462">
                  <c:v>288.6533</c:v>
                </c:pt>
                <c:pt idx="2463">
                  <c:v>284.61759999999998</c:v>
                </c:pt>
                <c:pt idx="2464">
                  <c:v>285.89210000000003</c:v>
                </c:pt>
                <c:pt idx="2465">
                  <c:v>287.80369999999999</c:v>
                </c:pt>
                <c:pt idx="2466">
                  <c:v>284.61759999999998</c:v>
                </c:pt>
                <c:pt idx="2467">
                  <c:v>288.01609999999999</c:v>
                </c:pt>
                <c:pt idx="2468">
                  <c:v>289.92769999999996</c:v>
                </c:pt>
                <c:pt idx="2469">
                  <c:v>288.8657</c:v>
                </c:pt>
                <c:pt idx="2470">
                  <c:v>286.74170000000004</c:v>
                </c:pt>
                <c:pt idx="2471">
                  <c:v>286.74170000000004</c:v>
                </c:pt>
                <c:pt idx="2472">
                  <c:v>286.3168</c:v>
                </c:pt>
                <c:pt idx="2473">
                  <c:v>290.98969999999997</c:v>
                </c:pt>
                <c:pt idx="2474">
                  <c:v>293.7509</c:v>
                </c:pt>
                <c:pt idx="2475">
                  <c:v>289.92769999999996</c:v>
                </c:pt>
                <c:pt idx="2476">
                  <c:v>292.47649999999999</c:v>
                </c:pt>
                <c:pt idx="2477">
                  <c:v>293.11369999999999</c:v>
                </c:pt>
                <c:pt idx="2478">
                  <c:v>293.11369999999999</c:v>
                </c:pt>
                <c:pt idx="2479">
                  <c:v>293.3261</c:v>
                </c:pt>
                <c:pt idx="2480">
                  <c:v>297.36169999999998</c:v>
                </c:pt>
                <c:pt idx="2481">
                  <c:v>296.93690000000004</c:v>
                </c:pt>
                <c:pt idx="2482">
                  <c:v>299.0609</c:v>
                </c:pt>
                <c:pt idx="2483">
                  <c:v>297.36169999999998</c:v>
                </c:pt>
                <c:pt idx="2484">
                  <c:v>298.6361</c:v>
                </c:pt>
                <c:pt idx="2485">
                  <c:v>299.0609</c:v>
                </c:pt>
                <c:pt idx="2486">
                  <c:v>299.48570000000001</c:v>
                </c:pt>
                <c:pt idx="2487">
                  <c:v>298.6361</c:v>
                </c:pt>
                <c:pt idx="2488">
                  <c:v>300.76009999999997</c:v>
                </c:pt>
                <c:pt idx="2489">
                  <c:v>299.67349999999999</c:v>
                </c:pt>
                <c:pt idx="2490">
                  <c:v>298.0016</c:v>
                </c:pt>
                <c:pt idx="2491">
                  <c:v>298.0016</c:v>
                </c:pt>
                <c:pt idx="2492">
                  <c:v>297.79270000000002</c:v>
                </c:pt>
                <c:pt idx="2493">
                  <c:v>297.79270000000002</c:v>
                </c:pt>
                <c:pt idx="2494">
                  <c:v>299.67349999999999</c:v>
                </c:pt>
                <c:pt idx="2495">
                  <c:v>295.9119</c:v>
                </c:pt>
                <c:pt idx="2496">
                  <c:v>293.82209999999998</c:v>
                </c:pt>
                <c:pt idx="2497">
                  <c:v>296.53879999999998</c:v>
                </c:pt>
                <c:pt idx="2498">
                  <c:v>293.1952</c:v>
                </c:pt>
                <c:pt idx="2499">
                  <c:v>290.06049999999999</c:v>
                </c:pt>
                <c:pt idx="2500">
                  <c:v>293.61310000000003</c:v>
                </c:pt>
                <c:pt idx="2501">
                  <c:v>295.9119</c:v>
                </c:pt>
                <c:pt idx="2502">
                  <c:v>289.01560000000001</c:v>
                </c:pt>
                <c:pt idx="2503">
                  <c:v>288.38870000000003</c:v>
                </c:pt>
                <c:pt idx="2504">
                  <c:v>291.73230000000001</c:v>
                </c:pt>
                <c:pt idx="2505">
                  <c:v>289.85149999999999</c:v>
                </c:pt>
                <c:pt idx="2506">
                  <c:v>290.26949999999999</c:v>
                </c:pt>
                <c:pt idx="2507">
                  <c:v>287.34379999999999</c:v>
                </c:pt>
                <c:pt idx="2508">
                  <c:v>289.64249999999998</c:v>
                </c:pt>
                <c:pt idx="2509">
                  <c:v>288.17969999999997</c:v>
                </c:pt>
                <c:pt idx="2510">
                  <c:v>289.85149999999999</c:v>
                </c:pt>
                <c:pt idx="2511">
                  <c:v>287.76169999999996</c:v>
                </c:pt>
                <c:pt idx="2512">
                  <c:v>288.38870000000003</c:v>
                </c:pt>
                <c:pt idx="2513">
                  <c:v>286.50790000000001</c:v>
                </c:pt>
                <c:pt idx="2514">
                  <c:v>286.2989</c:v>
                </c:pt>
                <c:pt idx="2515">
                  <c:v>288.38870000000003</c:v>
                </c:pt>
                <c:pt idx="2516">
                  <c:v>291.31439999999998</c:v>
                </c:pt>
                <c:pt idx="2517">
                  <c:v>291.10540000000003</c:v>
                </c:pt>
                <c:pt idx="2518">
                  <c:v>290.89640000000003</c:v>
                </c:pt>
                <c:pt idx="2519">
                  <c:v>289.85149999999999</c:v>
                </c:pt>
                <c:pt idx="2520">
                  <c:v>291.10540000000003</c:v>
                </c:pt>
                <c:pt idx="2521">
                  <c:v>289.22460000000001</c:v>
                </c:pt>
                <c:pt idx="2522">
                  <c:v>288.38870000000003</c:v>
                </c:pt>
                <c:pt idx="2523">
                  <c:v>284.83609999999999</c:v>
                </c:pt>
                <c:pt idx="2524">
                  <c:v>286.2989</c:v>
                </c:pt>
                <c:pt idx="2525">
                  <c:v>285.88100000000003</c:v>
                </c:pt>
                <c:pt idx="2526">
                  <c:v>286.2989</c:v>
                </c:pt>
                <c:pt idx="2527">
                  <c:v>287.34379999999999</c:v>
                </c:pt>
                <c:pt idx="2528">
                  <c:v>290.06049999999999</c:v>
                </c:pt>
                <c:pt idx="2529">
                  <c:v>290.06049999999999</c:v>
                </c:pt>
                <c:pt idx="2530">
                  <c:v>293.82209999999998</c:v>
                </c:pt>
                <c:pt idx="2531">
                  <c:v>292.15030000000002</c:v>
                </c:pt>
                <c:pt idx="2532">
                  <c:v>292.9862</c:v>
                </c:pt>
                <c:pt idx="2533">
                  <c:v>286.2989</c:v>
                </c:pt>
                <c:pt idx="2534">
                  <c:v>286.2989</c:v>
                </c:pt>
                <c:pt idx="2535">
                  <c:v>281.91040000000004</c:v>
                </c:pt>
                <c:pt idx="2536">
                  <c:v>281.91040000000004</c:v>
                </c:pt>
                <c:pt idx="2537">
                  <c:v>283.16419999999999</c:v>
                </c:pt>
                <c:pt idx="2538">
                  <c:v>280.8655</c:v>
                </c:pt>
                <c:pt idx="2539">
                  <c:v>277.10390000000001</c:v>
                </c:pt>
                <c:pt idx="2540">
                  <c:v>270.83459999999997</c:v>
                </c:pt>
                <c:pt idx="2541">
                  <c:v>252.02660000000003</c:v>
                </c:pt>
                <c:pt idx="2542">
                  <c:v>250.14580000000004</c:v>
                </c:pt>
                <c:pt idx="2543">
                  <c:v>248.26499999999996</c:v>
                </c:pt>
                <c:pt idx="2544">
                  <c:v>246.5932</c:v>
                </c:pt>
                <c:pt idx="2545">
                  <c:v>244.0855</c:v>
                </c:pt>
                <c:pt idx="2546">
                  <c:v>240.32390000000001</c:v>
                </c:pt>
                <c:pt idx="2547">
                  <c:v>236.9803</c:v>
                </c:pt>
                <c:pt idx="2548">
                  <c:v>241.78670000000002</c:v>
                </c:pt>
                <c:pt idx="2549">
                  <c:v>241.9957</c:v>
                </c:pt>
                <c:pt idx="2550">
                  <c:v>238.86109999999999</c:v>
                </c:pt>
                <c:pt idx="2551">
                  <c:v>243.04060000000001</c:v>
                </c:pt>
                <c:pt idx="2552">
                  <c:v>250.77280000000002</c:v>
                </c:pt>
                <c:pt idx="2553">
                  <c:v>250.98180000000002</c:v>
                </c:pt>
                <c:pt idx="2554">
                  <c:v>250.56379999999999</c:v>
                </c:pt>
                <c:pt idx="2555">
                  <c:v>248.47399999999999</c:v>
                </c:pt>
                <c:pt idx="2556">
                  <c:v>250.77280000000002</c:v>
                </c:pt>
                <c:pt idx="2557">
                  <c:v>249.51889999999997</c:v>
                </c:pt>
                <c:pt idx="2558">
                  <c:v>253.28049999999996</c:v>
                </c:pt>
                <c:pt idx="2559">
                  <c:v>251.3997</c:v>
                </c:pt>
                <c:pt idx="2560">
                  <c:v>251.8177</c:v>
                </c:pt>
                <c:pt idx="2561">
                  <c:v>248.68299999999999</c:v>
                </c:pt>
                <c:pt idx="2562">
                  <c:v>248.68299999999999</c:v>
                </c:pt>
                <c:pt idx="2563">
                  <c:v>256.20620000000002</c:v>
                </c:pt>
                <c:pt idx="2564">
                  <c:v>257.46000000000004</c:v>
                </c:pt>
                <c:pt idx="2565">
                  <c:v>257.66900000000004</c:v>
                </c:pt>
                <c:pt idx="2566">
                  <c:v>255.99720000000002</c:v>
                </c:pt>
                <c:pt idx="2567">
                  <c:v>255.16130000000001</c:v>
                </c:pt>
                <c:pt idx="2568">
                  <c:v>254.53440000000001</c:v>
                </c:pt>
                <c:pt idx="2569">
                  <c:v>252.44460000000001</c:v>
                </c:pt>
                <c:pt idx="2570">
                  <c:v>249.10100000000003</c:v>
                </c:pt>
                <c:pt idx="2571">
                  <c:v>252.02660000000003</c:v>
                </c:pt>
                <c:pt idx="2572">
                  <c:v>250.98180000000002</c:v>
                </c:pt>
                <c:pt idx="2573">
                  <c:v>250.77280000000002</c:v>
                </c:pt>
                <c:pt idx="2574">
                  <c:v>252.86249999999998</c:v>
                </c:pt>
                <c:pt idx="2575">
                  <c:v>252.86249999999998</c:v>
                </c:pt>
                <c:pt idx="2576">
                  <c:v>254.11640000000003</c:v>
                </c:pt>
                <c:pt idx="2577">
                  <c:v>253.07149999999999</c:v>
                </c:pt>
                <c:pt idx="2578">
                  <c:v>254.11640000000003</c:v>
                </c:pt>
                <c:pt idx="2579">
                  <c:v>252.86249999999998</c:v>
                </c:pt>
                <c:pt idx="2580">
                  <c:v>252.44460000000001</c:v>
                </c:pt>
                <c:pt idx="2581">
                  <c:v>254.95229999999998</c:v>
                </c:pt>
                <c:pt idx="2582">
                  <c:v>253.07149999999999</c:v>
                </c:pt>
                <c:pt idx="2583">
                  <c:v>247.42910000000001</c:v>
                </c:pt>
                <c:pt idx="2584">
                  <c:v>251.3997</c:v>
                </c:pt>
                <c:pt idx="2585">
                  <c:v>247.42910000000001</c:v>
                </c:pt>
                <c:pt idx="2586">
                  <c:v>243.66750000000002</c:v>
                </c:pt>
                <c:pt idx="2587">
                  <c:v>243.24959999999996</c:v>
                </c:pt>
                <c:pt idx="2588">
                  <c:v>243.87650000000002</c:v>
                </c:pt>
                <c:pt idx="2589">
                  <c:v>242.41370000000001</c:v>
                </c:pt>
                <c:pt idx="2590">
                  <c:v>242.2047</c:v>
                </c:pt>
                <c:pt idx="2591">
                  <c:v>243.24959999999996</c:v>
                </c:pt>
                <c:pt idx="2592">
                  <c:v>244.2945</c:v>
                </c:pt>
                <c:pt idx="2593">
                  <c:v>242.62269999999998</c:v>
                </c:pt>
                <c:pt idx="2594">
                  <c:v>239.27899999999997</c:v>
                </c:pt>
                <c:pt idx="2595">
                  <c:v>237.39819999999997</c:v>
                </c:pt>
                <c:pt idx="2596">
                  <c:v>237.39819999999997</c:v>
                </c:pt>
                <c:pt idx="2597">
                  <c:v>236.14439999999996</c:v>
                </c:pt>
                <c:pt idx="2598">
                  <c:v>236.56230000000002</c:v>
                </c:pt>
                <c:pt idx="2599">
                  <c:v>237.81620000000001</c:v>
                </c:pt>
                <c:pt idx="2600">
                  <c:v>240.74189999999999</c:v>
                </c:pt>
                <c:pt idx="2601">
                  <c:v>240.74189999999999</c:v>
                </c:pt>
                <c:pt idx="2602">
                  <c:v>242.83160000000001</c:v>
                </c:pt>
                <c:pt idx="2603">
                  <c:v>249.10100000000003</c:v>
                </c:pt>
                <c:pt idx="2604">
                  <c:v>244.0855</c:v>
                </c:pt>
                <c:pt idx="2605">
                  <c:v>241.78670000000002</c:v>
                </c:pt>
                <c:pt idx="2606">
                  <c:v>239.48799999999997</c:v>
                </c:pt>
                <c:pt idx="2607">
                  <c:v>238.86109999999999</c:v>
                </c:pt>
                <c:pt idx="2608">
                  <c:v>240.11490000000003</c:v>
                </c:pt>
                <c:pt idx="2609">
                  <c:v>239.07</c:v>
                </c:pt>
                <c:pt idx="2610">
                  <c:v>237.1892</c:v>
                </c:pt>
                <c:pt idx="2611">
                  <c:v>235.30840000000001</c:v>
                </c:pt>
                <c:pt idx="2612">
                  <c:v>234.4725</c:v>
                </c:pt>
                <c:pt idx="2613">
                  <c:v>234.05459999999999</c:v>
                </c:pt>
                <c:pt idx="2614">
                  <c:v>234.26359999999997</c:v>
                </c:pt>
                <c:pt idx="2615">
                  <c:v>233.00970000000004</c:v>
                </c:pt>
                <c:pt idx="2616">
                  <c:v>233.00970000000004</c:v>
                </c:pt>
                <c:pt idx="2617">
                  <c:v>233.2576</c:v>
                </c:pt>
                <c:pt idx="2618">
                  <c:v>234.4973</c:v>
                </c:pt>
                <c:pt idx="2619">
                  <c:v>233.46420000000001</c:v>
                </c:pt>
                <c:pt idx="2620">
                  <c:v>234.7039</c:v>
                </c:pt>
                <c:pt idx="2621">
                  <c:v>229.12549999999996</c:v>
                </c:pt>
                <c:pt idx="2622">
                  <c:v>229.33209999999997</c:v>
                </c:pt>
                <c:pt idx="2623">
                  <c:v>230.57169999999999</c:v>
                </c:pt>
                <c:pt idx="2624">
                  <c:v>230.98499999999999</c:v>
                </c:pt>
                <c:pt idx="2625">
                  <c:v>230.77839999999998</c:v>
                </c:pt>
                <c:pt idx="2626">
                  <c:v>230.77839999999998</c:v>
                </c:pt>
                <c:pt idx="2627">
                  <c:v>231.39820000000003</c:v>
                </c:pt>
                <c:pt idx="2628">
                  <c:v>230.36510000000004</c:v>
                </c:pt>
                <c:pt idx="2629">
                  <c:v>233.46420000000001</c:v>
                </c:pt>
                <c:pt idx="2630">
                  <c:v>234.084</c:v>
                </c:pt>
                <c:pt idx="2631">
                  <c:v>231.60480000000004</c:v>
                </c:pt>
                <c:pt idx="2632">
                  <c:v>230.98499999999999</c:v>
                </c:pt>
                <c:pt idx="2633">
                  <c:v>229.95190000000002</c:v>
                </c:pt>
                <c:pt idx="2634">
                  <c:v>223.96039999999999</c:v>
                </c:pt>
                <c:pt idx="2635">
                  <c:v>221.06789999999998</c:v>
                </c:pt>
                <c:pt idx="2636">
                  <c:v>222.3075</c:v>
                </c:pt>
                <c:pt idx="2637">
                  <c:v>219.82830000000001</c:v>
                </c:pt>
                <c:pt idx="2638">
                  <c:v>219.62169999999998</c:v>
                </c:pt>
                <c:pt idx="2639">
                  <c:v>216.9358</c:v>
                </c:pt>
                <c:pt idx="2640">
                  <c:v>217.55560000000003</c:v>
                </c:pt>
                <c:pt idx="2641">
                  <c:v>214.86969999999999</c:v>
                </c:pt>
                <c:pt idx="2642">
                  <c:v>217.76220000000004</c:v>
                </c:pt>
                <c:pt idx="2643">
                  <c:v>216.9358</c:v>
                </c:pt>
                <c:pt idx="2644">
                  <c:v>216.9358</c:v>
                </c:pt>
                <c:pt idx="2645">
                  <c:v>219.41509999999997</c:v>
                </c:pt>
                <c:pt idx="2646">
                  <c:v>224.167</c:v>
                </c:pt>
                <c:pt idx="2647">
                  <c:v>227.26610000000002</c:v>
                </c:pt>
                <c:pt idx="2648">
                  <c:v>226.85290000000001</c:v>
                </c:pt>
                <c:pt idx="2649">
                  <c:v>228.50570000000002</c:v>
                </c:pt>
                <c:pt idx="2650">
                  <c:v>229.33209999999997</c:v>
                </c:pt>
                <c:pt idx="2651">
                  <c:v>225.61320000000001</c:v>
                </c:pt>
                <c:pt idx="2652">
                  <c:v>232.01799999999997</c:v>
                </c:pt>
                <c:pt idx="2653">
                  <c:v>231.81139999999999</c:v>
                </c:pt>
                <c:pt idx="2654">
                  <c:v>231.39820000000003</c:v>
                </c:pt>
                <c:pt idx="2655">
                  <c:v>233.46420000000001</c:v>
                </c:pt>
                <c:pt idx="2656">
                  <c:v>231.39820000000003</c:v>
                </c:pt>
                <c:pt idx="2657">
                  <c:v>234.29060000000001</c:v>
                </c:pt>
                <c:pt idx="2658">
                  <c:v>230.36510000000004</c:v>
                </c:pt>
                <c:pt idx="2659">
                  <c:v>231.39820000000003</c:v>
                </c:pt>
                <c:pt idx="2660">
                  <c:v>235.73689999999999</c:v>
                </c:pt>
                <c:pt idx="2661">
                  <c:v>230.15850000000003</c:v>
                </c:pt>
                <c:pt idx="2662">
                  <c:v>231.81139999999999</c:v>
                </c:pt>
                <c:pt idx="2663">
                  <c:v>231.60480000000004</c:v>
                </c:pt>
                <c:pt idx="2664">
                  <c:v>233.46420000000001</c:v>
                </c:pt>
                <c:pt idx="2665">
                  <c:v>233.87739999999999</c:v>
                </c:pt>
                <c:pt idx="2666">
                  <c:v>232.22459999999998</c:v>
                </c:pt>
                <c:pt idx="2667">
                  <c:v>234.29060000000001</c:v>
                </c:pt>
                <c:pt idx="2668">
                  <c:v>234.29060000000001</c:v>
                </c:pt>
                <c:pt idx="2669">
                  <c:v>231.81139999999999</c:v>
                </c:pt>
                <c:pt idx="2670">
                  <c:v>234.4973</c:v>
                </c:pt>
                <c:pt idx="2671">
                  <c:v>232.84440000000001</c:v>
                </c:pt>
                <c:pt idx="2672">
                  <c:v>232.22459999999998</c:v>
                </c:pt>
                <c:pt idx="2673">
                  <c:v>235.3237</c:v>
                </c:pt>
                <c:pt idx="2674">
                  <c:v>232.22459999999998</c:v>
                </c:pt>
                <c:pt idx="2675">
                  <c:v>226.85290000000001</c:v>
                </c:pt>
                <c:pt idx="2676">
                  <c:v>226.85290000000001</c:v>
                </c:pt>
                <c:pt idx="2677">
                  <c:v>227.67930000000001</c:v>
                </c:pt>
                <c:pt idx="2678">
                  <c:v>227.05950000000001</c:v>
                </c:pt>
                <c:pt idx="2679">
                  <c:v>226.85290000000001</c:v>
                </c:pt>
                <c:pt idx="2680">
                  <c:v>225.2</c:v>
                </c:pt>
                <c:pt idx="2681">
                  <c:v>226.233</c:v>
                </c:pt>
                <c:pt idx="2682">
                  <c:v>226.02640000000002</c:v>
                </c:pt>
                <c:pt idx="2683">
                  <c:v>225.2</c:v>
                </c:pt>
                <c:pt idx="2684">
                  <c:v>225.2</c:v>
                </c:pt>
                <c:pt idx="2685">
                  <c:v>221.89430000000004</c:v>
                </c:pt>
                <c:pt idx="2686">
                  <c:v>223.96039999999999</c:v>
                </c:pt>
                <c:pt idx="2687">
                  <c:v>225.4066</c:v>
                </c:pt>
                <c:pt idx="2688">
                  <c:v>228.50570000000002</c:v>
                </c:pt>
                <c:pt idx="2689">
                  <c:v>222.9273</c:v>
                </c:pt>
                <c:pt idx="2690">
                  <c:v>219.00180000000003</c:v>
                </c:pt>
                <c:pt idx="2691">
                  <c:v>217.34900000000002</c:v>
                </c:pt>
                <c:pt idx="2692">
                  <c:v>216.10939999999999</c:v>
                </c:pt>
                <c:pt idx="2693">
                  <c:v>209.91119999999998</c:v>
                </c:pt>
                <c:pt idx="2694">
                  <c:v>210.32440000000003</c:v>
                </c:pt>
                <c:pt idx="2695">
                  <c:v>209.91119999999998</c:v>
                </c:pt>
                <c:pt idx="2696">
                  <c:v>209.49800000000002</c:v>
                </c:pt>
                <c:pt idx="2697">
                  <c:v>210.11779999999999</c:v>
                </c:pt>
                <c:pt idx="2698">
                  <c:v>209.29139999999998</c:v>
                </c:pt>
                <c:pt idx="2699">
                  <c:v>208.67160000000001</c:v>
                </c:pt>
                <c:pt idx="2700">
                  <c:v>208.67160000000001</c:v>
                </c:pt>
                <c:pt idx="2701">
                  <c:v>207.63850000000002</c:v>
                </c:pt>
                <c:pt idx="2702">
                  <c:v>207.63850000000002</c:v>
                </c:pt>
                <c:pt idx="2703">
                  <c:v>207.01869999999997</c:v>
                </c:pt>
                <c:pt idx="2704">
                  <c:v>208.46499999999997</c:v>
                </c:pt>
                <c:pt idx="2705">
                  <c:v>208.25839999999997</c:v>
                </c:pt>
                <c:pt idx="2706">
                  <c:v>207.63850000000002</c:v>
                </c:pt>
                <c:pt idx="2707">
                  <c:v>207.84510000000003</c:v>
                </c:pt>
                <c:pt idx="2708">
                  <c:v>208.67160000000001</c:v>
                </c:pt>
                <c:pt idx="2709">
                  <c:v>207.63850000000002</c:v>
                </c:pt>
                <c:pt idx="2710">
                  <c:v>206.19230000000002</c:v>
                </c:pt>
                <c:pt idx="2711">
                  <c:v>209.08480000000003</c:v>
                </c:pt>
                <c:pt idx="2712">
                  <c:v>209.91119999999998</c:v>
                </c:pt>
                <c:pt idx="2713">
                  <c:v>211.56399999999999</c:v>
                </c:pt>
                <c:pt idx="2714">
                  <c:v>210.9442</c:v>
                </c:pt>
                <c:pt idx="2715">
                  <c:v>208.05180000000001</c:v>
                </c:pt>
                <c:pt idx="2716">
                  <c:v>208.87820000000002</c:v>
                </c:pt>
                <c:pt idx="2717">
                  <c:v>208.25839999999997</c:v>
                </c:pt>
                <c:pt idx="2718">
                  <c:v>207.63850000000002</c:v>
                </c:pt>
                <c:pt idx="2719">
                  <c:v>208.25839999999997</c:v>
                </c:pt>
                <c:pt idx="2720">
                  <c:v>209.49800000000002</c:v>
                </c:pt>
                <c:pt idx="2721">
                  <c:v>207.84510000000003</c:v>
                </c:pt>
                <c:pt idx="2722">
                  <c:v>211.77070000000003</c:v>
                </c:pt>
                <c:pt idx="2723">
                  <c:v>213.83669999999998</c:v>
                </c:pt>
                <c:pt idx="2724">
                  <c:v>211.56399999999999</c:v>
                </c:pt>
                <c:pt idx="2725">
                  <c:v>206.60550000000001</c:v>
                </c:pt>
                <c:pt idx="2726">
                  <c:v>208.87820000000002</c:v>
                </c:pt>
                <c:pt idx="2727">
                  <c:v>207.01869999999997</c:v>
                </c:pt>
                <c:pt idx="2728">
                  <c:v>214.45650000000001</c:v>
                </c:pt>
                <c:pt idx="2729">
                  <c:v>217.14240000000001</c:v>
                </c:pt>
                <c:pt idx="2730">
                  <c:v>220.86129999999997</c:v>
                </c:pt>
                <c:pt idx="2731">
                  <c:v>226.233</c:v>
                </c:pt>
                <c:pt idx="2732">
                  <c:v>228.09249999999997</c:v>
                </c:pt>
                <c:pt idx="2733">
                  <c:v>228.09249999999997</c:v>
                </c:pt>
                <c:pt idx="2734">
                  <c:v>227.26610000000002</c:v>
                </c:pt>
                <c:pt idx="2735">
                  <c:v>228.09249999999997</c:v>
                </c:pt>
                <c:pt idx="2736">
                  <c:v>229.74529999999999</c:v>
                </c:pt>
                <c:pt idx="2737">
                  <c:v>230.98499999999999</c:v>
                </c:pt>
                <c:pt idx="2738">
                  <c:v>231.19159999999999</c:v>
                </c:pt>
                <c:pt idx="2739">
                  <c:v>228.09249999999997</c:v>
                </c:pt>
                <c:pt idx="2740">
                  <c:v>225.81980000000001</c:v>
                </c:pt>
                <c:pt idx="2741">
                  <c:v>223.5472</c:v>
                </c:pt>
                <c:pt idx="2742">
                  <c:v>225.17000000000002</c:v>
                </c:pt>
                <c:pt idx="2743">
                  <c:v>225.37289999999999</c:v>
                </c:pt>
                <c:pt idx="2744">
                  <c:v>225.57570000000001</c:v>
                </c:pt>
                <c:pt idx="2745">
                  <c:v>224.96720000000005</c:v>
                </c:pt>
                <c:pt idx="2746">
                  <c:v>225.57570000000001</c:v>
                </c:pt>
                <c:pt idx="2747">
                  <c:v>226.59000000000003</c:v>
                </c:pt>
                <c:pt idx="2748">
                  <c:v>225.17000000000002</c:v>
                </c:pt>
                <c:pt idx="2749">
                  <c:v>228.01</c:v>
                </c:pt>
                <c:pt idx="2750">
                  <c:v>229.6328</c:v>
                </c:pt>
                <c:pt idx="2751">
                  <c:v>229.02430000000004</c:v>
                </c:pt>
                <c:pt idx="2752">
                  <c:v>227.1986</c:v>
                </c:pt>
                <c:pt idx="2753">
                  <c:v>225.17000000000002</c:v>
                </c:pt>
                <c:pt idx="2754">
                  <c:v>227.40140000000002</c:v>
                </c:pt>
                <c:pt idx="2755">
                  <c:v>226.99569999999997</c:v>
                </c:pt>
                <c:pt idx="2756">
                  <c:v>226.3871</c:v>
                </c:pt>
                <c:pt idx="2757">
                  <c:v>226.3871</c:v>
                </c:pt>
                <c:pt idx="2758">
                  <c:v>227.1986</c:v>
                </c:pt>
                <c:pt idx="2759">
                  <c:v>226.59000000000003</c:v>
                </c:pt>
                <c:pt idx="2760">
                  <c:v>225.98140000000001</c:v>
                </c:pt>
                <c:pt idx="2761">
                  <c:v>227.80709999999996</c:v>
                </c:pt>
                <c:pt idx="2762">
                  <c:v>229.22710000000004</c:v>
                </c:pt>
                <c:pt idx="2763">
                  <c:v>228.41569999999996</c:v>
                </c:pt>
                <c:pt idx="2764">
                  <c:v>230.4443</c:v>
                </c:pt>
                <c:pt idx="2765">
                  <c:v>226.18429999999998</c:v>
                </c:pt>
                <c:pt idx="2766">
                  <c:v>229.22710000000004</c:v>
                </c:pt>
                <c:pt idx="2767">
                  <c:v>229.83570000000003</c:v>
                </c:pt>
                <c:pt idx="2768">
                  <c:v>229.02430000000004</c:v>
                </c:pt>
                <c:pt idx="2769">
                  <c:v>227.40140000000002</c:v>
                </c:pt>
                <c:pt idx="2770">
                  <c:v>228.82139999999998</c:v>
                </c:pt>
                <c:pt idx="2771">
                  <c:v>229.02430000000004</c:v>
                </c:pt>
                <c:pt idx="2772">
                  <c:v>228.21280000000002</c:v>
                </c:pt>
                <c:pt idx="2773">
                  <c:v>226.3871</c:v>
                </c:pt>
                <c:pt idx="2774">
                  <c:v>227.40140000000002</c:v>
                </c:pt>
                <c:pt idx="2775">
                  <c:v>230.4443</c:v>
                </c:pt>
                <c:pt idx="2776">
                  <c:v>227.1986</c:v>
                </c:pt>
                <c:pt idx="2777">
                  <c:v>225.17000000000002</c:v>
                </c:pt>
                <c:pt idx="2778">
                  <c:v>220.5043</c:v>
                </c:pt>
                <c:pt idx="2779">
                  <c:v>220.5043</c:v>
                </c:pt>
                <c:pt idx="2780">
                  <c:v>220.91000000000003</c:v>
                </c:pt>
                <c:pt idx="2781">
                  <c:v>222.73570000000001</c:v>
                </c:pt>
                <c:pt idx="2782">
                  <c:v>221.11289999999997</c:v>
                </c:pt>
                <c:pt idx="2783">
                  <c:v>223.1414</c:v>
                </c:pt>
                <c:pt idx="2784">
                  <c:v>221.11289999999997</c:v>
                </c:pt>
                <c:pt idx="2785">
                  <c:v>219.89580000000001</c:v>
                </c:pt>
                <c:pt idx="2786">
                  <c:v>219.69289999999998</c:v>
                </c:pt>
                <c:pt idx="2787">
                  <c:v>220.5043</c:v>
                </c:pt>
                <c:pt idx="2788">
                  <c:v>220.09860000000003</c:v>
                </c:pt>
                <c:pt idx="2789">
                  <c:v>221.92430000000002</c:v>
                </c:pt>
                <c:pt idx="2790">
                  <c:v>222.73570000000001</c:v>
                </c:pt>
                <c:pt idx="2791">
                  <c:v>219.08430000000001</c:v>
                </c:pt>
                <c:pt idx="2792">
                  <c:v>219.08430000000001</c:v>
                </c:pt>
                <c:pt idx="2793">
                  <c:v>223.1414</c:v>
                </c:pt>
                <c:pt idx="2794">
                  <c:v>219.28719999999998</c:v>
                </c:pt>
                <c:pt idx="2795">
                  <c:v>221.11289999999997</c:v>
                </c:pt>
                <c:pt idx="2796">
                  <c:v>221.11289999999997</c:v>
                </c:pt>
                <c:pt idx="2797">
                  <c:v>220.30149999999998</c:v>
                </c:pt>
                <c:pt idx="2798">
                  <c:v>222.93859999999998</c:v>
                </c:pt>
                <c:pt idx="2799">
                  <c:v>221.3158</c:v>
                </c:pt>
                <c:pt idx="2800">
                  <c:v>226.18429999999998</c:v>
                </c:pt>
                <c:pt idx="2801">
                  <c:v>226.99569999999997</c:v>
                </c:pt>
                <c:pt idx="2802">
                  <c:v>225.17000000000002</c:v>
                </c:pt>
                <c:pt idx="2803">
                  <c:v>223.5472</c:v>
                </c:pt>
                <c:pt idx="2804">
                  <c:v>227.40140000000002</c:v>
                </c:pt>
                <c:pt idx="2805">
                  <c:v>227.1986</c:v>
                </c:pt>
                <c:pt idx="2806">
                  <c:v>224.96720000000005</c:v>
                </c:pt>
                <c:pt idx="2807">
                  <c:v>221.51860000000002</c:v>
                </c:pt>
                <c:pt idx="2808">
                  <c:v>218.27290000000002</c:v>
                </c:pt>
                <c:pt idx="2809">
                  <c:v>216.65010000000001</c:v>
                </c:pt>
                <c:pt idx="2810">
                  <c:v>219.08430000000001</c:v>
                </c:pt>
                <c:pt idx="2811">
                  <c:v>218.47579999999999</c:v>
                </c:pt>
                <c:pt idx="2812">
                  <c:v>217.46150000000003</c:v>
                </c:pt>
                <c:pt idx="2813">
                  <c:v>218.67860000000002</c:v>
                </c:pt>
                <c:pt idx="2814">
                  <c:v>219.08430000000001</c:v>
                </c:pt>
                <c:pt idx="2815">
                  <c:v>219.08430000000001</c:v>
                </c:pt>
                <c:pt idx="2816">
                  <c:v>219.08430000000001</c:v>
                </c:pt>
                <c:pt idx="2817">
                  <c:v>220.7072</c:v>
                </c:pt>
                <c:pt idx="2818">
                  <c:v>219.89580000000001</c:v>
                </c:pt>
                <c:pt idx="2819">
                  <c:v>222.33</c:v>
                </c:pt>
                <c:pt idx="2820">
                  <c:v>220.09860000000003</c:v>
                </c:pt>
                <c:pt idx="2821">
                  <c:v>224.56139999999999</c:v>
                </c:pt>
                <c:pt idx="2822">
                  <c:v>221.72150000000005</c:v>
                </c:pt>
                <c:pt idx="2823">
                  <c:v>219.48999999999995</c:v>
                </c:pt>
                <c:pt idx="2824">
                  <c:v>220.7072</c:v>
                </c:pt>
                <c:pt idx="2825">
                  <c:v>223.1414</c:v>
                </c:pt>
                <c:pt idx="2826">
                  <c:v>222.53289999999998</c:v>
                </c:pt>
                <c:pt idx="2827">
                  <c:v>225.77860000000004</c:v>
                </c:pt>
                <c:pt idx="2828">
                  <c:v>224.15570000000002</c:v>
                </c:pt>
                <c:pt idx="2829">
                  <c:v>224.76429999999999</c:v>
                </c:pt>
                <c:pt idx="2830">
                  <c:v>224.15570000000002</c:v>
                </c:pt>
                <c:pt idx="2831">
                  <c:v>224.96720000000005</c:v>
                </c:pt>
                <c:pt idx="2832">
                  <c:v>222.12719999999999</c:v>
                </c:pt>
                <c:pt idx="2833">
                  <c:v>225.17000000000002</c:v>
                </c:pt>
                <c:pt idx="2834">
                  <c:v>226.18429999999998</c:v>
                </c:pt>
                <c:pt idx="2835">
                  <c:v>219.48999999999995</c:v>
                </c:pt>
                <c:pt idx="2836">
                  <c:v>222.33</c:v>
                </c:pt>
                <c:pt idx="2837">
                  <c:v>222.73570000000001</c:v>
                </c:pt>
                <c:pt idx="2838">
                  <c:v>214.21580000000003</c:v>
                </c:pt>
                <c:pt idx="2839">
                  <c:v>206.91299999999998</c:v>
                </c:pt>
                <c:pt idx="2840">
                  <c:v>209.55010000000001</c:v>
                </c:pt>
                <c:pt idx="2841">
                  <c:v>207.92729999999997</c:v>
                </c:pt>
                <c:pt idx="2842">
                  <c:v>209.14440000000002</c:v>
                </c:pt>
                <c:pt idx="2843">
                  <c:v>208.73869999999997</c:v>
                </c:pt>
                <c:pt idx="2844">
                  <c:v>210.56439999999998</c:v>
                </c:pt>
                <c:pt idx="2845">
                  <c:v>211.78150000000002</c:v>
                </c:pt>
                <c:pt idx="2846">
                  <c:v>209.95580000000001</c:v>
                </c:pt>
                <c:pt idx="2847">
                  <c:v>206.91299999999998</c:v>
                </c:pt>
                <c:pt idx="2848">
                  <c:v>207.92729999999997</c:v>
                </c:pt>
                <c:pt idx="2849">
                  <c:v>208.13009999999997</c:v>
                </c:pt>
                <c:pt idx="2850">
                  <c:v>208.13009999999997</c:v>
                </c:pt>
                <c:pt idx="2851">
                  <c:v>208.94149999999999</c:v>
                </c:pt>
                <c:pt idx="2852">
                  <c:v>211.37579999999997</c:v>
                </c:pt>
                <c:pt idx="2853">
                  <c:v>214.0129</c:v>
                </c:pt>
                <c:pt idx="2854">
                  <c:v>211.78150000000002</c:v>
                </c:pt>
                <c:pt idx="2855">
                  <c:v>209.75299999999999</c:v>
                </c:pt>
                <c:pt idx="2856">
                  <c:v>210.15869999999998</c:v>
                </c:pt>
                <c:pt idx="2857">
                  <c:v>209.95580000000001</c:v>
                </c:pt>
                <c:pt idx="2858">
                  <c:v>208.94149999999999</c:v>
                </c:pt>
                <c:pt idx="2859">
                  <c:v>210.15869999999998</c:v>
                </c:pt>
                <c:pt idx="2860">
                  <c:v>215.02720000000002</c:v>
                </c:pt>
                <c:pt idx="2861">
                  <c:v>216.65010000000001</c:v>
                </c:pt>
                <c:pt idx="2862">
                  <c:v>217.05579999999998</c:v>
                </c:pt>
                <c:pt idx="2863">
                  <c:v>216.24439999999998</c:v>
                </c:pt>
                <c:pt idx="2864">
                  <c:v>217.6643</c:v>
                </c:pt>
                <c:pt idx="2865">
                  <c:v>219.08430000000001</c:v>
                </c:pt>
                <c:pt idx="2866">
                  <c:v>220.5043</c:v>
                </c:pt>
                <c:pt idx="2867">
                  <c:v>217.46150000000003</c:v>
                </c:pt>
                <c:pt idx="2868">
                  <c:v>217.46150000000003</c:v>
                </c:pt>
                <c:pt idx="2869">
                  <c:v>217.86719999999997</c:v>
                </c:pt>
                <c:pt idx="2870">
                  <c:v>219.67270000000002</c:v>
                </c:pt>
                <c:pt idx="2871">
                  <c:v>219.07089999999999</c:v>
                </c:pt>
                <c:pt idx="2872">
                  <c:v>215.86109999999996</c:v>
                </c:pt>
                <c:pt idx="2873">
                  <c:v>208.63890000000001</c:v>
                </c:pt>
                <c:pt idx="2874">
                  <c:v>204.82730000000001</c:v>
                </c:pt>
                <c:pt idx="2875">
                  <c:v>206.23160000000001</c:v>
                </c:pt>
                <c:pt idx="2876">
                  <c:v>203.423</c:v>
                </c:pt>
                <c:pt idx="2877">
                  <c:v>202.62049999999999</c:v>
                </c:pt>
                <c:pt idx="2878">
                  <c:v>200.41370000000001</c:v>
                </c:pt>
                <c:pt idx="2879">
                  <c:v>197.2039</c:v>
                </c:pt>
                <c:pt idx="2880">
                  <c:v>194.6962</c:v>
                </c:pt>
                <c:pt idx="2881">
                  <c:v>192.58980000000003</c:v>
                </c:pt>
                <c:pt idx="2882">
                  <c:v>192.58980000000003</c:v>
                </c:pt>
                <c:pt idx="2883">
                  <c:v>193.19159999999999</c:v>
                </c:pt>
                <c:pt idx="2884">
                  <c:v>196.90300000000002</c:v>
                </c:pt>
                <c:pt idx="2885">
                  <c:v>194.39529999999999</c:v>
                </c:pt>
                <c:pt idx="2886">
                  <c:v>194.39529999999999</c:v>
                </c:pt>
                <c:pt idx="2887">
                  <c:v>194.09440000000001</c:v>
                </c:pt>
                <c:pt idx="2888">
                  <c:v>192.58980000000003</c:v>
                </c:pt>
                <c:pt idx="2889">
                  <c:v>191.88759999999999</c:v>
                </c:pt>
                <c:pt idx="2890">
                  <c:v>190.1824</c:v>
                </c:pt>
                <c:pt idx="2891">
                  <c:v>190.98489999999998</c:v>
                </c:pt>
                <c:pt idx="2892">
                  <c:v>187.5744</c:v>
                </c:pt>
                <c:pt idx="2893">
                  <c:v>184.66549999999998</c:v>
                </c:pt>
                <c:pt idx="2894">
                  <c:v>185.36770000000001</c:v>
                </c:pt>
                <c:pt idx="2895">
                  <c:v>184.5652</c:v>
                </c:pt>
                <c:pt idx="2896">
                  <c:v>181.35539999999997</c:v>
                </c:pt>
                <c:pt idx="2897">
                  <c:v>181.45570000000001</c:v>
                </c:pt>
                <c:pt idx="2898">
                  <c:v>178.54680000000002</c:v>
                </c:pt>
                <c:pt idx="2899">
                  <c:v>179.3492</c:v>
                </c:pt>
                <c:pt idx="2900">
                  <c:v>180.95419999999999</c:v>
                </c:pt>
                <c:pt idx="2901">
                  <c:v>186.77199999999999</c:v>
                </c:pt>
                <c:pt idx="2902">
                  <c:v>188.37690000000001</c:v>
                </c:pt>
                <c:pt idx="2903">
                  <c:v>185.1671</c:v>
                </c:pt>
                <c:pt idx="2904">
                  <c:v>188.57749999999999</c:v>
                </c:pt>
                <c:pt idx="2905">
                  <c:v>189.58059999999998</c:v>
                </c:pt>
                <c:pt idx="2906">
                  <c:v>188.57749999999999</c:v>
                </c:pt>
                <c:pt idx="2907">
                  <c:v>188.67780000000002</c:v>
                </c:pt>
                <c:pt idx="2908">
                  <c:v>184.5652</c:v>
                </c:pt>
                <c:pt idx="2909">
                  <c:v>187.5744</c:v>
                </c:pt>
                <c:pt idx="2910">
                  <c:v>190.1824</c:v>
                </c:pt>
                <c:pt idx="2911">
                  <c:v>189.07900000000001</c:v>
                </c:pt>
                <c:pt idx="2912">
                  <c:v>189.07900000000001</c:v>
                </c:pt>
                <c:pt idx="2913">
                  <c:v>186.9726</c:v>
                </c:pt>
                <c:pt idx="2914">
                  <c:v>184.16399999999999</c:v>
                </c:pt>
                <c:pt idx="2915">
                  <c:v>182.0575</c:v>
                </c:pt>
                <c:pt idx="2916">
                  <c:v>180.45260000000002</c:v>
                </c:pt>
                <c:pt idx="2917">
                  <c:v>179.54990000000001</c:v>
                </c:pt>
                <c:pt idx="2918">
                  <c:v>179.3492</c:v>
                </c:pt>
                <c:pt idx="2919">
                  <c:v>179.14859999999999</c:v>
                </c:pt>
                <c:pt idx="2920">
                  <c:v>179.3492</c:v>
                </c:pt>
                <c:pt idx="2921">
                  <c:v>174.9357</c:v>
                </c:pt>
                <c:pt idx="2922">
                  <c:v>175.6379</c:v>
                </c:pt>
                <c:pt idx="2923">
                  <c:v>177.74429999999998</c:v>
                </c:pt>
                <c:pt idx="2924">
                  <c:v>174.13329999999999</c:v>
                </c:pt>
                <c:pt idx="2925">
                  <c:v>174.63480000000001</c:v>
                </c:pt>
                <c:pt idx="2926">
                  <c:v>175.33699999999999</c:v>
                </c:pt>
                <c:pt idx="2927">
                  <c:v>172.92959999999999</c:v>
                </c:pt>
                <c:pt idx="2928">
                  <c:v>175.73820000000003</c:v>
                </c:pt>
                <c:pt idx="2929">
                  <c:v>176.9419</c:v>
                </c:pt>
                <c:pt idx="2930">
                  <c:v>176.54060000000001</c:v>
                </c:pt>
                <c:pt idx="2931">
                  <c:v>176.54060000000001</c:v>
                </c:pt>
                <c:pt idx="2932">
                  <c:v>175.93879999999999</c:v>
                </c:pt>
                <c:pt idx="2933">
                  <c:v>174.53449999999998</c:v>
                </c:pt>
                <c:pt idx="2934">
                  <c:v>171.8262</c:v>
                </c:pt>
                <c:pt idx="2935">
                  <c:v>173.53139999999999</c:v>
                </c:pt>
                <c:pt idx="2936">
                  <c:v>169.61939999999998</c:v>
                </c:pt>
                <c:pt idx="2937">
                  <c:v>168.7167</c:v>
                </c:pt>
                <c:pt idx="2938">
                  <c:v>168.11479999999997</c:v>
                </c:pt>
                <c:pt idx="2939">
                  <c:v>170.5222</c:v>
                </c:pt>
                <c:pt idx="2940">
                  <c:v>171.32470000000001</c:v>
                </c:pt>
                <c:pt idx="2941">
                  <c:v>172.22740000000002</c:v>
                </c:pt>
                <c:pt idx="2942">
                  <c:v>169.31850000000003</c:v>
                </c:pt>
                <c:pt idx="2943">
                  <c:v>168.11479999999997</c:v>
                </c:pt>
                <c:pt idx="2944">
                  <c:v>166.1087</c:v>
                </c:pt>
                <c:pt idx="2945">
                  <c:v>178.7474</c:v>
                </c:pt>
                <c:pt idx="2946">
                  <c:v>174.13329999999999</c:v>
                </c:pt>
                <c:pt idx="2947">
                  <c:v>173.53139999999999</c:v>
                </c:pt>
                <c:pt idx="2948">
                  <c:v>176.03909999999999</c:v>
                </c:pt>
                <c:pt idx="2949">
                  <c:v>175.33699999999999</c:v>
                </c:pt>
                <c:pt idx="2950">
                  <c:v>175.23659999999998</c:v>
                </c:pt>
                <c:pt idx="2951">
                  <c:v>174.73510000000002</c:v>
                </c:pt>
                <c:pt idx="2952">
                  <c:v>172.5284</c:v>
                </c:pt>
                <c:pt idx="2953">
                  <c:v>172.5284</c:v>
                </c:pt>
                <c:pt idx="2954">
                  <c:v>171.02369999999999</c:v>
                </c:pt>
                <c:pt idx="2955">
                  <c:v>175.43729999999999</c:v>
                </c:pt>
                <c:pt idx="2956">
                  <c:v>173.732</c:v>
                </c:pt>
                <c:pt idx="2957">
                  <c:v>176.2397</c:v>
                </c:pt>
                <c:pt idx="2958">
                  <c:v>172.92959999999999</c:v>
                </c:pt>
                <c:pt idx="2959">
                  <c:v>178.04519999999999</c:v>
                </c:pt>
                <c:pt idx="2960">
                  <c:v>180.25199999999998</c:v>
                </c:pt>
                <c:pt idx="2961">
                  <c:v>179.3492</c:v>
                </c:pt>
                <c:pt idx="2962">
                  <c:v>183.16089999999997</c:v>
                </c:pt>
                <c:pt idx="2963">
                  <c:v>183.06059999999999</c:v>
                </c:pt>
                <c:pt idx="2964">
                  <c:v>180.95419999999999</c:v>
                </c:pt>
                <c:pt idx="2965">
                  <c:v>180.55289999999999</c:v>
                </c:pt>
                <c:pt idx="2966">
                  <c:v>177.34309999999999</c:v>
                </c:pt>
                <c:pt idx="2967">
                  <c:v>176.03909999999999</c:v>
                </c:pt>
                <c:pt idx="2968">
                  <c:v>175.73820000000003</c:v>
                </c:pt>
                <c:pt idx="2969">
                  <c:v>173.93269999999998</c:v>
                </c:pt>
                <c:pt idx="2970">
                  <c:v>175.5376</c:v>
                </c:pt>
                <c:pt idx="2971">
                  <c:v>180.55289999999999</c:v>
                </c:pt>
                <c:pt idx="2972">
                  <c:v>174.03300000000002</c:v>
                </c:pt>
                <c:pt idx="2973">
                  <c:v>172.5284</c:v>
                </c:pt>
                <c:pt idx="2974">
                  <c:v>171.1241</c:v>
                </c:pt>
                <c:pt idx="2975">
                  <c:v>164.50380000000001</c:v>
                </c:pt>
                <c:pt idx="2976">
                  <c:v>165.30619999999999</c:v>
                </c:pt>
                <c:pt idx="2977">
                  <c:v>165.30619999999999</c:v>
                </c:pt>
                <c:pt idx="2978">
                  <c:v>166.1087</c:v>
                </c:pt>
                <c:pt idx="2979">
                  <c:v>164.10249999999999</c:v>
                </c:pt>
                <c:pt idx="2980">
                  <c:v>163.80159999999998</c:v>
                </c:pt>
                <c:pt idx="2981">
                  <c:v>161.0933</c:v>
                </c:pt>
                <c:pt idx="2982">
                  <c:v>159.0872</c:v>
                </c:pt>
                <c:pt idx="2983">
                  <c:v>165.30619999999999</c:v>
                </c:pt>
                <c:pt idx="2984">
                  <c:v>166.50990000000002</c:v>
                </c:pt>
                <c:pt idx="2985">
                  <c:v>169.31850000000003</c:v>
                </c:pt>
                <c:pt idx="2986">
                  <c:v>171.1241</c:v>
                </c:pt>
                <c:pt idx="2987">
                  <c:v>171.7259</c:v>
                </c:pt>
                <c:pt idx="2988">
                  <c:v>171.32470000000001</c:v>
                </c:pt>
                <c:pt idx="2989">
                  <c:v>172.32769999999999</c:v>
                </c:pt>
                <c:pt idx="2990">
                  <c:v>172.92959999999999</c:v>
                </c:pt>
                <c:pt idx="2991">
                  <c:v>174.13329999999999</c:v>
                </c:pt>
                <c:pt idx="2992">
                  <c:v>171.02369999999999</c:v>
                </c:pt>
                <c:pt idx="2993">
                  <c:v>171.1241</c:v>
                </c:pt>
                <c:pt idx="2994">
                  <c:v>172.0274</c:v>
                </c:pt>
                <c:pt idx="2995">
                  <c:v>171.24190000000002</c:v>
                </c:pt>
                <c:pt idx="2996">
                  <c:v>179.39159999999998</c:v>
                </c:pt>
                <c:pt idx="2997">
                  <c:v>182.6318</c:v>
                </c:pt>
                <c:pt idx="2998">
                  <c:v>184.2029</c:v>
                </c:pt>
                <c:pt idx="2999">
                  <c:v>181.45359999999999</c:v>
                </c:pt>
                <c:pt idx="3000">
                  <c:v>180.86440000000002</c:v>
                </c:pt>
                <c:pt idx="3001">
                  <c:v>175.56219999999999</c:v>
                </c:pt>
                <c:pt idx="3002">
                  <c:v>177.13320000000002</c:v>
                </c:pt>
                <c:pt idx="3003">
                  <c:v>177.52599999999998</c:v>
                </c:pt>
                <c:pt idx="3004">
                  <c:v>176.44589999999999</c:v>
                </c:pt>
                <c:pt idx="3005">
                  <c:v>172.81290000000001</c:v>
                </c:pt>
                <c:pt idx="3006">
                  <c:v>175.95499999999998</c:v>
                </c:pt>
                <c:pt idx="3007">
                  <c:v>175.95499999999998</c:v>
                </c:pt>
                <c:pt idx="3008">
                  <c:v>170.16179999999997</c:v>
                </c:pt>
                <c:pt idx="3009">
                  <c:v>168.09979999999999</c:v>
                </c:pt>
                <c:pt idx="3010">
                  <c:v>167.80529999999999</c:v>
                </c:pt>
                <c:pt idx="3011">
                  <c:v>170.26</c:v>
                </c:pt>
                <c:pt idx="3012">
                  <c:v>168.49259999999998</c:v>
                </c:pt>
                <c:pt idx="3013">
                  <c:v>169.8672</c:v>
                </c:pt>
                <c:pt idx="3014">
                  <c:v>170.84909999999999</c:v>
                </c:pt>
                <c:pt idx="3015">
                  <c:v>170.84909999999999</c:v>
                </c:pt>
                <c:pt idx="3016">
                  <c:v>168.09979999999999</c:v>
                </c:pt>
                <c:pt idx="3017">
                  <c:v>167.60890000000001</c:v>
                </c:pt>
                <c:pt idx="3018">
                  <c:v>166.92160000000001</c:v>
                </c:pt>
                <c:pt idx="3019">
                  <c:v>168.68899999999999</c:v>
                </c:pt>
                <c:pt idx="3020">
                  <c:v>164.95779999999999</c:v>
                </c:pt>
                <c:pt idx="3021">
                  <c:v>168.8853</c:v>
                </c:pt>
                <c:pt idx="3022">
                  <c:v>168.49259999999998</c:v>
                </c:pt>
                <c:pt idx="3023">
                  <c:v>169.1799</c:v>
                </c:pt>
                <c:pt idx="3024">
                  <c:v>170.55459999999999</c:v>
                </c:pt>
                <c:pt idx="3025">
                  <c:v>171.24190000000002</c:v>
                </c:pt>
                <c:pt idx="3026">
                  <c:v>169.8672</c:v>
                </c:pt>
                <c:pt idx="3027">
                  <c:v>166.03789999999998</c:v>
                </c:pt>
                <c:pt idx="3028">
                  <c:v>166.43059999999997</c:v>
                </c:pt>
                <c:pt idx="3029">
                  <c:v>170.06359999999998</c:v>
                </c:pt>
                <c:pt idx="3030">
                  <c:v>170.84909999999999</c:v>
                </c:pt>
                <c:pt idx="3031">
                  <c:v>173.99119999999999</c:v>
                </c:pt>
                <c:pt idx="3032">
                  <c:v>177.035</c:v>
                </c:pt>
                <c:pt idx="3033">
                  <c:v>175.1694</c:v>
                </c:pt>
                <c:pt idx="3034">
                  <c:v>177.3296</c:v>
                </c:pt>
                <c:pt idx="3035">
                  <c:v>176.7405</c:v>
                </c:pt>
                <c:pt idx="3036">
                  <c:v>172.81290000000001</c:v>
                </c:pt>
                <c:pt idx="3037">
                  <c:v>172.51829999999998</c:v>
                </c:pt>
                <c:pt idx="3038">
                  <c:v>174.58029999999999</c:v>
                </c:pt>
                <c:pt idx="3039">
                  <c:v>173.10750000000002</c:v>
                </c:pt>
                <c:pt idx="3040">
                  <c:v>173.99119999999999</c:v>
                </c:pt>
                <c:pt idx="3041">
                  <c:v>175.1694</c:v>
                </c:pt>
                <c:pt idx="3042">
                  <c:v>176.7405</c:v>
                </c:pt>
                <c:pt idx="3043">
                  <c:v>175.56219999999999</c:v>
                </c:pt>
                <c:pt idx="3044">
                  <c:v>175.95499999999998</c:v>
                </c:pt>
                <c:pt idx="3045">
                  <c:v>175.56219999999999</c:v>
                </c:pt>
                <c:pt idx="3046">
                  <c:v>181.74809999999999</c:v>
                </c:pt>
                <c:pt idx="3047">
                  <c:v>182.33730000000003</c:v>
                </c:pt>
                <c:pt idx="3048">
                  <c:v>187.934</c:v>
                </c:pt>
                <c:pt idx="3049">
                  <c:v>188.32680000000002</c:v>
                </c:pt>
                <c:pt idx="3050">
                  <c:v>188.13040000000001</c:v>
                </c:pt>
                <c:pt idx="3051">
                  <c:v>182.6318</c:v>
                </c:pt>
                <c:pt idx="3052">
                  <c:v>185.0865</c:v>
                </c:pt>
                <c:pt idx="3053">
                  <c:v>187.73770000000002</c:v>
                </c:pt>
                <c:pt idx="3054">
                  <c:v>186.46120000000002</c:v>
                </c:pt>
                <c:pt idx="3055">
                  <c:v>186.55940000000001</c:v>
                </c:pt>
                <c:pt idx="3056">
                  <c:v>188.5232</c:v>
                </c:pt>
                <c:pt idx="3057">
                  <c:v>188.32680000000002</c:v>
                </c:pt>
                <c:pt idx="3058">
                  <c:v>184.792</c:v>
                </c:pt>
                <c:pt idx="3059">
                  <c:v>188.5232</c:v>
                </c:pt>
                <c:pt idx="3060">
                  <c:v>183.71189999999999</c:v>
                </c:pt>
                <c:pt idx="3061">
                  <c:v>184.2029</c:v>
                </c:pt>
                <c:pt idx="3062">
                  <c:v>183.71189999999999</c:v>
                </c:pt>
                <c:pt idx="3063">
                  <c:v>183.81010000000001</c:v>
                </c:pt>
                <c:pt idx="3064">
                  <c:v>180.66800000000001</c:v>
                </c:pt>
                <c:pt idx="3065">
                  <c:v>178.70430000000002</c:v>
                </c:pt>
                <c:pt idx="3066">
                  <c:v>176.7405</c:v>
                </c:pt>
                <c:pt idx="3067">
                  <c:v>178.70430000000002</c:v>
                </c:pt>
                <c:pt idx="3068">
                  <c:v>178.3115</c:v>
                </c:pt>
                <c:pt idx="3069">
                  <c:v>176.7405</c:v>
                </c:pt>
                <c:pt idx="3070">
                  <c:v>178.3115</c:v>
                </c:pt>
                <c:pt idx="3071">
                  <c:v>175.464</c:v>
                </c:pt>
                <c:pt idx="3072">
                  <c:v>180.66800000000001</c:v>
                </c:pt>
                <c:pt idx="3073">
                  <c:v>183.61369999999999</c:v>
                </c:pt>
                <c:pt idx="3074">
                  <c:v>182.82820000000001</c:v>
                </c:pt>
                <c:pt idx="3075">
                  <c:v>181.94450000000001</c:v>
                </c:pt>
                <c:pt idx="3076">
                  <c:v>185.18469999999999</c:v>
                </c:pt>
                <c:pt idx="3077">
                  <c:v>176.3477</c:v>
                </c:pt>
                <c:pt idx="3078">
                  <c:v>175.1694</c:v>
                </c:pt>
                <c:pt idx="3079">
                  <c:v>172.9111</c:v>
                </c:pt>
                <c:pt idx="3080">
                  <c:v>173.20570000000001</c:v>
                </c:pt>
                <c:pt idx="3081">
                  <c:v>173.20570000000001</c:v>
                </c:pt>
                <c:pt idx="3082">
                  <c:v>172.42019999999999</c:v>
                </c:pt>
                <c:pt idx="3083">
                  <c:v>170.84909999999999</c:v>
                </c:pt>
                <c:pt idx="3084">
                  <c:v>168.0016</c:v>
                </c:pt>
                <c:pt idx="3085">
                  <c:v>165.35050000000001</c:v>
                </c:pt>
                <c:pt idx="3086">
                  <c:v>165.1542</c:v>
                </c:pt>
                <c:pt idx="3087">
                  <c:v>165.35050000000001</c:v>
                </c:pt>
                <c:pt idx="3088">
                  <c:v>162.4049</c:v>
                </c:pt>
                <c:pt idx="3089">
                  <c:v>159.8519</c:v>
                </c:pt>
                <c:pt idx="3090">
                  <c:v>162.30670000000001</c:v>
                </c:pt>
                <c:pt idx="3091">
                  <c:v>160.24470000000002</c:v>
                </c:pt>
                <c:pt idx="3092">
                  <c:v>158.9682</c:v>
                </c:pt>
                <c:pt idx="3093">
                  <c:v>158.2809</c:v>
                </c:pt>
                <c:pt idx="3094">
                  <c:v>156.7099</c:v>
                </c:pt>
                <c:pt idx="3095">
                  <c:v>156.31710000000001</c:v>
                </c:pt>
                <c:pt idx="3096">
                  <c:v>155.13889999999998</c:v>
                </c:pt>
                <c:pt idx="3097">
                  <c:v>154.5497</c:v>
                </c:pt>
                <c:pt idx="3098">
                  <c:v>154.35329999999999</c:v>
                </c:pt>
                <c:pt idx="3099">
                  <c:v>154.64790000000002</c:v>
                </c:pt>
                <c:pt idx="3100">
                  <c:v>157.00449999999998</c:v>
                </c:pt>
                <c:pt idx="3101">
                  <c:v>161.32480000000001</c:v>
                </c:pt>
                <c:pt idx="3102">
                  <c:v>158.6737</c:v>
                </c:pt>
                <c:pt idx="3103">
                  <c:v>155.33519999999999</c:v>
                </c:pt>
                <c:pt idx="3104">
                  <c:v>155.23699999999999</c:v>
                </c:pt>
                <c:pt idx="3105">
                  <c:v>155.33519999999999</c:v>
                </c:pt>
                <c:pt idx="3106">
                  <c:v>159.8519</c:v>
                </c:pt>
                <c:pt idx="3107">
                  <c:v>156.7099</c:v>
                </c:pt>
                <c:pt idx="3108">
                  <c:v>154.9425</c:v>
                </c:pt>
                <c:pt idx="3109">
                  <c:v>156.7099</c:v>
                </c:pt>
                <c:pt idx="3110">
                  <c:v>155.62979999999999</c:v>
                </c:pt>
                <c:pt idx="3111">
                  <c:v>154.8443</c:v>
                </c:pt>
                <c:pt idx="3112">
                  <c:v>155.13889999999998</c:v>
                </c:pt>
                <c:pt idx="3113">
                  <c:v>155.23699999999999</c:v>
                </c:pt>
                <c:pt idx="3114">
                  <c:v>156.51350000000002</c:v>
                </c:pt>
                <c:pt idx="3115">
                  <c:v>154.74609999999998</c:v>
                </c:pt>
                <c:pt idx="3116">
                  <c:v>154.35329999999999</c:v>
                </c:pt>
                <c:pt idx="3117">
                  <c:v>153.46959999999999</c:v>
                </c:pt>
                <c:pt idx="3118">
                  <c:v>155.04069999999999</c:v>
                </c:pt>
                <c:pt idx="3119">
                  <c:v>153.3715</c:v>
                </c:pt>
                <c:pt idx="3120">
                  <c:v>155.13889999999998</c:v>
                </c:pt>
                <c:pt idx="3121">
                  <c:v>154.45150000000001</c:v>
                </c:pt>
                <c:pt idx="3122">
                  <c:v>156.27070000000001</c:v>
                </c:pt>
                <c:pt idx="3123">
                  <c:v>154.33539999999999</c:v>
                </c:pt>
                <c:pt idx="3124">
                  <c:v>149.9811</c:v>
                </c:pt>
                <c:pt idx="3125">
                  <c:v>154.7225</c:v>
                </c:pt>
                <c:pt idx="3126">
                  <c:v>150.3682</c:v>
                </c:pt>
                <c:pt idx="3127">
                  <c:v>148.52970000000002</c:v>
                </c:pt>
                <c:pt idx="3128">
                  <c:v>145.82040000000001</c:v>
                </c:pt>
                <c:pt idx="3129">
                  <c:v>144.3689</c:v>
                </c:pt>
                <c:pt idx="3130">
                  <c:v>145.0463</c:v>
                </c:pt>
                <c:pt idx="3131">
                  <c:v>144.756</c:v>
                </c:pt>
                <c:pt idx="3132">
                  <c:v>144.756</c:v>
                </c:pt>
                <c:pt idx="3133">
                  <c:v>144.07860000000002</c:v>
                </c:pt>
                <c:pt idx="3134">
                  <c:v>144.9495</c:v>
                </c:pt>
                <c:pt idx="3135">
                  <c:v>144.1754</c:v>
                </c:pt>
                <c:pt idx="3136">
                  <c:v>143.9819</c:v>
                </c:pt>
                <c:pt idx="3137">
                  <c:v>145.9171</c:v>
                </c:pt>
                <c:pt idx="3138">
                  <c:v>148.14269999999999</c:v>
                </c:pt>
                <c:pt idx="3139">
                  <c:v>145.0463</c:v>
                </c:pt>
                <c:pt idx="3140">
                  <c:v>143.20779999999999</c:v>
                </c:pt>
                <c:pt idx="3141">
                  <c:v>145.82040000000001</c:v>
                </c:pt>
                <c:pt idx="3142">
                  <c:v>143.59479999999999</c:v>
                </c:pt>
                <c:pt idx="3143">
                  <c:v>142.82069999999999</c:v>
                </c:pt>
                <c:pt idx="3144">
                  <c:v>143.20779999999999</c:v>
                </c:pt>
                <c:pt idx="3145">
                  <c:v>144.3689</c:v>
                </c:pt>
                <c:pt idx="3146">
                  <c:v>142.62719999999999</c:v>
                </c:pt>
                <c:pt idx="3147">
                  <c:v>140.88550000000001</c:v>
                </c:pt>
                <c:pt idx="3148">
                  <c:v>142.14340000000001</c:v>
                </c:pt>
                <c:pt idx="3149">
                  <c:v>143.88510000000002</c:v>
                </c:pt>
                <c:pt idx="3150">
                  <c:v>142.04660000000001</c:v>
                </c:pt>
                <c:pt idx="3151">
                  <c:v>143.88510000000002</c:v>
                </c:pt>
                <c:pt idx="3152">
                  <c:v>143.40129999999999</c:v>
                </c:pt>
                <c:pt idx="3153">
                  <c:v>144.07860000000002</c:v>
                </c:pt>
                <c:pt idx="3154">
                  <c:v>147.07829999999998</c:v>
                </c:pt>
                <c:pt idx="3155">
                  <c:v>145.5301</c:v>
                </c:pt>
                <c:pt idx="3156">
                  <c:v>145.5301</c:v>
                </c:pt>
                <c:pt idx="3157">
                  <c:v>145.9171</c:v>
                </c:pt>
                <c:pt idx="3158">
                  <c:v>141.75640000000001</c:v>
                </c:pt>
                <c:pt idx="3159">
                  <c:v>143.49809999999999</c:v>
                </c:pt>
                <c:pt idx="3160">
                  <c:v>145.2398</c:v>
                </c:pt>
                <c:pt idx="3161">
                  <c:v>145.4333</c:v>
                </c:pt>
                <c:pt idx="3162">
                  <c:v>144.8527</c:v>
                </c:pt>
                <c:pt idx="3163">
                  <c:v>146.98150000000001</c:v>
                </c:pt>
                <c:pt idx="3164">
                  <c:v>147.07829999999998</c:v>
                </c:pt>
                <c:pt idx="3165">
                  <c:v>147.07829999999998</c:v>
                </c:pt>
                <c:pt idx="3166">
                  <c:v>146.11060000000001</c:v>
                </c:pt>
                <c:pt idx="3167">
                  <c:v>146.30420000000001</c:v>
                </c:pt>
                <c:pt idx="3168">
                  <c:v>144.3689</c:v>
                </c:pt>
                <c:pt idx="3169">
                  <c:v>146.98150000000001</c:v>
                </c:pt>
                <c:pt idx="3170">
                  <c:v>145.82040000000001</c:v>
                </c:pt>
                <c:pt idx="3171">
                  <c:v>144.3689</c:v>
                </c:pt>
                <c:pt idx="3172">
                  <c:v>141.17580000000001</c:v>
                </c:pt>
                <c:pt idx="3173">
                  <c:v>137.30530000000002</c:v>
                </c:pt>
                <c:pt idx="3174">
                  <c:v>139.1438</c:v>
                </c:pt>
                <c:pt idx="3175">
                  <c:v>138.17619999999999</c:v>
                </c:pt>
                <c:pt idx="3176">
                  <c:v>135.07980000000001</c:v>
                </c:pt>
                <c:pt idx="3177">
                  <c:v>133.5316</c:v>
                </c:pt>
                <c:pt idx="3178">
                  <c:v>133.3381</c:v>
                </c:pt>
                <c:pt idx="3179">
                  <c:v>133.5316</c:v>
                </c:pt>
                <c:pt idx="3180">
                  <c:v>131.30610000000001</c:v>
                </c:pt>
                <c:pt idx="3181">
                  <c:v>133.62830000000002</c:v>
                </c:pt>
                <c:pt idx="3182">
                  <c:v>132.37039999999999</c:v>
                </c:pt>
                <c:pt idx="3183">
                  <c:v>132.37039999999999</c:v>
                </c:pt>
                <c:pt idx="3184">
                  <c:v>130.91900000000001</c:v>
                </c:pt>
                <c:pt idx="3185">
                  <c:v>130.82229999999998</c:v>
                </c:pt>
                <c:pt idx="3186">
                  <c:v>129.75790000000001</c:v>
                </c:pt>
                <c:pt idx="3187">
                  <c:v>130.82229999999998</c:v>
                </c:pt>
                <c:pt idx="3188">
                  <c:v>128.1129</c:v>
                </c:pt>
                <c:pt idx="3189">
                  <c:v>125.5971</c:v>
                </c:pt>
                <c:pt idx="3190">
                  <c:v>124.62949999999999</c:v>
                </c:pt>
                <c:pt idx="3191">
                  <c:v>125.01649999999999</c:v>
                </c:pt>
                <c:pt idx="3192">
                  <c:v>124.87140000000001</c:v>
                </c:pt>
                <c:pt idx="3193">
                  <c:v>125.7906</c:v>
                </c:pt>
                <c:pt idx="3194">
                  <c:v>125.7906</c:v>
                </c:pt>
                <c:pt idx="3195">
                  <c:v>118.5335</c:v>
                </c:pt>
                <c:pt idx="3196">
                  <c:v>116.88849999999999</c:v>
                </c:pt>
                <c:pt idx="3197">
                  <c:v>119.9849</c:v>
                </c:pt>
                <c:pt idx="3198">
                  <c:v>118.33990000000001</c:v>
                </c:pt>
                <c:pt idx="3199">
                  <c:v>118.6302</c:v>
                </c:pt>
                <c:pt idx="3200">
                  <c:v>119.9849</c:v>
                </c:pt>
                <c:pt idx="3201">
                  <c:v>116.88849999999999</c:v>
                </c:pt>
                <c:pt idx="3202">
                  <c:v>119.9849</c:v>
                </c:pt>
                <c:pt idx="3203">
                  <c:v>116.88849999999999</c:v>
                </c:pt>
                <c:pt idx="3204">
                  <c:v>114.95329999999998</c:v>
                </c:pt>
                <c:pt idx="3205">
                  <c:v>114.95329999999998</c:v>
                </c:pt>
                <c:pt idx="3206">
                  <c:v>114.95329999999998</c:v>
                </c:pt>
                <c:pt idx="3207">
                  <c:v>114.95329999999998</c:v>
                </c:pt>
                <c:pt idx="3208">
                  <c:v>118.5335</c:v>
                </c:pt>
                <c:pt idx="3209">
                  <c:v>120.66219999999998</c:v>
                </c:pt>
                <c:pt idx="3210">
                  <c:v>121.146</c:v>
                </c:pt>
                <c:pt idx="3211">
                  <c:v>120.759</c:v>
                </c:pt>
                <c:pt idx="3212">
                  <c:v>122.404</c:v>
                </c:pt>
                <c:pt idx="3213">
                  <c:v>122.50069999999999</c:v>
                </c:pt>
                <c:pt idx="3214">
                  <c:v>123.85539999999999</c:v>
                </c:pt>
                <c:pt idx="3215">
                  <c:v>123.85539999999999</c:v>
                </c:pt>
                <c:pt idx="3216">
                  <c:v>125.01649999999999</c:v>
                </c:pt>
                <c:pt idx="3217">
                  <c:v>125.01649999999999</c:v>
                </c:pt>
                <c:pt idx="3218">
                  <c:v>123.4683</c:v>
                </c:pt>
                <c:pt idx="3219">
                  <c:v>123.85539999999999</c:v>
                </c:pt>
                <c:pt idx="3220">
                  <c:v>125.01649999999999</c:v>
                </c:pt>
                <c:pt idx="3221">
                  <c:v>124.82299999999999</c:v>
                </c:pt>
                <c:pt idx="3222">
                  <c:v>123.85539999999999</c:v>
                </c:pt>
                <c:pt idx="3223">
                  <c:v>124.04889999999999</c:v>
                </c:pt>
                <c:pt idx="3224">
                  <c:v>123.0813</c:v>
                </c:pt>
                <c:pt idx="3225">
                  <c:v>123.85539999999999</c:v>
                </c:pt>
                <c:pt idx="3226">
                  <c:v>123.85539999999999</c:v>
                </c:pt>
                <c:pt idx="3227">
                  <c:v>123.66189999999999</c:v>
                </c:pt>
                <c:pt idx="3228">
                  <c:v>124.82299999999999</c:v>
                </c:pt>
                <c:pt idx="3229">
                  <c:v>125.7906</c:v>
                </c:pt>
                <c:pt idx="3230">
                  <c:v>125.7906</c:v>
                </c:pt>
                <c:pt idx="3231">
                  <c:v>125.7906</c:v>
                </c:pt>
                <c:pt idx="3232">
                  <c:v>124.62949999999999</c:v>
                </c:pt>
                <c:pt idx="3233">
                  <c:v>124.82299999999999</c:v>
                </c:pt>
                <c:pt idx="3234">
                  <c:v>123.85539999999999</c:v>
                </c:pt>
                <c:pt idx="3235">
                  <c:v>124.04889999999999</c:v>
                </c:pt>
                <c:pt idx="3236">
                  <c:v>125.6939</c:v>
                </c:pt>
                <c:pt idx="3237">
                  <c:v>126.37119999999999</c:v>
                </c:pt>
                <c:pt idx="3238">
                  <c:v>125.8874</c:v>
                </c:pt>
                <c:pt idx="3239">
                  <c:v>125.7906</c:v>
                </c:pt>
                <c:pt idx="3240">
                  <c:v>127.53229999999999</c:v>
                </c:pt>
                <c:pt idx="3241">
                  <c:v>123.66189999999999</c:v>
                </c:pt>
                <c:pt idx="3242">
                  <c:v>128.5967</c:v>
                </c:pt>
                <c:pt idx="3243">
                  <c:v>122.30719999999999</c:v>
                </c:pt>
                <c:pt idx="3244">
                  <c:v>120.87179999999999</c:v>
                </c:pt>
                <c:pt idx="3245">
                  <c:v>118.9832</c:v>
                </c:pt>
                <c:pt idx="3246">
                  <c:v>120.11639999999998</c:v>
                </c:pt>
                <c:pt idx="3247">
                  <c:v>119.1721</c:v>
                </c:pt>
                <c:pt idx="3248">
                  <c:v>120.87179999999999</c:v>
                </c:pt>
                <c:pt idx="3249">
                  <c:v>124.08250000000001</c:v>
                </c:pt>
                <c:pt idx="3250">
                  <c:v>122.3827</c:v>
                </c:pt>
                <c:pt idx="3251">
                  <c:v>121.81619999999999</c:v>
                </c:pt>
                <c:pt idx="3252">
                  <c:v>122.09939999999999</c:v>
                </c:pt>
                <c:pt idx="3253">
                  <c:v>122.76050000000001</c:v>
                </c:pt>
                <c:pt idx="3254">
                  <c:v>121.1551</c:v>
                </c:pt>
                <c:pt idx="3255">
                  <c:v>120.87179999999999</c:v>
                </c:pt>
                <c:pt idx="3256">
                  <c:v>121.62729999999999</c:v>
                </c:pt>
                <c:pt idx="3257">
                  <c:v>122.00500000000001</c:v>
                </c:pt>
                <c:pt idx="3258">
                  <c:v>122.4772</c:v>
                </c:pt>
                <c:pt idx="3259">
                  <c:v>122.76050000000001</c:v>
                </c:pt>
                <c:pt idx="3260">
                  <c:v>123.89360000000001</c:v>
                </c:pt>
                <c:pt idx="3261">
                  <c:v>124.6491</c:v>
                </c:pt>
                <c:pt idx="3262">
                  <c:v>124.27139999999999</c:v>
                </c:pt>
                <c:pt idx="3263">
                  <c:v>124.6491</c:v>
                </c:pt>
                <c:pt idx="3264">
                  <c:v>124.6491</c:v>
                </c:pt>
                <c:pt idx="3265">
                  <c:v>124.27139999999999</c:v>
                </c:pt>
                <c:pt idx="3266">
                  <c:v>123.89360000000001</c:v>
                </c:pt>
                <c:pt idx="3267">
                  <c:v>122.66600000000001</c:v>
                </c:pt>
                <c:pt idx="3268">
                  <c:v>122.00500000000001</c:v>
                </c:pt>
                <c:pt idx="3269">
                  <c:v>120.87179999999999</c:v>
                </c:pt>
                <c:pt idx="3270">
                  <c:v>118.4166</c:v>
                </c:pt>
                <c:pt idx="3271">
                  <c:v>120.87179999999999</c:v>
                </c:pt>
                <c:pt idx="3272">
                  <c:v>119.45540000000001</c:v>
                </c:pt>
                <c:pt idx="3273">
                  <c:v>118.9832</c:v>
                </c:pt>
                <c:pt idx="3274">
                  <c:v>119.92750000000001</c:v>
                </c:pt>
                <c:pt idx="3275">
                  <c:v>122.00500000000001</c:v>
                </c:pt>
                <c:pt idx="3276">
                  <c:v>123.1382</c:v>
                </c:pt>
                <c:pt idx="3277">
                  <c:v>122.76050000000001</c:v>
                </c:pt>
                <c:pt idx="3278">
                  <c:v>122.76050000000001</c:v>
                </c:pt>
                <c:pt idx="3279">
                  <c:v>125.31010000000001</c:v>
                </c:pt>
                <c:pt idx="3280">
                  <c:v>125.78229999999999</c:v>
                </c:pt>
                <c:pt idx="3281">
                  <c:v>125.40450000000001</c:v>
                </c:pt>
                <c:pt idx="3282">
                  <c:v>125.40450000000001</c:v>
                </c:pt>
                <c:pt idx="3283">
                  <c:v>126.5377</c:v>
                </c:pt>
                <c:pt idx="3284">
                  <c:v>128.4263</c:v>
                </c:pt>
                <c:pt idx="3285">
                  <c:v>129.18179999999998</c:v>
                </c:pt>
                <c:pt idx="3286">
                  <c:v>128.61519999999999</c:v>
                </c:pt>
                <c:pt idx="3287">
                  <c:v>129.93719999999999</c:v>
                </c:pt>
                <c:pt idx="3288">
                  <c:v>129.93719999999999</c:v>
                </c:pt>
                <c:pt idx="3289">
                  <c:v>128.4263</c:v>
                </c:pt>
                <c:pt idx="3290">
                  <c:v>127.482</c:v>
                </c:pt>
                <c:pt idx="3291">
                  <c:v>130.315</c:v>
                </c:pt>
                <c:pt idx="3292">
                  <c:v>127.2932</c:v>
                </c:pt>
                <c:pt idx="3293">
                  <c:v>127.57640000000001</c:v>
                </c:pt>
                <c:pt idx="3294">
                  <c:v>126.91539999999999</c:v>
                </c:pt>
                <c:pt idx="3295">
                  <c:v>122.19389999999999</c:v>
                </c:pt>
                <c:pt idx="3296">
                  <c:v>119.8331</c:v>
                </c:pt>
                <c:pt idx="3297">
                  <c:v>120.4941</c:v>
                </c:pt>
                <c:pt idx="3298">
                  <c:v>119.73869999999999</c:v>
                </c:pt>
                <c:pt idx="3299">
                  <c:v>118.69989999999999</c:v>
                </c:pt>
                <c:pt idx="3300">
                  <c:v>118.84159999999999</c:v>
                </c:pt>
                <c:pt idx="3301">
                  <c:v>119.36089999999999</c:v>
                </c:pt>
                <c:pt idx="3302">
                  <c:v>117.47229999999999</c:v>
                </c:pt>
                <c:pt idx="3303">
                  <c:v>118.5111</c:v>
                </c:pt>
                <c:pt idx="3304">
                  <c:v>117.47229999999999</c:v>
                </c:pt>
                <c:pt idx="3305">
                  <c:v>118.22779999999999</c:v>
                </c:pt>
                <c:pt idx="3306">
                  <c:v>117.85000000000001</c:v>
                </c:pt>
                <c:pt idx="3307">
                  <c:v>118.60550000000001</c:v>
                </c:pt>
                <c:pt idx="3308">
                  <c:v>118.88879999999999</c:v>
                </c:pt>
                <c:pt idx="3309">
                  <c:v>117.18899999999999</c:v>
                </c:pt>
                <c:pt idx="3310">
                  <c:v>118.4166</c:v>
                </c:pt>
                <c:pt idx="3311">
                  <c:v>118.7944</c:v>
                </c:pt>
                <c:pt idx="3312">
                  <c:v>118.22779999999999</c:v>
                </c:pt>
                <c:pt idx="3313">
                  <c:v>117.37790000000001</c:v>
                </c:pt>
                <c:pt idx="3314">
                  <c:v>116.5752</c:v>
                </c:pt>
                <c:pt idx="3315">
                  <c:v>117.7556</c:v>
                </c:pt>
                <c:pt idx="3316">
                  <c:v>117.5667</c:v>
                </c:pt>
                <c:pt idx="3317">
                  <c:v>117.0946</c:v>
                </c:pt>
                <c:pt idx="3318">
                  <c:v>117.0946</c:v>
                </c:pt>
                <c:pt idx="3319">
                  <c:v>115.206</c:v>
                </c:pt>
                <c:pt idx="3320">
                  <c:v>115.3948</c:v>
                </c:pt>
                <c:pt idx="3321">
                  <c:v>113.4118</c:v>
                </c:pt>
                <c:pt idx="3322">
                  <c:v>112.6091</c:v>
                </c:pt>
                <c:pt idx="3323">
                  <c:v>112.1842</c:v>
                </c:pt>
                <c:pt idx="3324">
                  <c:v>112.37299999999999</c:v>
                </c:pt>
                <c:pt idx="3325">
                  <c:v>113.3173</c:v>
                </c:pt>
                <c:pt idx="3326">
                  <c:v>111.90089999999999</c:v>
                </c:pt>
                <c:pt idx="3327">
                  <c:v>112.0425</c:v>
                </c:pt>
                <c:pt idx="3328">
                  <c:v>112.93960000000001</c:v>
                </c:pt>
                <c:pt idx="3329">
                  <c:v>112.1842</c:v>
                </c:pt>
                <c:pt idx="3330">
                  <c:v>112.1842</c:v>
                </c:pt>
                <c:pt idx="3331">
                  <c:v>110.29560000000001</c:v>
                </c:pt>
                <c:pt idx="3332">
                  <c:v>109.54010000000001</c:v>
                </c:pt>
                <c:pt idx="3333">
                  <c:v>106.89599999999999</c:v>
                </c:pt>
                <c:pt idx="3334">
                  <c:v>105.2907</c:v>
                </c:pt>
                <c:pt idx="3335">
                  <c:v>105.00739999999999</c:v>
                </c:pt>
                <c:pt idx="3336">
                  <c:v>102.45779999999999</c:v>
                </c:pt>
                <c:pt idx="3337">
                  <c:v>101.2302</c:v>
                </c:pt>
                <c:pt idx="3338">
                  <c:v>101.2302</c:v>
                </c:pt>
                <c:pt idx="3339">
                  <c:v>100.8524</c:v>
                </c:pt>
                <c:pt idx="3340">
                  <c:v>98.775000000000006</c:v>
                </c:pt>
                <c:pt idx="3341">
                  <c:v>97.169600000000003</c:v>
                </c:pt>
                <c:pt idx="3342">
                  <c:v>98.586100000000002</c:v>
                </c:pt>
                <c:pt idx="3343">
                  <c:v>96.225300000000004</c:v>
                </c:pt>
                <c:pt idx="3344">
                  <c:v>95.469899999999996</c:v>
                </c:pt>
                <c:pt idx="3345">
                  <c:v>95.564300000000003</c:v>
                </c:pt>
                <c:pt idx="3346">
                  <c:v>96.319699999999997</c:v>
                </c:pt>
                <c:pt idx="3347">
                  <c:v>94.431100000000001</c:v>
                </c:pt>
                <c:pt idx="3348">
                  <c:v>94.525599999999997</c:v>
                </c:pt>
                <c:pt idx="3349">
                  <c:v>95.186599999999999</c:v>
                </c:pt>
                <c:pt idx="3350">
                  <c:v>95.658699999999996</c:v>
                </c:pt>
                <c:pt idx="3351">
                  <c:v>96.036500000000004</c:v>
                </c:pt>
                <c:pt idx="3352">
                  <c:v>95.281000000000006</c:v>
                </c:pt>
                <c:pt idx="3353">
                  <c:v>96.319699999999997</c:v>
                </c:pt>
                <c:pt idx="3354">
                  <c:v>95.942000000000007</c:v>
                </c:pt>
                <c:pt idx="3355">
                  <c:v>93.959000000000003</c:v>
                </c:pt>
                <c:pt idx="3356">
                  <c:v>94.431100000000001</c:v>
                </c:pt>
                <c:pt idx="3357">
                  <c:v>96.414200000000008</c:v>
                </c:pt>
                <c:pt idx="3358">
                  <c:v>96.791899999999998</c:v>
                </c:pt>
                <c:pt idx="3359">
                  <c:v>96.414200000000008</c:v>
                </c:pt>
                <c:pt idx="3360">
                  <c:v>97.830600000000004</c:v>
                </c:pt>
                <c:pt idx="3361">
                  <c:v>97.169600000000003</c:v>
                </c:pt>
                <c:pt idx="3362">
                  <c:v>96.697500000000005</c:v>
                </c:pt>
                <c:pt idx="3363">
                  <c:v>94.808800000000005</c:v>
                </c:pt>
                <c:pt idx="3364">
                  <c:v>95.564300000000003</c:v>
                </c:pt>
                <c:pt idx="3365">
                  <c:v>94.2423</c:v>
                </c:pt>
                <c:pt idx="3366">
                  <c:v>92.54249999999999</c:v>
                </c:pt>
                <c:pt idx="3367">
                  <c:v>96.036500000000004</c:v>
                </c:pt>
                <c:pt idx="3368">
                  <c:v>89.426299999999998</c:v>
                </c:pt>
                <c:pt idx="3369">
                  <c:v>89.898399999999995</c:v>
                </c:pt>
                <c:pt idx="3370">
                  <c:v>88.765299999999996</c:v>
                </c:pt>
                <c:pt idx="3371">
                  <c:v>88.765299999999996</c:v>
                </c:pt>
                <c:pt idx="3372">
                  <c:v>89.898399999999995</c:v>
                </c:pt>
                <c:pt idx="3373">
                  <c:v>90.489400000000003</c:v>
                </c:pt>
                <c:pt idx="3374">
                  <c:v>90.489400000000003</c:v>
                </c:pt>
                <c:pt idx="3375">
                  <c:v>89.381299999999996</c:v>
                </c:pt>
                <c:pt idx="3376">
                  <c:v>90.489400000000003</c:v>
                </c:pt>
                <c:pt idx="3377">
                  <c:v>90.12</c:v>
                </c:pt>
                <c:pt idx="3378">
                  <c:v>89.381299999999996</c:v>
                </c:pt>
                <c:pt idx="3379">
                  <c:v>91.1357</c:v>
                </c:pt>
                <c:pt idx="3380">
                  <c:v>91.597400000000007</c:v>
                </c:pt>
                <c:pt idx="3381">
                  <c:v>91.320400000000006</c:v>
                </c:pt>
                <c:pt idx="3382">
                  <c:v>92.613100000000003</c:v>
                </c:pt>
                <c:pt idx="3383">
                  <c:v>93.351799999999997</c:v>
                </c:pt>
                <c:pt idx="3384">
                  <c:v>93.074799999999996</c:v>
                </c:pt>
                <c:pt idx="3385">
                  <c:v>93.905799999999999</c:v>
                </c:pt>
                <c:pt idx="3386">
                  <c:v>94.275199999999998</c:v>
                </c:pt>
                <c:pt idx="3387">
                  <c:v>95.013899999999992</c:v>
                </c:pt>
                <c:pt idx="3388">
                  <c:v>96.675899999999999</c:v>
                </c:pt>
                <c:pt idx="3389">
                  <c:v>98.707300000000004</c:v>
                </c:pt>
                <c:pt idx="3390">
                  <c:v>98.707300000000004</c:v>
                </c:pt>
                <c:pt idx="3391">
                  <c:v>99.722999999999999</c:v>
                </c:pt>
                <c:pt idx="3392">
                  <c:v>98.06089999999999</c:v>
                </c:pt>
                <c:pt idx="3393">
                  <c:v>97.229900000000001</c:v>
                </c:pt>
                <c:pt idx="3394">
                  <c:v>93.444099999999992</c:v>
                </c:pt>
                <c:pt idx="3395">
                  <c:v>92.336100000000002</c:v>
                </c:pt>
                <c:pt idx="3396">
                  <c:v>90.858699999999999</c:v>
                </c:pt>
                <c:pt idx="3397">
                  <c:v>92.336100000000002</c:v>
                </c:pt>
                <c:pt idx="3398">
                  <c:v>90.858699999999999</c:v>
                </c:pt>
                <c:pt idx="3399">
                  <c:v>91.412700000000001</c:v>
                </c:pt>
                <c:pt idx="3400">
                  <c:v>91.505099999999999</c:v>
                </c:pt>
                <c:pt idx="3401">
                  <c:v>89.6584</c:v>
                </c:pt>
                <c:pt idx="3402">
                  <c:v>90.489400000000003</c:v>
                </c:pt>
                <c:pt idx="3403">
                  <c:v>90.581699999999998</c:v>
                </c:pt>
                <c:pt idx="3404">
                  <c:v>90.304700000000011</c:v>
                </c:pt>
                <c:pt idx="3405">
                  <c:v>88.734999999999999</c:v>
                </c:pt>
                <c:pt idx="3406">
                  <c:v>91.689800000000005</c:v>
                </c:pt>
                <c:pt idx="3407">
                  <c:v>89.750700000000009</c:v>
                </c:pt>
                <c:pt idx="3408">
                  <c:v>88.642699999999991</c:v>
                </c:pt>
                <c:pt idx="3409">
                  <c:v>89.750700000000009</c:v>
                </c:pt>
                <c:pt idx="3410">
                  <c:v>91.320400000000006</c:v>
                </c:pt>
                <c:pt idx="3411">
                  <c:v>90.304700000000011</c:v>
                </c:pt>
                <c:pt idx="3412">
                  <c:v>88.550300000000007</c:v>
                </c:pt>
                <c:pt idx="3413">
                  <c:v>88.642699999999991</c:v>
                </c:pt>
                <c:pt idx="3414">
                  <c:v>86.795900000000003</c:v>
                </c:pt>
                <c:pt idx="3415">
                  <c:v>89.012</c:v>
                </c:pt>
                <c:pt idx="3416">
                  <c:v>88.827299999999994</c:v>
                </c:pt>
                <c:pt idx="3417">
                  <c:v>92.520800000000008</c:v>
                </c:pt>
                <c:pt idx="3418">
                  <c:v>92.336100000000002</c:v>
                </c:pt>
                <c:pt idx="3419">
                  <c:v>90.489400000000003</c:v>
                </c:pt>
                <c:pt idx="3420">
                  <c:v>89.750700000000009</c:v>
                </c:pt>
                <c:pt idx="3421">
                  <c:v>88.550300000000007</c:v>
                </c:pt>
                <c:pt idx="3422">
                  <c:v>87.534599999999998</c:v>
                </c:pt>
                <c:pt idx="3423">
                  <c:v>86.795900000000003</c:v>
                </c:pt>
                <c:pt idx="3424">
                  <c:v>86.888300000000001</c:v>
                </c:pt>
                <c:pt idx="3425">
                  <c:v>88.734999999999999</c:v>
                </c:pt>
                <c:pt idx="3426">
                  <c:v>94.459800000000001</c:v>
                </c:pt>
                <c:pt idx="3427">
                  <c:v>95.383200000000002</c:v>
                </c:pt>
                <c:pt idx="3428">
                  <c:v>96.860599999999991</c:v>
                </c:pt>
                <c:pt idx="3429">
                  <c:v>97.137600000000006</c:v>
                </c:pt>
                <c:pt idx="3430">
                  <c:v>98.430300000000003</c:v>
                </c:pt>
                <c:pt idx="3431">
                  <c:v>100.6464</c:v>
                </c:pt>
                <c:pt idx="3432">
                  <c:v>101.9391</c:v>
                </c:pt>
                <c:pt idx="3433">
                  <c:v>100.09229999999999</c:v>
                </c:pt>
                <c:pt idx="3434">
                  <c:v>98.245599999999996</c:v>
                </c:pt>
                <c:pt idx="3435">
                  <c:v>99.168999999999997</c:v>
                </c:pt>
                <c:pt idx="3436">
                  <c:v>100</c:v>
                </c:pt>
              </c:numCache>
            </c:numRef>
          </c:val>
          <c:smooth val="0"/>
          <c:extLst>
            <c:ext xmlns:c16="http://schemas.microsoft.com/office/drawing/2014/chart" uri="{C3380CC4-5D6E-409C-BE32-E72D297353CC}">
              <c16:uniqueId val="{00000000-0505-4D7B-A492-71326C1B44F3}"/>
            </c:ext>
          </c:extLst>
        </c:ser>
        <c:ser>
          <c:idx val="1"/>
          <c:order val="1"/>
          <c:tx>
            <c:strRef>
              <c:f>'since inception'!$G$7</c:f>
              <c:strCache>
                <c:ptCount val="1"/>
                <c:pt idx="0">
                  <c:v>FTSE All-Share Index (Total Return indexed to 100)</c:v>
                </c:pt>
              </c:strCache>
            </c:strRef>
          </c:tx>
          <c:spPr>
            <a:ln w="28575" cap="rnd">
              <a:solidFill>
                <a:schemeClr val="accent2"/>
              </a:solidFill>
              <a:round/>
            </a:ln>
            <a:effectLst/>
          </c:spPr>
          <c:marker>
            <c:symbol val="none"/>
          </c:marker>
          <c:cat>
            <c:numRef>
              <c:f>'since inception'!$E$8:$E$3444</c:f>
              <c:numCache>
                <c:formatCode>m/d/yyyy</c:formatCode>
                <c:ptCount val="3437"/>
                <c:pt idx="0">
                  <c:v>45747</c:v>
                </c:pt>
                <c:pt idx="1">
                  <c:v>45744</c:v>
                </c:pt>
                <c:pt idx="2">
                  <c:v>45743</c:v>
                </c:pt>
                <c:pt idx="3">
                  <c:v>45742</c:v>
                </c:pt>
                <c:pt idx="4">
                  <c:v>45741</c:v>
                </c:pt>
                <c:pt idx="5">
                  <c:v>45740</c:v>
                </c:pt>
                <c:pt idx="6">
                  <c:v>45737</c:v>
                </c:pt>
                <c:pt idx="7">
                  <c:v>45736</c:v>
                </c:pt>
                <c:pt idx="8">
                  <c:v>45735</c:v>
                </c:pt>
                <c:pt idx="9">
                  <c:v>45734</c:v>
                </c:pt>
                <c:pt idx="10">
                  <c:v>45733</c:v>
                </c:pt>
                <c:pt idx="11">
                  <c:v>45730</c:v>
                </c:pt>
                <c:pt idx="12">
                  <c:v>45729</c:v>
                </c:pt>
                <c:pt idx="13">
                  <c:v>45728</c:v>
                </c:pt>
                <c:pt idx="14">
                  <c:v>45727</c:v>
                </c:pt>
                <c:pt idx="15">
                  <c:v>45726</c:v>
                </c:pt>
                <c:pt idx="16">
                  <c:v>45723</c:v>
                </c:pt>
                <c:pt idx="17">
                  <c:v>45722</c:v>
                </c:pt>
                <c:pt idx="18">
                  <c:v>45721</c:v>
                </c:pt>
                <c:pt idx="19">
                  <c:v>45720</c:v>
                </c:pt>
                <c:pt idx="20">
                  <c:v>45719</c:v>
                </c:pt>
                <c:pt idx="21">
                  <c:v>45716</c:v>
                </c:pt>
                <c:pt idx="22">
                  <c:v>45715</c:v>
                </c:pt>
                <c:pt idx="23">
                  <c:v>45714</c:v>
                </c:pt>
                <c:pt idx="24">
                  <c:v>45713</c:v>
                </c:pt>
                <c:pt idx="25">
                  <c:v>45712</c:v>
                </c:pt>
                <c:pt idx="26">
                  <c:v>45709</c:v>
                </c:pt>
                <c:pt idx="27">
                  <c:v>45708</c:v>
                </c:pt>
                <c:pt idx="28">
                  <c:v>45707</c:v>
                </c:pt>
                <c:pt idx="29">
                  <c:v>45706</c:v>
                </c:pt>
                <c:pt idx="30">
                  <c:v>45705</c:v>
                </c:pt>
                <c:pt idx="31">
                  <c:v>45702</c:v>
                </c:pt>
                <c:pt idx="32">
                  <c:v>45701</c:v>
                </c:pt>
                <c:pt idx="33">
                  <c:v>45700</c:v>
                </c:pt>
                <c:pt idx="34">
                  <c:v>45699</c:v>
                </c:pt>
                <c:pt idx="35">
                  <c:v>45698</c:v>
                </c:pt>
                <c:pt idx="36">
                  <c:v>45695</c:v>
                </c:pt>
                <c:pt idx="37">
                  <c:v>45694</c:v>
                </c:pt>
                <c:pt idx="38">
                  <c:v>45693</c:v>
                </c:pt>
                <c:pt idx="39">
                  <c:v>45692</c:v>
                </c:pt>
                <c:pt idx="40">
                  <c:v>45691</c:v>
                </c:pt>
                <c:pt idx="41">
                  <c:v>45688</c:v>
                </c:pt>
                <c:pt idx="42">
                  <c:v>45687</c:v>
                </c:pt>
                <c:pt idx="43">
                  <c:v>45686</c:v>
                </c:pt>
                <c:pt idx="44">
                  <c:v>45685</c:v>
                </c:pt>
                <c:pt idx="45">
                  <c:v>45684</c:v>
                </c:pt>
                <c:pt idx="46">
                  <c:v>45681</c:v>
                </c:pt>
                <c:pt idx="47">
                  <c:v>45680</c:v>
                </c:pt>
                <c:pt idx="48">
                  <c:v>45679</c:v>
                </c:pt>
                <c:pt idx="49">
                  <c:v>45678</c:v>
                </c:pt>
                <c:pt idx="50">
                  <c:v>45677</c:v>
                </c:pt>
                <c:pt idx="51">
                  <c:v>45674</c:v>
                </c:pt>
                <c:pt idx="52">
                  <c:v>45673</c:v>
                </c:pt>
                <c:pt idx="53">
                  <c:v>45672</c:v>
                </c:pt>
                <c:pt idx="54">
                  <c:v>45671</c:v>
                </c:pt>
                <c:pt idx="55">
                  <c:v>45670</c:v>
                </c:pt>
                <c:pt idx="56">
                  <c:v>45667</c:v>
                </c:pt>
                <c:pt idx="57">
                  <c:v>45666</c:v>
                </c:pt>
                <c:pt idx="58">
                  <c:v>45665</c:v>
                </c:pt>
                <c:pt idx="59">
                  <c:v>45664</c:v>
                </c:pt>
                <c:pt idx="60">
                  <c:v>45663</c:v>
                </c:pt>
                <c:pt idx="61">
                  <c:v>45660</c:v>
                </c:pt>
                <c:pt idx="62">
                  <c:v>45659</c:v>
                </c:pt>
                <c:pt idx="63">
                  <c:v>45657</c:v>
                </c:pt>
                <c:pt idx="64">
                  <c:v>45656</c:v>
                </c:pt>
                <c:pt idx="65">
                  <c:v>45653</c:v>
                </c:pt>
                <c:pt idx="66">
                  <c:v>45650</c:v>
                </c:pt>
                <c:pt idx="67">
                  <c:v>45649</c:v>
                </c:pt>
                <c:pt idx="68">
                  <c:v>45646</c:v>
                </c:pt>
                <c:pt idx="69">
                  <c:v>45645</c:v>
                </c:pt>
                <c:pt idx="70">
                  <c:v>45644</c:v>
                </c:pt>
                <c:pt idx="71">
                  <c:v>45643</c:v>
                </c:pt>
                <c:pt idx="72">
                  <c:v>45642</c:v>
                </c:pt>
                <c:pt idx="73">
                  <c:v>45639</c:v>
                </c:pt>
                <c:pt idx="74">
                  <c:v>45638</c:v>
                </c:pt>
                <c:pt idx="75">
                  <c:v>45637</c:v>
                </c:pt>
                <c:pt idx="76">
                  <c:v>45636</c:v>
                </c:pt>
                <c:pt idx="77">
                  <c:v>45635</c:v>
                </c:pt>
                <c:pt idx="78">
                  <c:v>45632</c:v>
                </c:pt>
                <c:pt idx="79">
                  <c:v>45631</c:v>
                </c:pt>
                <c:pt idx="80">
                  <c:v>45630</c:v>
                </c:pt>
                <c:pt idx="81">
                  <c:v>45629</c:v>
                </c:pt>
                <c:pt idx="82">
                  <c:v>45628</c:v>
                </c:pt>
                <c:pt idx="83">
                  <c:v>45625</c:v>
                </c:pt>
                <c:pt idx="84">
                  <c:v>45624</c:v>
                </c:pt>
                <c:pt idx="85">
                  <c:v>45623</c:v>
                </c:pt>
                <c:pt idx="86">
                  <c:v>45622</c:v>
                </c:pt>
                <c:pt idx="87">
                  <c:v>45621</c:v>
                </c:pt>
                <c:pt idx="88">
                  <c:v>45618</c:v>
                </c:pt>
                <c:pt idx="89">
                  <c:v>45617</c:v>
                </c:pt>
                <c:pt idx="90">
                  <c:v>45616</c:v>
                </c:pt>
                <c:pt idx="91">
                  <c:v>45615</c:v>
                </c:pt>
                <c:pt idx="92">
                  <c:v>45614</c:v>
                </c:pt>
                <c:pt idx="93">
                  <c:v>45611</c:v>
                </c:pt>
                <c:pt idx="94">
                  <c:v>45610</c:v>
                </c:pt>
                <c:pt idx="95">
                  <c:v>45609</c:v>
                </c:pt>
                <c:pt idx="96">
                  <c:v>45608</c:v>
                </c:pt>
                <c:pt idx="97">
                  <c:v>45607</c:v>
                </c:pt>
                <c:pt idx="98">
                  <c:v>45604</c:v>
                </c:pt>
                <c:pt idx="99">
                  <c:v>45603</c:v>
                </c:pt>
                <c:pt idx="100">
                  <c:v>45602</c:v>
                </c:pt>
                <c:pt idx="101">
                  <c:v>45601</c:v>
                </c:pt>
                <c:pt idx="102">
                  <c:v>45600</c:v>
                </c:pt>
                <c:pt idx="103">
                  <c:v>45597</c:v>
                </c:pt>
                <c:pt idx="104">
                  <c:v>45596</c:v>
                </c:pt>
                <c:pt idx="105">
                  <c:v>45595</c:v>
                </c:pt>
                <c:pt idx="106">
                  <c:v>45594</c:v>
                </c:pt>
                <c:pt idx="107">
                  <c:v>45593</c:v>
                </c:pt>
                <c:pt idx="108">
                  <c:v>45590</c:v>
                </c:pt>
                <c:pt idx="109">
                  <c:v>45589</c:v>
                </c:pt>
                <c:pt idx="110">
                  <c:v>45588</c:v>
                </c:pt>
                <c:pt idx="111">
                  <c:v>45587</c:v>
                </c:pt>
                <c:pt idx="112">
                  <c:v>45586</c:v>
                </c:pt>
                <c:pt idx="113">
                  <c:v>45583</c:v>
                </c:pt>
                <c:pt idx="114">
                  <c:v>45582</c:v>
                </c:pt>
                <c:pt idx="115">
                  <c:v>45581</c:v>
                </c:pt>
                <c:pt idx="116">
                  <c:v>45580</c:v>
                </c:pt>
                <c:pt idx="117">
                  <c:v>45579</c:v>
                </c:pt>
                <c:pt idx="118">
                  <c:v>45576</c:v>
                </c:pt>
                <c:pt idx="119">
                  <c:v>45575</c:v>
                </c:pt>
                <c:pt idx="120">
                  <c:v>45574</c:v>
                </c:pt>
                <c:pt idx="121">
                  <c:v>45573</c:v>
                </c:pt>
                <c:pt idx="122">
                  <c:v>45572</c:v>
                </c:pt>
                <c:pt idx="123">
                  <c:v>45569</c:v>
                </c:pt>
                <c:pt idx="124">
                  <c:v>45568</c:v>
                </c:pt>
                <c:pt idx="125">
                  <c:v>45567</c:v>
                </c:pt>
                <c:pt idx="126">
                  <c:v>45566</c:v>
                </c:pt>
                <c:pt idx="127">
                  <c:v>45565</c:v>
                </c:pt>
                <c:pt idx="128">
                  <c:v>45562</c:v>
                </c:pt>
                <c:pt idx="129">
                  <c:v>45561</c:v>
                </c:pt>
                <c:pt idx="130">
                  <c:v>45560</c:v>
                </c:pt>
                <c:pt idx="131">
                  <c:v>45559</c:v>
                </c:pt>
                <c:pt idx="132">
                  <c:v>45558</c:v>
                </c:pt>
                <c:pt idx="133">
                  <c:v>45555</c:v>
                </c:pt>
                <c:pt idx="134">
                  <c:v>45554</c:v>
                </c:pt>
                <c:pt idx="135">
                  <c:v>45553</c:v>
                </c:pt>
                <c:pt idx="136">
                  <c:v>45552</c:v>
                </c:pt>
                <c:pt idx="137">
                  <c:v>45551</c:v>
                </c:pt>
                <c:pt idx="138">
                  <c:v>45548</c:v>
                </c:pt>
                <c:pt idx="139">
                  <c:v>45547</c:v>
                </c:pt>
                <c:pt idx="140">
                  <c:v>45546</c:v>
                </c:pt>
                <c:pt idx="141">
                  <c:v>45545</c:v>
                </c:pt>
                <c:pt idx="142">
                  <c:v>45544</c:v>
                </c:pt>
                <c:pt idx="143">
                  <c:v>45541</c:v>
                </c:pt>
                <c:pt idx="144">
                  <c:v>45540</c:v>
                </c:pt>
                <c:pt idx="145">
                  <c:v>45539</c:v>
                </c:pt>
                <c:pt idx="146">
                  <c:v>45538</c:v>
                </c:pt>
                <c:pt idx="147">
                  <c:v>45537</c:v>
                </c:pt>
                <c:pt idx="148">
                  <c:v>45534</c:v>
                </c:pt>
                <c:pt idx="149">
                  <c:v>45533</c:v>
                </c:pt>
                <c:pt idx="150">
                  <c:v>45532</c:v>
                </c:pt>
                <c:pt idx="151">
                  <c:v>45531</c:v>
                </c:pt>
                <c:pt idx="152">
                  <c:v>45527</c:v>
                </c:pt>
                <c:pt idx="153">
                  <c:v>45526</c:v>
                </c:pt>
                <c:pt idx="154">
                  <c:v>45525</c:v>
                </c:pt>
                <c:pt idx="155">
                  <c:v>45524</c:v>
                </c:pt>
                <c:pt idx="156">
                  <c:v>45523</c:v>
                </c:pt>
                <c:pt idx="157">
                  <c:v>45520</c:v>
                </c:pt>
                <c:pt idx="158">
                  <c:v>45519</c:v>
                </c:pt>
                <c:pt idx="159">
                  <c:v>45518</c:v>
                </c:pt>
                <c:pt idx="160">
                  <c:v>45517</c:v>
                </c:pt>
                <c:pt idx="161">
                  <c:v>45516</c:v>
                </c:pt>
                <c:pt idx="162">
                  <c:v>45513</c:v>
                </c:pt>
                <c:pt idx="163">
                  <c:v>45512</c:v>
                </c:pt>
                <c:pt idx="164">
                  <c:v>45511</c:v>
                </c:pt>
                <c:pt idx="165">
                  <c:v>45510</c:v>
                </c:pt>
                <c:pt idx="166">
                  <c:v>45509</c:v>
                </c:pt>
                <c:pt idx="167">
                  <c:v>45506</c:v>
                </c:pt>
                <c:pt idx="168">
                  <c:v>45505</c:v>
                </c:pt>
                <c:pt idx="169">
                  <c:v>45504</c:v>
                </c:pt>
                <c:pt idx="170">
                  <c:v>45503</c:v>
                </c:pt>
                <c:pt idx="171">
                  <c:v>45502</c:v>
                </c:pt>
                <c:pt idx="172">
                  <c:v>45499</c:v>
                </c:pt>
                <c:pt idx="173">
                  <c:v>45498</c:v>
                </c:pt>
                <c:pt idx="174">
                  <c:v>45497</c:v>
                </c:pt>
                <c:pt idx="175">
                  <c:v>45496</c:v>
                </c:pt>
                <c:pt idx="176">
                  <c:v>45495</c:v>
                </c:pt>
                <c:pt idx="177">
                  <c:v>45492</c:v>
                </c:pt>
                <c:pt idx="178">
                  <c:v>45491</c:v>
                </c:pt>
                <c:pt idx="179">
                  <c:v>45490</c:v>
                </c:pt>
                <c:pt idx="180">
                  <c:v>45489</c:v>
                </c:pt>
                <c:pt idx="181">
                  <c:v>45488</c:v>
                </c:pt>
                <c:pt idx="182">
                  <c:v>45485</c:v>
                </c:pt>
                <c:pt idx="183">
                  <c:v>45484</c:v>
                </c:pt>
                <c:pt idx="184">
                  <c:v>45483</c:v>
                </c:pt>
                <c:pt idx="185">
                  <c:v>45482</c:v>
                </c:pt>
                <c:pt idx="186">
                  <c:v>45481</c:v>
                </c:pt>
                <c:pt idx="187">
                  <c:v>45478</c:v>
                </c:pt>
                <c:pt idx="188">
                  <c:v>45477</c:v>
                </c:pt>
                <c:pt idx="189">
                  <c:v>45476</c:v>
                </c:pt>
                <c:pt idx="190">
                  <c:v>45475</c:v>
                </c:pt>
                <c:pt idx="191">
                  <c:v>45474</c:v>
                </c:pt>
                <c:pt idx="192">
                  <c:v>45471</c:v>
                </c:pt>
                <c:pt idx="193">
                  <c:v>45470</c:v>
                </c:pt>
                <c:pt idx="194">
                  <c:v>45469</c:v>
                </c:pt>
                <c:pt idx="195">
                  <c:v>45468</c:v>
                </c:pt>
                <c:pt idx="196">
                  <c:v>45467</c:v>
                </c:pt>
                <c:pt idx="197">
                  <c:v>45464</c:v>
                </c:pt>
                <c:pt idx="198">
                  <c:v>45463</c:v>
                </c:pt>
                <c:pt idx="199">
                  <c:v>45462</c:v>
                </c:pt>
                <c:pt idx="200">
                  <c:v>45461</c:v>
                </c:pt>
                <c:pt idx="201">
                  <c:v>45460</c:v>
                </c:pt>
                <c:pt idx="202">
                  <c:v>45457</c:v>
                </c:pt>
                <c:pt idx="203">
                  <c:v>45456</c:v>
                </c:pt>
                <c:pt idx="204">
                  <c:v>45455</c:v>
                </c:pt>
                <c:pt idx="205">
                  <c:v>45454</c:v>
                </c:pt>
                <c:pt idx="206">
                  <c:v>45453</c:v>
                </c:pt>
                <c:pt idx="207">
                  <c:v>45450</c:v>
                </c:pt>
                <c:pt idx="208">
                  <c:v>45449</c:v>
                </c:pt>
                <c:pt idx="209">
                  <c:v>45448</c:v>
                </c:pt>
                <c:pt idx="210">
                  <c:v>45447</c:v>
                </c:pt>
                <c:pt idx="211">
                  <c:v>45446</c:v>
                </c:pt>
                <c:pt idx="212">
                  <c:v>45443</c:v>
                </c:pt>
                <c:pt idx="213">
                  <c:v>45442</c:v>
                </c:pt>
                <c:pt idx="214">
                  <c:v>45441</c:v>
                </c:pt>
                <c:pt idx="215">
                  <c:v>45440</c:v>
                </c:pt>
                <c:pt idx="216">
                  <c:v>45436</c:v>
                </c:pt>
                <c:pt idx="217">
                  <c:v>45435</c:v>
                </c:pt>
                <c:pt idx="218">
                  <c:v>45434</c:v>
                </c:pt>
                <c:pt idx="219">
                  <c:v>45433</c:v>
                </c:pt>
                <c:pt idx="220">
                  <c:v>45432</c:v>
                </c:pt>
                <c:pt idx="221">
                  <c:v>45429</c:v>
                </c:pt>
                <c:pt idx="222">
                  <c:v>45428</c:v>
                </c:pt>
                <c:pt idx="223">
                  <c:v>45427</c:v>
                </c:pt>
                <c:pt idx="224">
                  <c:v>45426</c:v>
                </c:pt>
                <c:pt idx="225">
                  <c:v>45425</c:v>
                </c:pt>
                <c:pt idx="226">
                  <c:v>45422</c:v>
                </c:pt>
                <c:pt idx="227">
                  <c:v>45421</c:v>
                </c:pt>
                <c:pt idx="228">
                  <c:v>45420</c:v>
                </c:pt>
                <c:pt idx="229">
                  <c:v>45419</c:v>
                </c:pt>
                <c:pt idx="230">
                  <c:v>45415</c:v>
                </c:pt>
                <c:pt idx="231">
                  <c:v>45414</c:v>
                </c:pt>
                <c:pt idx="232">
                  <c:v>45413</c:v>
                </c:pt>
                <c:pt idx="233">
                  <c:v>45412</c:v>
                </c:pt>
                <c:pt idx="234">
                  <c:v>45411</c:v>
                </c:pt>
                <c:pt idx="235">
                  <c:v>45408</c:v>
                </c:pt>
                <c:pt idx="236">
                  <c:v>45407</c:v>
                </c:pt>
                <c:pt idx="237">
                  <c:v>45406</c:v>
                </c:pt>
                <c:pt idx="238">
                  <c:v>45405</c:v>
                </c:pt>
                <c:pt idx="239">
                  <c:v>45404</c:v>
                </c:pt>
                <c:pt idx="240">
                  <c:v>45401</c:v>
                </c:pt>
                <c:pt idx="241">
                  <c:v>45400</c:v>
                </c:pt>
                <c:pt idx="242">
                  <c:v>45399</c:v>
                </c:pt>
                <c:pt idx="243">
                  <c:v>45398</c:v>
                </c:pt>
                <c:pt idx="244">
                  <c:v>45397</c:v>
                </c:pt>
                <c:pt idx="245">
                  <c:v>45394</c:v>
                </c:pt>
                <c:pt idx="246">
                  <c:v>45393</c:v>
                </c:pt>
                <c:pt idx="247">
                  <c:v>45392</c:v>
                </c:pt>
                <c:pt idx="248">
                  <c:v>45391</c:v>
                </c:pt>
                <c:pt idx="249">
                  <c:v>45390</c:v>
                </c:pt>
                <c:pt idx="250">
                  <c:v>45387</c:v>
                </c:pt>
                <c:pt idx="251">
                  <c:v>45386</c:v>
                </c:pt>
                <c:pt idx="252">
                  <c:v>45385</c:v>
                </c:pt>
                <c:pt idx="253">
                  <c:v>45384</c:v>
                </c:pt>
                <c:pt idx="254">
                  <c:v>45379</c:v>
                </c:pt>
                <c:pt idx="255">
                  <c:v>45378</c:v>
                </c:pt>
                <c:pt idx="256">
                  <c:v>45377</c:v>
                </c:pt>
                <c:pt idx="257">
                  <c:v>45376</c:v>
                </c:pt>
                <c:pt idx="258">
                  <c:v>45373</c:v>
                </c:pt>
                <c:pt idx="259">
                  <c:v>45372</c:v>
                </c:pt>
                <c:pt idx="260">
                  <c:v>45371</c:v>
                </c:pt>
                <c:pt idx="261">
                  <c:v>45370</c:v>
                </c:pt>
                <c:pt idx="262">
                  <c:v>45369</c:v>
                </c:pt>
                <c:pt idx="263">
                  <c:v>45366</c:v>
                </c:pt>
                <c:pt idx="264">
                  <c:v>45365</c:v>
                </c:pt>
                <c:pt idx="265">
                  <c:v>45364</c:v>
                </c:pt>
                <c:pt idx="266">
                  <c:v>45363</c:v>
                </c:pt>
                <c:pt idx="267">
                  <c:v>45362</c:v>
                </c:pt>
                <c:pt idx="268">
                  <c:v>45359</c:v>
                </c:pt>
                <c:pt idx="269">
                  <c:v>45358</c:v>
                </c:pt>
                <c:pt idx="270">
                  <c:v>45357</c:v>
                </c:pt>
                <c:pt idx="271">
                  <c:v>45356</c:v>
                </c:pt>
                <c:pt idx="272">
                  <c:v>45355</c:v>
                </c:pt>
                <c:pt idx="273">
                  <c:v>45352</c:v>
                </c:pt>
                <c:pt idx="274">
                  <c:v>45351</c:v>
                </c:pt>
                <c:pt idx="275">
                  <c:v>45350</c:v>
                </c:pt>
                <c:pt idx="276">
                  <c:v>45349</c:v>
                </c:pt>
                <c:pt idx="277">
                  <c:v>45348</c:v>
                </c:pt>
                <c:pt idx="278">
                  <c:v>45345</c:v>
                </c:pt>
                <c:pt idx="279">
                  <c:v>45344</c:v>
                </c:pt>
                <c:pt idx="280">
                  <c:v>45343</c:v>
                </c:pt>
                <c:pt idx="281">
                  <c:v>45342</c:v>
                </c:pt>
                <c:pt idx="282">
                  <c:v>45341</c:v>
                </c:pt>
                <c:pt idx="283">
                  <c:v>45338</c:v>
                </c:pt>
                <c:pt idx="284">
                  <c:v>45337</c:v>
                </c:pt>
                <c:pt idx="285">
                  <c:v>45336</c:v>
                </c:pt>
                <c:pt idx="286">
                  <c:v>45335</c:v>
                </c:pt>
                <c:pt idx="287">
                  <c:v>45334</c:v>
                </c:pt>
                <c:pt idx="288">
                  <c:v>45331</c:v>
                </c:pt>
                <c:pt idx="289">
                  <c:v>45330</c:v>
                </c:pt>
                <c:pt idx="290">
                  <c:v>45329</c:v>
                </c:pt>
                <c:pt idx="291">
                  <c:v>45328</c:v>
                </c:pt>
                <c:pt idx="292">
                  <c:v>45327</c:v>
                </c:pt>
                <c:pt idx="293">
                  <c:v>45324</c:v>
                </c:pt>
                <c:pt idx="294">
                  <c:v>45323</c:v>
                </c:pt>
                <c:pt idx="295">
                  <c:v>45322</c:v>
                </c:pt>
                <c:pt idx="296">
                  <c:v>45321</c:v>
                </c:pt>
                <c:pt idx="297">
                  <c:v>45320</c:v>
                </c:pt>
                <c:pt idx="298">
                  <c:v>45317</c:v>
                </c:pt>
                <c:pt idx="299">
                  <c:v>45316</c:v>
                </c:pt>
                <c:pt idx="300">
                  <c:v>45315</c:v>
                </c:pt>
                <c:pt idx="301">
                  <c:v>45314</c:v>
                </c:pt>
                <c:pt idx="302">
                  <c:v>45313</c:v>
                </c:pt>
                <c:pt idx="303">
                  <c:v>45310</c:v>
                </c:pt>
                <c:pt idx="304">
                  <c:v>45309</c:v>
                </c:pt>
                <c:pt idx="305">
                  <c:v>45308</c:v>
                </c:pt>
                <c:pt idx="306">
                  <c:v>45307</c:v>
                </c:pt>
                <c:pt idx="307">
                  <c:v>45306</c:v>
                </c:pt>
                <c:pt idx="308">
                  <c:v>45303</c:v>
                </c:pt>
                <c:pt idx="309">
                  <c:v>45302</c:v>
                </c:pt>
                <c:pt idx="310">
                  <c:v>45301</c:v>
                </c:pt>
                <c:pt idx="311">
                  <c:v>45300</c:v>
                </c:pt>
                <c:pt idx="312">
                  <c:v>45299</c:v>
                </c:pt>
                <c:pt idx="313">
                  <c:v>45296</c:v>
                </c:pt>
                <c:pt idx="314">
                  <c:v>45295</c:v>
                </c:pt>
                <c:pt idx="315">
                  <c:v>45294</c:v>
                </c:pt>
                <c:pt idx="316">
                  <c:v>45293</c:v>
                </c:pt>
                <c:pt idx="317">
                  <c:v>45289</c:v>
                </c:pt>
                <c:pt idx="318">
                  <c:v>45288</c:v>
                </c:pt>
                <c:pt idx="319">
                  <c:v>45287</c:v>
                </c:pt>
                <c:pt idx="320">
                  <c:v>45282</c:v>
                </c:pt>
                <c:pt idx="321">
                  <c:v>45281</c:v>
                </c:pt>
                <c:pt idx="322">
                  <c:v>45280</c:v>
                </c:pt>
                <c:pt idx="323">
                  <c:v>45279</c:v>
                </c:pt>
                <c:pt idx="324">
                  <c:v>45278</c:v>
                </c:pt>
                <c:pt idx="325">
                  <c:v>45275</c:v>
                </c:pt>
                <c:pt idx="326">
                  <c:v>45274</c:v>
                </c:pt>
                <c:pt idx="327">
                  <c:v>45273</c:v>
                </c:pt>
                <c:pt idx="328">
                  <c:v>45272</c:v>
                </c:pt>
                <c:pt idx="329">
                  <c:v>45271</c:v>
                </c:pt>
                <c:pt idx="330">
                  <c:v>45268</c:v>
                </c:pt>
                <c:pt idx="331">
                  <c:v>45267</c:v>
                </c:pt>
                <c:pt idx="332">
                  <c:v>45266</c:v>
                </c:pt>
                <c:pt idx="333">
                  <c:v>45265</c:v>
                </c:pt>
                <c:pt idx="334">
                  <c:v>45264</c:v>
                </c:pt>
                <c:pt idx="335">
                  <c:v>45261</c:v>
                </c:pt>
                <c:pt idx="336">
                  <c:v>45260</c:v>
                </c:pt>
                <c:pt idx="337">
                  <c:v>45259</c:v>
                </c:pt>
                <c:pt idx="338">
                  <c:v>45258</c:v>
                </c:pt>
                <c:pt idx="339">
                  <c:v>45257</c:v>
                </c:pt>
                <c:pt idx="340">
                  <c:v>45254</c:v>
                </c:pt>
                <c:pt idx="341">
                  <c:v>45253</c:v>
                </c:pt>
                <c:pt idx="342">
                  <c:v>45252</c:v>
                </c:pt>
                <c:pt idx="343">
                  <c:v>45251</c:v>
                </c:pt>
                <c:pt idx="344">
                  <c:v>45250</c:v>
                </c:pt>
                <c:pt idx="345">
                  <c:v>45247</c:v>
                </c:pt>
                <c:pt idx="346">
                  <c:v>45246</c:v>
                </c:pt>
                <c:pt idx="347">
                  <c:v>45245</c:v>
                </c:pt>
                <c:pt idx="348">
                  <c:v>45244</c:v>
                </c:pt>
                <c:pt idx="349">
                  <c:v>45243</c:v>
                </c:pt>
                <c:pt idx="350">
                  <c:v>45240</c:v>
                </c:pt>
                <c:pt idx="351">
                  <c:v>45239</c:v>
                </c:pt>
                <c:pt idx="352">
                  <c:v>45238</c:v>
                </c:pt>
                <c:pt idx="353">
                  <c:v>45237</c:v>
                </c:pt>
                <c:pt idx="354">
                  <c:v>45236</c:v>
                </c:pt>
                <c:pt idx="355">
                  <c:v>45233</c:v>
                </c:pt>
                <c:pt idx="356">
                  <c:v>45232</c:v>
                </c:pt>
                <c:pt idx="357">
                  <c:v>45231</c:v>
                </c:pt>
                <c:pt idx="358">
                  <c:v>45230</c:v>
                </c:pt>
                <c:pt idx="359">
                  <c:v>45229</c:v>
                </c:pt>
                <c:pt idx="360">
                  <c:v>45226</c:v>
                </c:pt>
                <c:pt idx="361">
                  <c:v>45225</c:v>
                </c:pt>
                <c:pt idx="362">
                  <c:v>45224</c:v>
                </c:pt>
                <c:pt idx="363">
                  <c:v>45223</c:v>
                </c:pt>
                <c:pt idx="364">
                  <c:v>45222</c:v>
                </c:pt>
                <c:pt idx="365">
                  <c:v>45219</c:v>
                </c:pt>
                <c:pt idx="366">
                  <c:v>45218</c:v>
                </c:pt>
                <c:pt idx="367">
                  <c:v>45217</c:v>
                </c:pt>
                <c:pt idx="368">
                  <c:v>45216</c:v>
                </c:pt>
                <c:pt idx="369">
                  <c:v>45215</c:v>
                </c:pt>
                <c:pt idx="370">
                  <c:v>45212</c:v>
                </c:pt>
                <c:pt idx="371">
                  <c:v>45211</c:v>
                </c:pt>
                <c:pt idx="372">
                  <c:v>45210</c:v>
                </c:pt>
                <c:pt idx="373">
                  <c:v>45209</c:v>
                </c:pt>
                <c:pt idx="374">
                  <c:v>45208</c:v>
                </c:pt>
                <c:pt idx="375">
                  <c:v>45205</c:v>
                </c:pt>
                <c:pt idx="376">
                  <c:v>45204</c:v>
                </c:pt>
                <c:pt idx="377">
                  <c:v>45203</c:v>
                </c:pt>
                <c:pt idx="378">
                  <c:v>45202</c:v>
                </c:pt>
                <c:pt idx="379">
                  <c:v>45201</c:v>
                </c:pt>
                <c:pt idx="380">
                  <c:v>45198</c:v>
                </c:pt>
                <c:pt idx="381">
                  <c:v>45197</c:v>
                </c:pt>
                <c:pt idx="382">
                  <c:v>45196</c:v>
                </c:pt>
                <c:pt idx="383">
                  <c:v>45195</c:v>
                </c:pt>
                <c:pt idx="384">
                  <c:v>45194</c:v>
                </c:pt>
                <c:pt idx="385">
                  <c:v>45191</c:v>
                </c:pt>
                <c:pt idx="386">
                  <c:v>45190</c:v>
                </c:pt>
                <c:pt idx="387">
                  <c:v>45189</c:v>
                </c:pt>
                <c:pt idx="388">
                  <c:v>45188</c:v>
                </c:pt>
                <c:pt idx="389">
                  <c:v>45187</c:v>
                </c:pt>
                <c:pt idx="390">
                  <c:v>45184</c:v>
                </c:pt>
                <c:pt idx="391">
                  <c:v>45183</c:v>
                </c:pt>
                <c:pt idx="392">
                  <c:v>45182</c:v>
                </c:pt>
                <c:pt idx="393">
                  <c:v>45181</c:v>
                </c:pt>
                <c:pt idx="394">
                  <c:v>45180</c:v>
                </c:pt>
                <c:pt idx="395">
                  <c:v>45177</c:v>
                </c:pt>
                <c:pt idx="396">
                  <c:v>45176</c:v>
                </c:pt>
                <c:pt idx="397">
                  <c:v>45175</c:v>
                </c:pt>
                <c:pt idx="398">
                  <c:v>45174</c:v>
                </c:pt>
                <c:pt idx="399">
                  <c:v>45173</c:v>
                </c:pt>
                <c:pt idx="400">
                  <c:v>45170</c:v>
                </c:pt>
                <c:pt idx="401">
                  <c:v>45169</c:v>
                </c:pt>
                <c:pt idx="402">
                  <c:v>45168</c:v>
                </c:pt>
                <c:pt idx="403">
                  <c:v>45167</c:v>
                </c:pt>
                <c:pt idx="404">
                  <c:v>45163</c:v>
                </c:pt>
                <c:pt idx="405">
                  <c:v>45162</c:v>
                </c:pt>
                <c:pt idx="406">
                  <c:v>45161</c:v>
                </c:pt>
                <c:pt idx="407">
                  <c:v>45160</c:v>
                </c:pt>
                <c:pt idx="408">
                  <c:v>45159</c:v>
                </c:pt>
                <c:pt idx="409">
                  <c:v>45156</c:v>
                </c:pt>
                <c:pt idx="410">
                  <c:v>45155</c:v>
                </c:pt>
                <c:pt idx="411">
                  <c:v>45154</c:v>
                </c:pt>
                <c:pt idx="412">
                  <c:v>45153</c:v>
                </c:pt>
                <c:pt idx="413">
                  <c:v>45152</c:v>
                </c:pt>
                <c:pt idx="414">
                  <c:v>45149</c:v>
                </c:pt>
                <c:pt idx="415">
                  <c:v>45148</c:v>
                </c:pt>
                <c:pt idx="416">
                  <c:v>45147</c:v>
                </c:pt>
                <c:pt idx="417">
                  <c:v>45146</c:v>
                </c:pt>
                <c:pt idx="418">
                  <c:v>45145</c:v>
                </c:pt>
                <c:pt idx="419">
                  <c:v>45142</c:v>
                </c:pt>
                <c:pt idx="420">
                  <c:v>45141</c:v>
                </c:pt>
                <c:pt idx="421">
                  <c:v>45140</c:v>
                </c:pt>
                <c:pt idx="422">
                  <c:v>45139</c:v>
                </c:pt>
                <c:pt idx="423">
                  <c:v>45138</c:v>
                </c:pt>
                <c:pt idx="424">
                  <c:v>45135</c:v>
                </c:pt>
                <c:pt idx="425">
                  <c:v>45134</c:v>
                </c:pt>
                <c:pt idx="426">
                  <c:v>45133</c:v>
                </c:pt>
                <c:pt idx="427">
                  <c:v>45132</c:v>
                </c:pt>
                <c:pt idx="428">
                  <c:v>45131</c:v>
                </c:pt>
                <c:pt idx="429">
                  <c:v>45128</c:v>
                </c:pt>
                <c:pt idx="430">
                  <c:v>45127</c:v>
                </c:pt>
                <c:pt idx="431">
                  <c:v>45126</c:v>
                </c:pt>
                <c:pt idx="432">
                  <c:v>45125</c:v>
                </c:pt>
                <c:pt idx="433">
                  <c:v>45124</c:v>
                </c:pt>
                <c:pt idx="434">
                  <c:v>45121</c:v>
                </c:pt>
                <c:pt idx="435">
                  <c:v>45120</c:v>
                </c:pt>
                <c:pt idx="436">
                  <c:v>45119</c:v>
                </c:pt>
                <c:pt idx="437">
                  <c:v>45118</c:v>
                </c:pt>
                <c:pt idx="438">
                  <c:v>45117</c:v>
                </c:pt>
                <c:pt idx="439">
                  <c:v>45114</c:v>
                </c:pt>
                <c:pt idx="440">
                  <c:v>45113</c:v>
                </c:pt>
                <c:pt idx="441">
                  <c:v>45112</c:v>
                </c:pt>
                <c:pt idx="442">
                  <c:v>45111</c:v>
                </c:pt>
                <c:pt idx="443">
                  <c:v>45110</c:v>
                </c:pt>
                <c:pt idx="444">
                  <c:v>45107</c:v>
                </c:pt>
                <c:pt idx="445">
                  <c:v>45106</c:v>
                </c:pt>
                <c:pt idx="446">
                  <c:v>45105</c:v>
                </c:pt>
                <c:pt idx="447">
                  <c:v>45104</c:v>
                </c:pt>
                <c:pt idx="448">
                  <c:v>45103</c:v>
                </c:pt>
                <c:pt idx="449">
                  <c:v>45100</c:v>
                </c:pt>
                <c:pt idx="450">
                  <c:v>45099</c:v>
                </c:pt>
                <c:pt idx="451">
                  <c:v>45098</c:v>
                </c:pt>
                <c:pt idx="452">
                  <c:v>45097</c:v>
                </c:pt>
                <c:pt idx="453">
                  <c:v>45096</c:v>
                </c:pt>
                <c:pt idx="454">
                  <c:v>45093</c:v>
                </c:pt>
                <c:pt idx="455">
                  <c:v>45092</c:v>
                </c:pt>
                <c:pt idx="456">
                  <c:v>45091</c:v>
                </c:pt>
                <c:pt idx="457">
                  <c:v>45090</c:v>
                </c:pt>
                <c:pt idx="458">
                  <c:v>45089</c:v>
                </c:pt>
                <c:pt idx="459">
                  <c:v>45086</c:v>
                </c:pt>
                <c:pt idx="460">
                  <c:v>45085</c:v>
                </c:pt>
                <c:pt idx="461">
                  <c:v>45084</c:v>
                </c:pt>
                <c:pt idx="462">
                  <c:v>45083</c:v>
                </c:pt>
                <c:pt idx="463">
                  <c:v>45082</c:v>
                </c:pt>
                <c:pt idx="464">
                  <c:v>45079</c:v>
                </c:pt>
                <c:pt idx="465">
                  <c:v>45078</c:v>
                </c:pt>
                <c:pt idx="466">
                  <c:v>45077</c:v>
                </c:pt>
                <c:pt idx="467">
                  <c:v>45076</c:v>
                </c:pt>
                <c:pt idx="468">
                  <c:v>45072</c:v>
                </c:pt>
                <c:pt idx="469">
                  <c:v>45071</c:v>
                </c:pt>
                <c:pt idx="470">
                  <c:v>45070</c:v>
                </c:pt>
                <c:pt idx="471">
                  <c:v>45069</c:v>
                </c:pt>
                <c:pt idx="472">
                  <c:v>45068</c:v>
                </c:pt>
                <c:pt idx="473">
                  <c:v>45065</c:v>
                </c:pt>
                <c:pt idx="474">
                  <c:v>45064</c:v>
                </c:pt>
                <c:pt idx="475">
                  <c:v>45063</c:v>
                </c:pt>
                <c:pt idx="476">
                  <c:v>45062</c:v>
                </c:pt>
                <c:pt idx="477">
                  <c:v>45061</c:v>
                </c:pt>
                <c:pt idx="478">
                  <c:v>45058</c:v>
                </c:pt>
                <c:pt idx="479">
                  <c:v>45057</c:v>
                </c:pt>
                <c:pt idx="480">
                  <c:v>45056</c:v>
                </c:pt>
                <c:pt idx="481">
                  <c:v>45055</c:v>
                </c:pt>
                <c:pt idx="482">
                  <c:v>45051</c:v>
                </c:pt>
                <c:pt idx="483">
                  <c:v>45050</c:v>
                </c:pt>
                <c:pt idx="484">
                  <c:v>45049</c:v>
                </c:pt>
                <c:pt idx="485">
                  <c:v>45048</c:v>
                </c:pt>
                <c:pt idx="486">
                  <c:v>45044</c:v>
                </c:pt>
                <c:pt idx="487">
                  <c:v>45043</c:v>
                </c:pt>
                <c:pt idx="488">
                  <c:v>45042</c:v>
                </c:pt>
                <c:pt idx="489">
                  <c:v>45041</c:v>
                </c:pt>
                <c:pt idx="490">
                  <c:v>45040</c:v>
                </c:pt>
                <c:pt idx="491">
                  <c:v>45037</c:v>
                </c:pt>
                <c:pt idx="492">
                  <c:v>45036</c:v>
                </c:pt>
                <c:pt idx="493">
                  <c:v>45035</c:v>
                </c:pt>
                <c:pt idx="494">
                  <c:v>45034</c:v>
                </c:pt>
                <c:pt idx="495">
                  <c:v>45033</c:v>
                </c:pt>
                <c:pt idx="496">
                  <c:v>45030</c:v>
                </c:pt>
                <c:pt idx="497">
                  <c:v>45029</c:v>
                </c:pt>
                <c:pt idx="498">
                  <c:v>45028</c:v>
                </c:pt>
                <c:pt idx="499">
                  <c:v>45027</c:v>
                </c:pt>
                <c:pt idx="500">
                  <c:v>45022</c:v>
                </c:pt>
                <c:pt idx="501">
                  <c:v>45021</c:v>
                </c:pt>
                <c:pt idx="502">
                  <c:v>45020</c:v>
                </c:pt>
                <c:pt idx="503">
                  <c:v>45019</c:v>
                </c:pt>
                <c:pt idx="504">
                  <c:v>45016</c:v>
                </c:pt>
                <c:pt idx="505">
                  <c:v>45015</c:v>
                </c:pt>
                <c:pt idx="506">
                  <c:v>45014</c:v>
                </c:pt>
                <c:pt idx="507">
                  <c:v>45013</c:v>
                </c:pt>
                <c:pt idx="508">
                  <c:v>45012</c:v>
                </c:pt>
                <c:pt idx="509">
                  <c:v>45009</c:v>
                </c:pt>
                <c:pt idx="510">
                  <c:v>45008</c:v>
                </c:pt>
                <c:pt idx="511">
                  <c:v>45007</c:v>
                </c:pt>
                <c:pt idx="512">
                  <c:v>45006</c:v>
                </c:pt>
                <c:pt idx="513">
                  <c:v>45005</c:v>
                </c:pt>
                <c:pt idx="514">
                  <c:v>45002</c:v>
                </c:pt>
                <c:pt idx="515">
                  <c:v>45001</c:v>
                </c:pt>
                <c:pt idx="516">
                  <c:v>45000</c:v>
                </c:pt>
                <c:pt idx="517">
                  <c:v>44999</c:v>
                </c:pt>
                <c:pt idx="518">
                  <c:v>44998</c:v>
                </c:pt>
                <c:pt idx="519">
                  <c:v>44995</c:v>
                </c:pt>
                <c:pt idx="520">
                  <c:v>44994</c:v>
                </c:pt>
                <c:pt idx="521">
                  <c:v>44993</c:v>
                </c:pt>
                <c:pt idx="522">
                  <c:v>44992</c:v>
                </c:pt>
                <c:pt idx="523">
                  <c:v>44991</c:v>
                </c:pt>
                <c:pt idx="524">
                  <c:v>44988</c:v>
                </c:pt>
                <c:pt idx="525">
                  <c:v>44987</c:v>
                </c:pt>
                <c:pt idx="526">
                  <c:v>44986</c:v>
                </c:pt>
                <c:pt idx="527">
                  <c:v>44985</c:v>
                </c:pt>
                <c:pt idx="528">
                  <c:v>44984</c:v>
                </c:pt>
                <c:pt idx="529">
                  <c:v>44981</c:v>
                </c:pt>
                <c:pt idx="530">
                  <c:v>44980</c:v>
                </c:pt>
                <c:pt idx="531">
                  <c:v>44979</c:v>
                </c:pt>
                <c:pt idx="532">
                  <c:v>44978</c:v>
                </c:pt>
                <c:pt idx="533">
                  <c:v>44977</c:v>
                </c:pt>
                <c:pt idx="534">
                  <c:v>44974</c:v>
                </c:pt>
                <c:pt idx="535">
                  <c:v>44973</c:v>
                </c:pt>
                <c:pt idx="536">
                  <c:v>44972</c:v>
                </c:pt>
                <c:pt idx="537">
                  <c:v>44971</c:v>
                </c:pt>
                <c:pt idx="538">
                  <c:v>44970</c:v>
                </c:pt>
                <c:pt idx="539">
                  <c:v>44967</c:v>
                </c:pt>
                <c:pt idx="540">
                  <c:v>44966</c:v>
                </c:pt>
                <c:pt idx="541">
                  <c:v>44965</c:v>
                </c:pt>
                <c:pt idx="542">
                  <c:v>44964</c:v>
                </c:pt>
                <c:pt idx="543">
                  <c:v>44963</c:v>
                </c:pt>
                <c:pt idx="544">
                  <c:v>44960</c:v>
                </c:pt>
                <c:pt idx="545">
                  <c:v>44959</c:v>
                </c:pt>
                <c:pt idx="546">
                  <c:v>44958</c:v>
                </c:pt>
                <c:pt idx="547">
                  <c:v>44957</c:v>
                </c:pt>
                <c:pt idx="548">
                  <c:v>44956</c:v>
                </c:pt>
                <c:pt idx="549">
                  <c:v>44953</c:v>
                </c:pt>
                <c:pt idx="550">
                  <c:v>44952</c:v>
                </c:pt>
                <c:pt idx="551">
                  <c:v>44951</c:v>
                </c:pt>
                <c:pt idx="552">
                  <c:v>44950</c:v>
                </c:pt>
                <c:pt idx="553">
                  <c:v>44949</c:v>
                </c:pt>
                <c:pt idx="554">
                  <c:v>44946</c:v>
                </c:pt>
                <c:pt idx="555">
                  <c:v>44945</c:v>
                </c:pt>
                <c:pt idx="556">
                  <c:v>44944</c:v>
                </c:pt>
                <c:pt idx="557">
                  <c:v>44943</c:v>
                </c:pt>
                <c:pt idx="558">
                  <c:v>44942</c:v>
                </c:pt>
                <c:pt idx="559">
                  <c:v>44939</c:v>
                </c:pt>
                <c:pt idx="560">
                  <c:v>44938</c:v>
                </c:pt>
                <c:pt idx="561">
                  <c:v>44937</c:v>
                </c:pt>
                <c:pt idx="562">
                  <c:v>44936</c:v>
                </c:pt>
                <c:pt idx="563">
                  <c:v>44935</c:v>
                </c:pt>
                <c:pt idx="564">
                  <c:v>44932</c:v>
                </c:pt>
                <c:pt idx="565">
                  <c:v>44931</c:v>
                </c:pt>
                <c:pt idx="566">
                  <c:v>44930</c:v>
                </c:pt>
                <c:pt idx="567">
                  <c:v>44929</c:v>
                </c:pt>
                <c:pt idx="568">
                  <c:v>44925</c:v>
                </c:pt>
                <c:pt idx="569">
                  <c:v>44924</c:v>
                </c:pt>
                <c:pt idx="570">
                  <c:v>44923</c:v>
                </c:pt>
                <c:pt idx="571">
                  <c:v>44918</c:v>
                </c:pt>
                <c:pt idx="572">
                  <c:v>44917</c:v>
                </c:pt>
                <c:pt idx="573">
                  <c:v>44916</c:v>
                </c:pt>
                <c:pt idx="574">
                  <c:v>44915</c:v>
                </c:pt>
                <c:pt idx="575">
                  <c:v>44914</c:v>
                </c:pt>
                <c:pt idx="576">
                  <c:v>44911</c:v>
                </c:pt>
                <c:pt idx="577">
                  <c:v>44910</c:v>
                </c:pt>
                <c:pt idx="578">
                  <c:v>44909</c:v>
                </c:pt>
                <c:pt idx="579">
                  <c:v>44908</c:v>
                </c:pt>
                <c:pt idx="580">
                  <c:v>44907</c:v>
                </c:pt>
                <c:pt idx="581">
                  <c:v>44904</c:v>
                </c:pt>
                <c:pt idx="582">
                  <c:v>44903</c:v>
                </c:pt>
                <c:pt idx="583">
                  <c:v>44902</c:v>
                </c:pt>
                <c:pt idx="584">
                  <c:v>44901</c:v>
                </c:pt>
                <c:pt idx="585">
                  <c:v>44900</c:v>
                </c:pt>
                <c:pt idx="586">
                  <c:v>44897</c:v>
                </c:pt>
                <c:pt idx="587">
                  <c:v>44896</c:v>
                </c:pt>
                <c:pt idx="588">
                  <c:v>44895</c:v>
                </c:pt>
                <c:pt idx="589">
                  <c:v>44894</c:v>
                </c:pt>
                <c:pt idx="590">
                  <c:v>44893</c:v>
                </c:pt>
                <c:pt idx="591">
                  <c:v>44890</c:v>
                </c:pt>
                <c:pt idx="592">
                  <c:v>44889</c:v>
                </c:pt>
                <c:pt idx="593">
                  <c:v>44888</c:v>
                </c:pt>
                <c:pt idx="594">
                  <c:v>44887</c:v>
                </c:pt>
                <c:pt idx="595">
                  <c:v>44886</c:v>
                </c:pt>
                <c:pt idx="596">
                  <c:v>44883</c:v>
                </c:pt>
                <c:pt idx="597">
                  <c:v>44882</c:v>
                </c:pt>
                <c:pt idx="598">
                  <c:v>44881</c:v>
                </c:pt>
                <c:pt idx="599">
                  <c:v>44880</c:v>
                </c:pt>
                <c:pt idx="600">
                  <c:v>44879</c:v>
                </c:pt>
                <c:pt idx="601">
                  <c:v>44876</c:v>
                </c:pt>
                <c:pt idx="602">
                  <c:v>44875</c:v>
                </c:pt>
                <c:pt idx="603">
                  <c:v>44874</c:v>
                </c:pt>
                <c:pt idx="604">
                  <c:v>44873</c:v>
                </c:pt>
                <c:pt idx="605">
                  <c:v>44872</c:v>
                </c:pt>
                <c:pt idx="606">
                  <c:v>44869</c:v>
                </c:pt>
                <c:pt idx="607">
                  <c:v>44868</c:v>
                </c:pt>
                <c:pt idx="608">
                  <c:v>44867</c:v>
                </c:pt>
                <c:pt idx="609">
                  <c:v>44866</c:v>
                </c:pt>
                <c:pt idx="610">
                  <c:v>44865</c:v>
                </c:pt>
                <c:pt idx="611">
                  <c:v>44862</c:v>
                </c:pt>
                <c:pt idx="612">
                  <c:v>44861</c:v>
                </c:pt>
                <c:pt idx="613">
                  <c:v>44860</c:v>
                </c:pt>
                <c:pt idx="614">
                  <c:v>44859</c:v>
                </c:pt>
                <c:pt idx="615">
                  <c:v>44858</c:v>
                </c:pt>
                <c:pt idx="616">
                  <c:v>44855</c:v>
                </c:pt>
                <c:pt idx="617">
                  <c:v>44854</c:v>
                </c:pt>
                <c:pt idx="618">
                  <c:v>44853</c:v>
                </c:pt>
                <c:pt idx="619">
                  <c:v>44852</c:v>
                </c:pt>
                <c:pt idx="620">
                  <c:v>44851</c:v>
                </c:pt>
                <c:pt idx="621">
                  <c:v>44848</c:v>
                </c:pt>
                <c:pt idx="622">
                  <c:v>44847</c:v>
                </c:pt>
                <c:pt idx="623">
                  <c:v>44846</c:v>
                </c:pt>
                <c:pt idx="624">
                  <c:v>44845</c:v>
                </c:pt>
                <c:pt idx="625">
                  <c:v>44844</c:v>
                </c:pt>
                <c:pt idx="626">
                  <c:v>44841</c:v>
                </c:pt>
                <c:pt idx="627">
                  <c:v>44840</c:v>
                </c:pt>
                <c:pt idx="628">
                  <c:v>44839</c:v>
                </c:pt>
                <c:pt idx="629">
                  <c:v>44838</c:v>
                </c:pt>
                <c:pt idx="630">
                  <c:v>44837</c:v>
                </c:pt>
                <c:pt idx="631">
                  <c:v>44834</c:v>
                </c:pt>
                <c:pt idx="632">
                  <c:v>44833</c:v>
                </c:pt>
                <c:pt idx="633">
                  <c:v>44832</c:v>
                </c:pt>
                <c:pt idx="634">
                  <c:v>44831</c:v>
                </c:pt>
                <c:pt idx="635">
                  <c:v>44830</c:v>
                </c:pt>
                <c:pt idx="636">
                  <c:v>44827</c:v>
                </c:pt>
                <c:pt idx="637">
                  <c:v>44826</c:v>
                </c:pt>
                <c:pt idx="638">
                  <c:v>44825</c:v>
                </c:pt>
                <c:pt idx="639">
                  <c:v>44824</c:v>
                </c:pt>
                <c:pt idx="640">
                  <c:v>44820</c:v>
                </c:pt>
                <c:pt idx="641">
                  <c:v>44819</c:v>
                </c:pt>
                <c:pt idx="642">
                  <c:v>44818</c:v>
                </c:pt>
                <c:pt idx="643">
                  <c:v>44817</c:v>
                </c:pt>
                <c:pt idx="644">
                  <c:v>44816</c:v>
                </c:pt>
                <c:pt idx="645">
                  <c:v>44813</c:v>
                </c:pt>
                <c:pt idx="646">
                  <c:v>44812</c:v>
                </c:pt>
                <c:pt idx="647">
                  <c:v>44811</c:v>
                </c:pt>
                <c:pt idx="648">
                  <c:v>44810</c:v>
                </c:pt>
                <c:pt idx="649">
                  <c:v>44809</c:v>
                </c:pt>
                <c:pt idx="650">
                  <c:v>44806</c:v>
                </c:pt>
                <c:pt idx="651">
                  <c:v>44805</c:v>
                </c:pt>
                <c:pt idx="652">
                  <c:v>44804</c:v>
                </c:pt>
                <c:pt idx="653">
                  <c:v>44803</c:v>
                </c:pt>
                <c:pt idx="654">
                  <c:v>44799</c:v>
                </c:pt>
                <c:pt idx="655">
                  <c:v>44798</c:v>
                </c:pt>
                <c:pt idx="656">
                  <c:v>44797</c:v>
                </c:pt>
                <c:pt idx="657">
                  <c:v>44796</c:v>
                </c:pt>
                <c:pt idx="658">
                  <c:v>44795</c:v>
                </c:pt>
                <c:pt idx="659">
                  <c:v>44792</c:v>
                </c:pt>
                <c:pt idx="660">
                  <c:v>44791</c:v>
                </c:pt>
                <c:pt idx="661">
                  <c:v>44790</c:v>
                </c:pt>
                <c:pt idx="662">
                  <c:v>44789</c:v>
                </c:pt>
                <c:pt idx="663">
                  <c:v>44788</c:v>
                </c:pt>
                <c:pt idx="664">
                  <c:v>44785</c:v>
                </c:pt>
                <c:pt idx="665">
                  <c:v>44784</c:v>
                </c:pt>
                <c:pt idx="666">
                  <c:v>44783</c:v>
                </c:pt>
                <c:pt idx="667">
                  <c:v>44782</c:v>
                </c:pt>
                <c:pt idx="668">
                  <c:v>44781</c:v>
                </c:pt>
                <c:pt idx="669">
                  <c:v>44778</c:v>
                </c:pt>
                <c:pt idx="670">
                  <c:v>44777</c:v>
                </c:pt>
                <c:pt idx="671">
                  <c:v>44776</c:v>
                </c:pt>
                <c:pt idx="672">
                  <c:v>44775</c:v>
                </c:pt>
                <c:pt idx="673">
                  <c:v>44774</c:v>
                </c:pt>
                <c:pt idx="674">
                  <c:v>44771</c:v>
                </c:pt>
                <c:pt idx="675">
                  <c:v>44770</c:v>
                </c:pt>
                <c:pt idx="676">
                  <c:v>44769</c:v>
                </c:pt>
                <c:pt idx="677">
                  <c:v>44768</c:v>
                </c:pt>
                <c:pt idx="678">
                  <c:v>44767</c:v>
                </c:pt>
                <c:pt idx="679">
                  <c:v>44764</c:v>
                </c:pt>
                <c:pt idx="680">
                  <c:v>44763</c:v>
                </c:pt>
                <c:pt idx="681">
                  <c:v>44762</c:v>
                </c:pt>
                <c:pt idx="682">
                  <c:v>44761</c:v>
                </c:pt>
                <c:pt idx="683">
                  <c:v>44760</c:v>
                </c:pt>
                <c:pt idx="684">
                  <c:v>44757</c:v>
                </c:pt>
                <c:pt idx="685">
                  <c:v>44756</c:v>
                </c:pt>
                <c:pt idx="686">
                  <c:v>44755</c:v>
                </c:pt>
                <c:pt idx="687">
                  <c:v>44754</c:v>
                </c:pt>
                <c:pt idx="688">
                  <c:v>44753</c:v>
                </c:pt>
                <c:pt idx="689">
                  <c:v>44750</c:v>
                </c:pt>
                <c:pt idx="690">
                  <c:v>44749</c:v>
                </c:pt>
                <c:pt idx="691">
                  <c:v>44748</c:v>
                </c:pt>
                <c:pt idx="692">
                  <c:v>44747</c:v>
                </c:pt>
                <c:pt idx="693">
                  <c:v>44746</c:v>
                </c:pt>
                <c:pt idx="694">
                  <c:v>44743</c:v>
                </c:pt>
                <c:pt idx="695">
                  <c:v>44742</c:v>
                </c:pt>
                <c:pt idx="696">
                  <c:v>44741</c:v>
                </c:pt>
                <c:pt idx="697">
                  <c:v>44740</c:v>
                </c:pt>
                <c:pt idx="698">
                  <c:v>44739</c:v>
                </c:pt>
                <c:pt idx="699">
                  <c:v>44736</c:v>
                </c:pt>
                <c:pt idx="700">
                  <c:v>44735</c:v>
                </c:pt>
                <c:pt idx="701">
                  <c:v>44734</c:v>
                </c:pt>
                <c:pt idx="702">
                  <c:v>44733</c:v>
                </c:pt>
                <c:pt idx="703">
                  <c:v>44732</c:v>
                </c:pt>
                <c:pt idx="704">
                  <c:v>44729</c:v>
                </c:pt>
                <c:pt idx="705">
                  <c:v>44728</c:v>
                </c:pt>
                <c:pt idx="706">
                  <c:v>44727</c:v>
                </c:pt>
                <c:pt idx="707">
                  <c:v>44726</c:v>
                </c:pt>
                <c:pt idx="708">
                  <c:v>44725</c:v>
                </c:pt>
                <c:pt idx="709">
                  <c:v>44722</c:v>
                </c:pt>
                <c:pt idx="710">
                  <c:v>44721</c:v>
                </c:pt>
                <c:pt idx="711">
                  <c:v>44720</c:v>
                </c:pt>
                <c:pt idx="712">
                  <c:v>44719</c:v>
                </c:pt>
                <c:pt idx="713">
                  <c:v>44718</c:v>
                </c:pt>
                <c:pt idx="714">
                  <c:v>44713</c:v>
                </c:pt>
                <c:pt idx="715">
                  <c:v>44712</c:v>
                </c:pt>
                <c:pt idx="716">
                  <c:v>44711</c:v>
                </c:pt>
                <c:pt idx="717">
                  <c:v>44708</c:v>
                </c:pt>
                <c:pt idx="718">
                  <c:v>44707</c:v>
                </c:pt>
                <c:pt idx="719">
                  <c:v>44706</c:v>
                </c:pt>
                <c:pt idx="720">
                  <c:v>44705</c:v>
                </c:pt>
                <c:pt idx="721">
                  <c:v>44704</c:v>
                </c:pt>
                <c:pt idx="722">
                  <c:v>44701</c:v>
                </c:pt>
                <c:pt idx="723">
                  <c:v>44700</c:v>
                </c:pt>
                <c:pt idx="724">
                  <c:v>44699</c:v>
                </c:pt>
                <c:pt idx="725">
                  <c:v>44698</c:v>
                </c:pt>
                <c:pt idx="726">
                  <c:v>44697</c:v>
                </c:pt>
                <c:pt idx="727">
                  <c:v>44694</c:v>
                </c:pt>
                <c:pt idx="728">
                  <c:v>44693</c:v>
                </c:pt>
                <c:pt idx="729">
                  <c:v>44692</c:v>
                </c:pt>
                <c:pt idx="730">
                  <c:v>44691</c:v>
                </c:pt>
                <c:pt idx="731">
                  <c:v>44690</c:v>
                </c:pt>
                <c:pt idx="732">
                  <c:v>44687</c:v>
                </c:pt>
                <c:pt idx="733">
                  <c:v>44686</c:v>
                </c:pt>
                <c:pt idx="734">
                  <c:v>44685</c:v>
                </c:pt>
                <c:pt idx="735">
                  <c:v>44684</c:v>
                </c:pt>
                <c:pt idx="736">
                  <c:v>44680</c:v>
                </c:pt>
                <c:pt idx="737">
                  <c:v>44679</c:v>
                </c:pt>
                <c:pt idx="738">
                  <c:v>44678</c:v>
                </c:pt>
                <c:pt idx="739">
                  <c:v>44677</c:v>
                </c:pt>
                <c:pt idx="740">
                  <c:v>44676</c:v>
                </c:pt>
                <c:pt idx="741">
                  <c:v>44673</c:v>
                </c:pt>
                <c:pt idx="742">
                  <c:v>44672</c:v>
                </c:pt>
                <c:pt idx="743">
                  <c:v>44671</c:v>
                </c:pt>
                <c:pt idx="744">
                  <c:v>44670</c:v>
                </c:pt>
                <c:pt idx="745">
                  <c:v>44665</c:v>
                </c:pt>
                <c:pt idx="746">
                  <c:v>44664</c:v>
                </c:pt>
                <c:pt idx="747">
                  <c:v>44663</c:v>
                </c:pt>
                <c:pt idx="748">
                  <c:v>44662</c:v>
                </c:pt>
                <c:pt idx="749">
                  <c:v>44659</c:v>
                </c:pt>
                <c:pt idx="750">
                  <c:v>44658</c:v>
                </c:pt>
                <c:pt idx="751">
                  <c:v>44657</c:v>
                </c:pt>
                <c:pt idx="752">
                  <c:v>44656</c:v>
                </c:pt>
                <c:pt idx="753">
                  <c:v>44655</c:v>
                </c:pt>
                <c:pt idx="754">
                  <c:v>44652</c:v>
                </c:pt>
                <c:pt idx="755">
                  <c:v>44651</c:v>
                </c:pt>
                <c:pt idx="756">
                  <c:v>44650</c:v>
                </c:pt>
                <c:pt idx="757">
                  <c:v>44649</c:v>
                </c:pt>
                <c:pt idx="758">
                  <c:v>44648</c:v>
                </c:pt>
                <c:pt idx="759">
                  <c:v>44645</c:v>
                </c:pt>
                <c:pt idx="760">
                  <c:v>44644</c:v>
                </c:pt>
                <c:pt idx="761">
                  <c:v>44643</c:v>
                </c:pt>
                <c:pt idx="762">
                  <c:v>44642</c:v>
                </c:pt>
                <c:pt idx="763">
                  <c:v>44641</c:v>
                </c:pt>
                <c:pt idx="764">
                  <c:v>44638</c:v>
                </c:pt>
                <c:pt idx="765">
                  <c:v>44637</c:v>
                </c:pt>
                <c:pt idx="766">
                  <c:v>44636</c:v>
                </c:pt>
                <c:pt idx="767">
                  <c:v>44635</c:v>
                </c:pt>
                <c:pt idx="768">
                  <c:v>44634</c:v>
                </c:pt>
                <c:pt idx="769">
                  <c:v>44631</c:v>
                </c:pt>
                <c:pt idx="770">
                  <c:v>44630</c:v>
                </c:pt>
                <c:pt idx="771">
                  <c:v>44629</c:v>
                </c:pt>
                <c:pt idx="772">
                  <c:v>44628</c:v>
                </c:pt>
                <c:pt idx="773">
                  <c:v>44627</c:v>
                </c:pt>
                <c:pt idx="774">
                  <c:v>44624</c:v>
                </c:pt>
                <c:pt idx="775">
                  <c:v>44623</c:v>
                </c:pt>
                <c:pt idx="776">
                  <c:v>44622</c:v>
                </c:pt>
                <c:pt idx="777">
                  <c:v>44621</c:v>
                </c:pt>
                <c:pt idx="778">
                  <c:v>44620</c:v>
                </c:pt>
                <c:pt idx="779">
                  <c:v>44617</c:v>
                </c:pt>
                <c:pt idx="780">
                  <c:v>44616</c:v>
                </c:pt>
                <c:pt idx="781">
                  <c:v>44615</c:v>
                </c:pt>
                <c:pt idx="782">
                  <c:v>44614</c:v>
                </c:pt>
                <c:pt idx="783">
                  <c:v>44613</c:v>
                </c:pt>
                <c:pt idx="784">
                  <c:v>44610</c:v>
                </c:pt>
                <c:pt idx="785">
                  <c:v>44609</c:v>
                </c:pt>
                <c:pt idx="786">
                  <c:v>44608</c:v>
                </c:pt>
                <c:pt idx="787">
                  <c:v>44607</c:v>
                </c:pt>
                <c:pt idx="788">
                  <c:v>44606</c:v>
                </c:pt>
                <c:pt idx="789">
                  <c:v>44603</c:v>
                </c:pt>
                <c:pt idx="790">
                  <c:v>44602</c:v>
                </c:pt>
                <c:pt idx="791">
                  <c:v>44601</c:v>
                </c:pt>
                <c:pt idx="792">
                  <c:v>44600</c:v>
                </c:pt>
                <c:pt idx="793">
                  <c:v>44599</c:v>
                </c:pt>
                <c:pt idx="794">
                  <c:v>44596</c:v>
                </c:pt>
                <c:pt idx="795">
                  <c:v>44595</c:v>
                </c:pt>
                <c:pt idx="796">
                  <c:v>44594</c:v>
                </c:pt>
                <c:pt idx="797">
                  <c:v>44593</c:v>
                </c:pt>
                <c:pt idx="798">
                  <c:v>44592</c:v>
                </c:pt>
                <c:pt idx="799">
                  <c:v>44589</c:v>
                </c:pt>
                <c:pt idx="800">
                  <c:v>44588</c:v>
                </c:pt>
                <c:pt idx="801">
                  <c:v>44587</c:v>
                </c:pt>
                <c:pt idx="802">
                  <c:v>44586</c:v>
                </c:pt>
                <c:pt idx="803">
                  <c:v>44585</c:v>
                </c:pt>
                <c:pt idx="804">
                  <c:v>44582</c:v>
                </c:pt>
                <c:pt idx="805">
                  <c:v>44581</c:v>
                </c:pt>
                <c:pt idx="806">
                  <c:v>44580</c:v>
                </c:pt>
                <c:pt idx="807">
                  <c:v>44579</c:v>
                </c:pt>
                <c:pt idx="808">
                  <c:v>44578</c:v>
                </c:pt>
                <c:pt idx="809">
                  <c:v>44575</c:v>
                </c:pt>
                <c:pt idx="810">
                  <c:v>44574</c:v>
                </c:pt>
                <c:pt idx="811">
                  <c:v>44573</c:v>
                </c:pt>
                <c:pt idx="812">
                  <c:v>44572</c:v>
                </c:pt>
                <c:pt idx="813">
                  <c:v>44571</c:v>
                </c:pt>
                <c:pt idx="814">
                  <c:v>44568</c:v>
                </c:pt>
                <c:pt idx="815">
                  <c:v>44567</c:v>
                </c:pt>
                <c:pt idx="816">
                  <c:v>44566</c:v>
                </c:pt>
                <c:pt idx="817">
                  <c:v>44565</c:v>
                </c:pt>
                <c:pt idx="818">
                  <c:v>44561</c:v>
                </c:pt>
                <c:pt idx="819">
                  <c:v>44560</c:v>
                </c:pt>
                <c:pt idx="820">
                  <c:v>44559</c:v>
                </c:pt>
                <c:pt idx="821">
                  <c:v>44554</c:v>
                </c:pt>
                <c:pt idx="822">
                  <c:v>44553</c:v>
                </c:pt>
                <c:pt idx="823">
                  <c:v>44552</c:v>
                </c:pt>
                <c:pt idx="824">
                  <c:v>44551</c:v>
                </c:pt>
                <c:pt idx="825">
                  <c:v>44550</c:v>
                </c:pt>
                <c:pt idx="826">
                  <c:v>44547</c:v>
                </c:pt>
                <c:pt idx="827">
                  <c:v>44546</c:v>
                </c:pt>
                <c:pt idx="828">
                  <c:v>44545</c:v>
                </c:pt>
                <c:pt idx="829">
                  <c:v>44544</c:v>
                </c:pt>
                <c:pt idx="830">
                  <c:v>44543</c:v>
                </c:pt>
                <c:pt idx="831">
                  <c:v>44540</c:v>
                </c:pt>
                <c:pt idx="832">
                  <c:v>44539</c:v>
                </c:pt>
                <c:pt idx="833">
                  <c:v>44538</c:v>
                </c:pt>
                <c:pt idx="834">
                  <c:v>44537</c:v>
                </c:pt>
                <c:pt idx="835">
                  <c:v>44536</c:v>
                </c:pt>
                <c:pt idx="836">
                  <c:v>44533</c:v>
                </c:pt>
                <c:pt idx="837">
                  <c:v>44532</c:v>
                </c:pt>
                <c:pt idx="838">
                  <c:v>44531</c:v>
                </c:pt>
                <c:pt idx="839">
                  <c:v>44530</c:v>
                </c:pt>
                <c:pt idx="840">
                  <c:v>44529</c:v>
                </c:pt>
                <c:pt idx="841">
                  <c:v>44526</c:v>
                </c:pt>
                <c:pt idx="842">
                  <c:v>44525</c:v>
                </c:pt>
                <c:pt idx="843">
                  <c:v>44524</c:v>
                </c:pt>
                <c:pt idx="844">
                  <c:v>44523</c:v>
                </c:pt>
                <c:pt idx="845">
                  <c:v>44522</c:v>
                </c:pt>
                <c:pt idx="846">
                  <c:v>44519</c:v>
                </c:pt>
                <c:pt idx="847">
                  <c:v>44518</c:v>
                </c:pt>
                <c:pt idx="848">
                  <c:v>44517</c:v>
                </c:pt>
                <c:pt idx="849">
                  <c:v>44516</c:v>
                </c:pt>
                <c:pt idx="850">
                  <c:v>44515</c:v>
                </c:pt>
                <c:pt idx="851">
                  <c:v>44512</c:v>
                </c:pt>
                <c:pt idx="852">
                  <c:v>44511</c:v>
                </c:pt>
                <c:pt idx="853">
                  <c:v>44510</c:v>
                </c:pt>
                <c:pt idx="854">
                  <c:v>44509</c:v>
                </c:pt>
                <c:pt idx="855">
                  <c:v>44508</c:v>
                </c:pt>
                <c:pt idx="856">
                  <c:v>44505</c:v>
                </c:pt>
                <c:pt idx="857">
                  <c:v>44504</c:v>
                </c:pt>
                <c:pt idx="858">
                  <c:v>44503</c:v>
                </c:pt>
                <c:pt idx="859">
                  <c:v>44502</c:v>
                </c:pt>
                <c:pt idx="860">
                  <c:v>44501</c:v>
                </c:pt>
                <c:pt idx="861">
                  <c:v>44498</c:v>
                </c:pt>
                <c:pt idx="862">
                  <c:v>44497</c:v>
                </c:pt>
                <c:pt idx="863">
                  <c:v>44496</c:v>
                </c:pt>
                <c:pt idx="864">
                  <c:v>44495</c:v>
                </c:pt>
                <c:pt idx="865">
                  <c:v>44494</c:v>
                </c:pt>
                <c:pt idx="866">
                  <c:v>44491</c:v>
                </c:pt>
                <c:pt idx="867">
                  <c:v>44490</c:v>
                </c:pt>
                <c:pt idx="868">
                  <c:v>44489</c:v>
                </c:pt>
                <c:pt idx="869">
                  <c:v>44488</c:v>
                </c:pt>
                <c:pt idx="870">
                  <c:v>44487</c:v>
                </c:pt>
                <c:pt idx="871">
                  <c:v>44484</c:v>
                </c:pt>
                <c:pt idx="872">
                  <c:v>44483</c:v>
                </c:pt>
                <c:pt idx="873">
                  <c:v>44482</c:v>
                </c:pt>
                <c:pt idx="874">
                  <c:v>44481</c:v>
                </c:pt>
                <c:pt idx="875">
                  <c:v>44480</c:v>
                </c:pt>
                <c:pt idx="876">
                  <c:v>44477</c:v>
                </c:pt>
                <c:pt idx="877">
                  <c:v>44476</c:v>
                </c:pt>
                <c:pt idx="878">
                  <c:v>44475</c:v>
                </c:pt>
                <c:pt idx="879">
                  <c:v>44474</c:v>
                </c:pt>
                <c:pt idx="880">
                  <c:v>44473</c:v>
                </c:pt>
                <c:pt idx="881">
                  <c:v>44470</c:v>
                </c:pt>
                <c:pt idx="882">
                  <c:v>44469</c:v>
                </c:pt>
                <c:pt idx="883">
                  <c:v>44468</c:v>
                </c:pt>
                <c:pt idx="884">
                  <c:v>44467</c:v>
                </c:pt>
                <c:pt idx="885">
                  <c:v>44466</c:v>
                </c:pt>
                <c:pt idx="886">
                  <c:v>44463</c:v>
                </c:pt>
                <c:pt idx="887">
                  <c:v>44462</c:v>
                </c:pt>
                <c:pt idx="888">
                  <c:v>44461</c:v>
                </c:pt>
                <c:pt idx="889">
                  <c:v>44460</c:v>
                </c:pt>
                <c:pt idx="890">
                  <c:v>44459</c:v>
                </c:pt>
                <c:pt idx="891">
                  <c:v>44456</c:v>
                </c:pt>
                <c:pt idx="892">
                  <c:v>44455</c:v>
                </c:pt>
                <c:pt idx="893">
                  <c:v>44454</c:v>
                </c:pt>
                <c:pt idx="894">
                  <c:v>44453</c:v>
                </c:pt>
                <c:pt idx="895">
                  <c:v>44452</c:v>
                </c:pt>
                <c:pt idx="896">
                  <c:v>44449</c:v>
                </c:pt>
                <c:pt idx="897">
                  <c:v>44448</c:v>
                </c:pt>
                <c:pt idx="898">
                  <c:v>44447</c:v>
                </c:pt>
                <c:pt idx="899">
                  <c:v>44446</c:v>
                </c:pt>
                <c:pt idx="900">
                  <c:v>44445</c:v>
                </c:pt>
                <c:pt idx="901">
                  <c:v>44442</c:v>
                </c:pt>
                <c:pt idx="902">
                  <c:v>44441</c:v>
                </c:pt>
                <c:pt idx="903">
                  <c:v>44440</c:v>
                </c:pt>
                <c:pt idx="904">
                  <c:v>44439</c:v>
                </c:pt>
                <c:pt idx="905">
                  <c:v>44435</c:v>
                </c:pt>
                <c:pt idx="906">
                  <c:v>44434</c:v>
                </c:pt>
                <c:pt idx="907">
                  <c:v>44433</c:v>
                </c:pt>
                <c:pt idx="908">
                  <c:v>44432</c:v>
                </c:pt>
                <c:pt idx="909">
                  <c:v>44431</c:v>
                </c:pt>
                <c:pt idx="910">
                  <c:v>44428</c:v>
                </c:pt>
                <c:pt idx="911">
                  <c:v>44427</c:v>
                </c:pt>
                <c:pt idx="912">
                  <c:v>44426</c:v>
                </c:pt>
                <c:pt idx="913">
                  <c:v>44425</c:v>
                </c:pt>
                <c:pt idx="914">
                  <c:v>44424</c:v>
                </c:pt>
                <c:pt idx="915">
                  <c:v>44421</c:v>
                </c:pt>
                <c:pt idx="916">
                  <c:v>44420</c:v>
                </c:pt>
                <c:pt idx="917">
                  <c:v>44419</c:v>
                </c:pt>
                <c:pt idx="918">
                  <c:v>44418</c:v>
                </c:pt>
                <c:pt idx="919">
                  <c:v>44417</c:v>
                </c:pt>
                <c:pt idx="920">
                  <c:v>44414</c:v>
                </c:pt>
                <c:pt idx="921">
                  <c:v>44413</c:v>
                </c:pt>
                <c:pt idx="922">
                  <c:v>44412</c:v>
                </c:pt>
                <c:pt idx="923">
                  <c:v>44411</c:v>
                </c:pt>
                <c:pt idx="924">
                  <c:v>44410</c:v>
                </c:pt>
                <c:pt idx="925">
                  <c:v>44407</c:v>
                </c:pt>
                <c:pt idx="926">
                  <c:v>44406</c:v>
                </c:pt>
                <c:pt idx="927">
                  <c:v>44405</c:v>
                </c:pt>
                <c:pt idx="928">
                  <c:v>44404</c:v>
                </c:pt>
                <c:pt idx="929">
                  <c:v>44403</c:v>
                </c:pt>
                <c:pt idx="930">
                  <c:v>44400</c:v>
                </c:pt>
                <c:pt idx="931">
                  <c:v>44399</c:v>
                </c:pt>
                <c:pt idx="932">
                  <c:v>44398</c:v>
                </c:pt>
                <c:pt idx="933">
                  <c:v>44397</c:v>
                </c:pt>
                <c:pt idx="934">
                  <c:v>44396</c:v>
                </c:pt>
                <c:pt idx="935">
                  <c:v>44393</c:v>
                </c:pt>
                <c:pt idx="936">
                  <c:v>44392</c:v>
                </c:pt>
                <c:pt idx="937">
                  <c:v>44391</c:v>
                </c:pt>
                <c:pt idx="938">
                  <c:v>44390</c:v>
                </c:pt>
                <c:pt idx="939">
                  <c:v>44389</c:v>
                </c:pt>
                <c:pt idx="940">
                  <c:v>44386</c:v>
                </c:pt>
                <c:pt idx="941">
                  <c:v>44385</c:v>
                </c:pt>
                <c:pt idx="942">
                  <c:v>44384</c:v>
                </c:pt>
                <c:pt idx="943">
                  <c:v>44383</c:v>
                </c:pt>
                <c:pt idx="944">
                  <c:v>44382</c:v>
                </c:pt>
                <c:pt idx="945">
                  <c:v>44379</c:v>
                </c:pt>
                <c:pt idx="946">
                  <c:v>44378</c:v>
                </c:pt>
                <c:pt idx="947">
                  <c:v>44377</c:v>
                </c:pt>
                <c:pt idx="948">
                  <c:v>44376</c:v>
                </c:pt>
                <c:pt idx="949">
                  <c:v>44375</c:v>
                </c:pt>
                <c:pt idx="950">
                  <c:v>44372</c:v>
                </c:pt>
                <c:pt idx="951">
                  <c:v>44371</c:v>
                </c:pt>
                <c:pt idx="952">
                  <c:v>44370</c:v>
                </c:pt>
                <c:pt idx="953">
                  <c:v>44369</c:v>
                </c:pt>
                <c:pt idx="954">
                  <c:v>44368</c:v>
                </c:pt>
                <c:pt idx="955">
                  <c:v>44365</c:v>
                </c:pt>
                <c:pt idx="956">
                  <c:v>44364</c:v>
                </c:pt>
                <c:pt idx="957">
                  <c:v>44363</c:v>
                </c:pt>
                <c:pt idx="958">
                  <c:v>44362</c:v>
                </c:pt>
                <c:pt idx="959">
                  <c:v>44361</c:v>
                </c:pt>
                <c:pt idx="960">
                  <c:v>44358</c:v>
                </c:pt>
                <c:pt idx="961">
                  <c:v>44357</c:v>
                </c:pt>
                <c:pt idx="962">
                  <c:v>44356</c:v>
                </c:pt>
                <c:pt idx="963">
                  <c:v>44355</c:v>
                </c:pt>
                <c:pt idx="964">
                  <c:v>44354</c:v>
                </c:pt>
                <c:pt idx="965">
                  <c:v>44351</c:v>
                </c:pt>
                <c:pt idx="966">
                  <c:v>44350</c:v>
                </c:pt>
                <c:pt idx="967">
                  <c:v>44349</c:v>
                </c:pt>
                <c:pt idx="968">
                  <c:v>44348</c:v>
                </c:pt>
                <c:pt idx="969">
                  <c:v>44344</c:v>
                </c:pt>
                <c:pt idx="970">
                  <c:v>44343</c:v>
                </c:pt>
                <c:pt idx="971">
                  <c:v>44342</c:v>
                </c:pt>
                <c:pt idx="972">
                  <c:v>44341</c:v>
                </c:pt>
                <c:pt idx="973">
                  <c:v>44340</c:v>
                </c:pt>
                <c:pt idx="974">
                  <c:v>44337</c:v>
                </c:pt>
                <c:pt idx="975">
                  <c:v>44336</c:v>
                </c:pt>
                <c:pt idx="976">
                  <c:v>44335</c:v>
                </c:pt>
                <c:pt idx="977">
                  <c:v>44334</c:v>
                </c:pt>
                <c:pt idx="978">
                  <c:v>44333</c:v>
                </c:pt>
                <c:pt idx="979">
                  <c:v>44330</c:v>
                </c:pt>
                <c:pt idx="980">
                  <c:v>44329</c:v>
                </c:pt>
                <c:pt idx="981">
                  <c:v>44328</c:v>
                </c:pt>
                <c:pt idx="982">
                  <c:v>44327</c:v>
                </c:pt>
                <c:pt idx="983">
                  <c:v>44326</c:v>
                </c:pt>
                <c:pt idx="984">
                  <c:v>44323</c:v>
                </c:pt>
                <c:pt idx="985">
                  <c:v>44322</c:v>
                </c:pt>
                <c:pt idx="986">
                  <c:v>44321</c:v>
                </c:pt>
                <c:pt idx="987">
                  <c:v>44320</c:v>
                </c:pt>
                <c:pt idx="988">
                  <c:v>44316</c:v>
                </c:pt>
                <c:pt idx="989">
                  <c:v>44315</c:v>
                </c:pt>
                <c:pt idx="990">
                  <c:v>44314</c:v>
                </c:pt>
                <c:pt idx="991">
                  <c:v>44313</c:v>
                </c:pt>
                <c:pt idx="992">
                  <c:v>44312</c:v>
                </c:pt>
                <c:pt idx="993">
                  <c:v>44309</c:v>
                </c:pt>
                <c:pt idx="994">
                  <c:v>44308</c:v>
                </c:pt>
                <c:pt idx="995">
                  <c:v>44307</c:v>
                </c:pt>
                <c:pt idx="996">
                  <c:v>44306</c:v>
                </c:pt>
                <c:pt idx="997">
                  <c:v>44305</c:v>
                </c:pt>
                <c:pt idx="998">
                  <c:v>44302</c:v>
                </c:pt>
                <c:pt idx="999">
                  <c:v>44301</c:v>
                </c:pt>
                <c:pt idx="1000">
                  <c:v>44300</c:v>
                </c:pt>
                <c:pt idx="1001">
                  <c:v>44299</c:v>
                </c:pt>
                <c:pt idx="1002">
                  <c:v>44298</c:v>
                </c:pt>
                <c:pt idx="1003">
                  <c:v>44295</c:v>
                </c:pt>
                <c:pt idx="1004">
                  <c:v>44294</c:v>
                </c:pt>
                <c:pt idx="1005">
                  <c:v>44293</c:v>
                </c:pt>
                <c:pt idx="1006">
                  <c:v>44292</c:v>
                </c:pt>
                <c:pt idx="1007">
                  <c:v>44287</c:v>
                </c:pt>
                <c:pt idx="1008">
                  <c:v>44286</c:v>
                </c:pt>
                <c:pt idx="1009">
                  <c:v>44285</c:v>
                </c:pt>
                <c:pt idx="1010">
                  <c:v>44284</c:v>
                </c:pt>
                <c:pt idx="1011">
                  <c:v>44281</c:v>
                </c:pt>
                <c:pt idx="1012">
                  <c:v>44280</c:v>
                </c:pt>
                <c:pt idx="1013">
                  <c:v>44279</c:v>
                </c:pt>
                <c:pt idx="1014">
                  <c:v>44278</c:v>
                </c:pt>
                <c:pt idx="1015">
                  <c:v>44277</c:v>
                </c:pt>
                <c:pt idx="1016">
                  <c:v>44274</c:v>
                </c:pt>
                <c:pt idx="1017">
                  <c:v>44273</c:v>
                </c:pt>
                <c:pt idx="1018">
                  <c:v>44272</c:v>
                </c:pt>
                <c:pt idx="1019">
                  <c:v>44271</c:v>
                </c:pt>
                <c:pt idx="1020">
                  <c:v>44270</c:v>
                </c:pt>
                <c:pt idx="1021">
                  <c:v>44267</c:v>
                </c:pt>
                <c:pt idx="1022">
                  <c:v>44266</c:v>
                </c:pt>
                <c:pt idx="1023">
                  <c:v>44265</c:v>
                </c:pt>
                <c:pt idx="1024">
                  <c:v>44264</c:v>
                </c:pt>
                <c:pt idx="1025">
                  <c:v>44263</c:v>
                </c:pt>
                <c:pt idx="1026">
                  <c:v>44260</c:v>
                </c:pt>
                <c:pt idx="1027">
                  <c:v>44259</c:v>
                </c:pt>
                <c:pt idx="1028">
                  <c:v>44258</c:v>
                </c:pt>
                <c:pt idx="1029">
                  <c:v>44257</c:v>
                </c:pt>
                <c:pt idx="1030">
                  <c:v>44256</c:v>
                </c:pt>
                <c:pt idx="1031">
                  <c:v>44253</c:v>
                </c:pt>
                <c:pt idx="1032">
                  <c:v>44252</c:v>
                </c:pt>
                <c:pt idx="1033">
                  <c:v>44251</c:v>
                </c:pt>
                <c:pt idx="1034">
                  <c:v>44250</c:v>
                </c:pt>
                <c:pt idx="1035">
                  <c:v>44249</c:v>
                </c:pt>
                <c:pt idx="1036">
                  <c:v>44246</c:v>
                </c:pt>
                <c:pt idx="1037">
                  <c:v>44245</c:v>
                </c:pt>
                <c:pt idx="1038">
                  <c:v>44244</c:v>
                </c:pt>
                <c:pt idx="1039">
                  <c:v>44243</c:v>
                </c:pt>
                <c:pt idx="1040">
                  <c:v>44242</c:v>
                </c:pt>
                <c:pt idx="1041">
                  <c:v>44239</c:v>
                </c:pt>
                <c:pt idx="1042">
                  <c:v>44238</c:v>
                </c:pt>
                <c:pt idx="1043">
                  <c:v>44237</c:v>
                </c:pt>
                <c:pt idx="1044">
                  <c:v>44236</c:v>
                </c:pt>
                <c:pt idx="1045">
                  <c:v>44235</c:v>
                </c:pt>
                <c:pt idx="1046">
                  <c:v>44232</c:v>
                </c:pt>
                <c:pt idx="1047">
                  <c:v>44231</c:v>
                </c:pt>
                <c:pt idx="1048">
                  <c:v>44230</c:v>
                </c:pt>
                <c:pt idx="1049">
                  <c:v>44229</c:v>
                </c:pt>
                <c:pt idx="1050">
                  <c:v>44228</c:v>
                </c:pt>
                <c:pt idx="1051">
                  <c:v>44225</c:v>
                </c:pt>
                <c:pt idx="1052">
                  <c:v>44224</c:v>
                </c:pt>
                <c:pt idx="1053">
                  <c:v>44223</c:v>
                </c:pt>
                <c:pt idx="1054">
                  <c:v>44222</c:v>
                </c:pt>
                <c:pt idx="1055">
                  <c:v>44221</c:v>
                </c:pt>
                <c:pt idx="1056">
                  <c:v>44218</c:v>
                </c:pt>
                <c:pt idx="1057">
                  <c:v>44217</c:v>
                </c:pt>
                <c:pt idx="1058">
                  <c:v>44216</c:v>
                </c:pt>
                <c:pt idx="1059">
                  <c:v>44215</c:v>
                </c:pt>
                <c:pt idx="1060">
                  <c:v>44214</c:v>
                </c:pt>
                <c:pt idx="1061">
                  <c:v>44211</c:v>
                </c:pt>
                <c:pt idx="1062">
                  <c:v>44210</c:v>
                </c:pt>
                <c:pt idx="1063">
                  <c:v>44209</c:v>
                </c:pt>
                <c:pt idx="1064">
                  <c:v>44208</c:v>
                </c:pt>
                <c:pt idx="1065">
                  <c:v>44207</c:v>
                </c:pt>
                <c:pt idx="1066">
                  <c:v>44204</c:v>
                </c:pt>
                <c:pt idx="1067">
                  <c:v>44203</c:v>
                </c:pt>
                <c:pt idx="1068">
                  <c:v>44202</c:v>
                </c:pt>
                <c:pt idx="1069">
                  <c:v>44201</c:v>
                </c:pt>
                <c:pt idx="1070">
                  <c:v>44200</c:v>
                </c:pt>
                <c:pt idx="1071">
                  <c:v>44196</c:v>
                </c:pt>
                <c:pt idx="1072">
                  <c:v>44195</c:v>
                </c:pt>
                <c:pt idx="1073">
                  <c:v>44194</c:v>
                </c:pt>
                <c:pt idx="1074">
                  <c:v>44189</c:v>
                </c:pt>
                <c:pt idx="1075">
                  <c:v>44188</c:v>
                </c:pt>
                <c:pt idx="1076">
                  <c:v>44187</c:v>
                </c:pt>
                <c:pt idx="1077">
                  <c:v>44186</c:v>
                </c:pt>
                <c:pt idx="1078">
                  <c:v>44183</c:v>
                </c:pt>
                <c:pt idx="1079">
                  <c:v>44182</c:v>
                </c:pt>
                <c:pt idx="1080">
                  <c:v>44181</c:v>
                </c:pt>
                <c:pt idx="1081">
                  <c:v>44180</c:v>
                </c:pt>
                <c:pt idx="1082">
                  <c:v>44179</c:v>
                </c:pt>
                <c:pt idx="1083">
                  <c:v>44176</c:v>
                </c:pt>
                <c:pt idx="1084">
                  <c:v>44175</c:v>
                </c:pt>
                <c:pt idx="1085">
                  <c:v>44174</c:v>
                </c:pt>
                <c:pt idx="1086">
                  <c:v>44173</c:v>
                </c:pt>
                <c:pt idx="1087">
                  <c:v>44172</c:v>
                </c:pt>
                <c:pt idx="1088">
                  <c:v>44169</c:v>
                </c:pt>
                <c:pt idx="1089">
                  <c:v>44168</c:v>
                </c:pt>
                <c:pt idx="1090">
                  <c:v>44167</c:v>
                </c:pt>
                <c:pt idx="1091">
                  <c:v>44166</c:v>
                </c:pt>
                <c:pt idx="1092">
                  <c:v>44165</c:v>
                </c:pt>
                <c:pt idx="1093">
                  <c:v>44162</c:v>
                </c:pt>
                <c:pt idx="1094">
                  <c:v>44161</c:v>
                </c:pt>
                <c:pt idx="1095">
                  <c:v>44160</c:v>
                </c:pt>
                <c:pt idx="1096">
                  <c:v>44159</c:v>
                </c:pt>
                <c:pt idx="1097">
                  <c:v>44158</c:v>
                </c:pt>
                <c:pt idx="1098">
                  <c:v>44155</c:v>
                </c:pt>
                <c:pt idx="1099">
                  <c:v>44154</c:v>
                </c:pt>
                <c:pt idx="1100">
                  <c:v>44153</c:v>
                </c:pt>
                <c:pt idx="1101">
                  <c:v>44152</c:v>
                </c:pt>
                <c:pt idx="1102">
                  <c:v>44151</c:v>
                </c:pt>
                <c:pt idx="1103">
                  <c:v>44148</c:v>
                </c:pt>
                <c:pt idx="1104">
                  <c:v>44147</c:v>
                </c:pt>
                <c:pt idx="1105">
                  <c:v>44146</c:v>
                </c:pt>
                <c:pt idx="1106">
                  <c:v>44145</c:v>
                </c:pt>
                <c:pt idx="1107">
                  <c:v>44144</c:v>
                </c:pt>
                <c:pt idx="1108">
                  <c:v>44141</c:v>
                </c:pt>
                <c:pt idx="1109">
                  <c:v>44140</c:v>
                </c:pt>
                <c:pt idx="1110">
                  <c:v>44139</c:v>
                </c:pt>
                <c:pt idx="1111">
                  <c:v>44138</c:v>
                </c:pt>
                <c:pt idx="1112">
                  <c:v>44137</c:v>
                </c:pt>
                <c:pt idx="1113">
                  <c:v>44134</c:v>
                </c:pt>
                <c:pt idx="1114">
                  <c:v>44133</c:v>
                </c:pt>
                <c:pt idx="1115">
                  <c:v>44132</c:v>
                </c:pt>
                <c:pt idx="1116">
                  <c:v>44131</c:v>
                </c:pt>
                <c:pt idx="1117">
                  <c:v>44130</c:v>
                </c:pt>
                <c:pt idx="1118">
                  <c:v>44127</c:v>
                </c:pt>
                <c:pt idx="1119">
                  <c:v>44126</c:v>
                </c:pt>
                <c:pt idx="1120">
                  <c:v>44125</c:v>
                </c:pt>
                <c:pt idx="1121">
                  <c:v>44124</c:v>
                </c:pt>
                <c:pt idx="1122">
                  <c:v>44123</c:v>
                </c:pt>
                <c:pt idx="1123">
                  <c:v>44120</c:v>
                </c:pt>
                <c:pt idx="1124">
                  <c:v>44119</c:v>
                </c:pt>
                <c:pt idx="1125">
                  <c:v>44118</c:v>
                </c:pt>
                <c:pt idx="1126">
                  <c:v>44117</c:v>
                </c:pt>
                <c:pt idx="1127">
                  <c:v>44116</c:v>
                </c:pt>
                <c:pt idx="1128">
                  <c:v>44113</c:v>
                </c:pt>
                <c:pt idx="1129">
                  <c:v>44112</c:v>
                </c:pt>
                <c:pt idx="1130">
                  <c:v>44111</c:v>
                </c:pt>
                <c:pt idx="1131">
                  <c:v>44110</c:v>
                </c:pt>
                <c:pt idx="1132">
                  <c:v>44109</c:v>
                </c:pt>
                <c:pt idx="1133">
                  <c:v>44106</c:v>
                </c:pt>
                <c:pt idx="1134">
                  <c:v>44105</c:v>
                </c:pt>
                <c:pt idx="1135">
                  <c:v>44104</c:v>
                </c:pt>
                <c:pt idx="1136">
                  <c:v>44103</c:v>
                </c:pt>
                <c:pt idx="1137">
                  <c:v>44102</c:v>
                </c:pt>
                <c:pt idx="1138">
                  <c:v>44099</c:v>
                </c:pt>
                <c:pt idx="1139">
                  <c:v>44098</c:v>
                </c:pt>
                <c:pt idx="1140">
                  <c:v>44097</c:v>
                </c:pt>
                <c:pt idx="1141">
                  <c:v>44096</c:v>
                </c:pt>
                <c:pt idx="1142">
                  <c:v>44095</c:v>
                </c:pt>
                <c:pt idx="1143">
                  <c:v>44092</c:v>
                </c:pt>
                <c:pt idx="1144">
                  <c:v>44091</c:v>
                </c:pt>
                <c:pt idx="1145">
                  <c:v>44090</c:v>
                </c:pt>
                <c:pt idx="1146">
                  <c:v>44089</c:v>
                </c:pt>
                <c:pt idx="1147">
                  <c:v>44088</c:v>
                </c:pt>
                <c:pt idx="1148">
                  <c:v>44085</c:v>
                </c:pt>
                <c:pt idx="1149">
                  <c:v>44084</c:v>
                </c:pt>
                <c:pt idx="1150">
                  <c:v>44083</c:v>
                </c:pt>
                <c:pt idx="1151">
                  <c:v>44082</c:v>
                </c:pt>
                <c:pt idx="1152">
                  <c:v>44081</c:v>
                </c:pt>
                <c:pt idx="1153">
                  <c:v>44078</c:v>
                </c:pt>
                <c:pt idx="1154">
                  <c:v>44077</c:v>
                </c:pt>
                <c:pt idx="1155">
                  <c:v>44076</c:v>
                </c:pt>
                <c:pt idx="1156">
                  <c:v>44075</c:v>
                </c:pt>
                <c:pt idx="1157">
                  <c:v>44071</c:v>
                </c:pt>
                <c:pt idx="1158">
                  <c:v>44070</c:v>
                </c:pt>
                <c:pt idx="1159">
                  <c:v>44069</c:v>
                </c:pt>
                <c:pt idx="1160">
                  <c:v>44068</c:v>
                </c:pt>
                <c:pt idx="1161">
                  <c:v>44067</c:v>
                </c:pt>
                <c:pt idx="1162">
                  <c:v>44064</c:v>
                </c:pt>
                <c:pt idx="1163">
                  <c:v>44063</c:v>
                </c:pt>
                <c:pt idx="1164">
                  <c:v>44062</c:v>
                </c:pt>
                <c:pt idx="1165">
                  <c:v>44061</c:v>
                </c:pt>
                <c:pt idx="1166">
                  <c:v>44060</c:v>
                </c:pt>
                <c:pt idx="1167">
                  <c:v>44057</c:v>
                </c:pt>
                <c:pt idx="1168">
                  <c:v>44056</c:v>
                </c:pt>
                <c:pt idx="1169">
                  <c:v>44055</c:v>
                </c:pt>
                <c:pt idx="1170">
                  <c:v>44054</c:v>
                </c:pt>
                <c:pt idx="1171">
                  <c:v>44053</c:v>
                </c:pt>
                <c:pt idx="1172">
                  <c:v>44050</c:v>
                </c:pt>
                <c:pt idx="1173">
                  <c:v>44049</c:v>
                </c:pt>
                <c:pt idx="1174">
                  <c:v>44048</c:v>
                </c:pt>
                <c:pt idx="1175">
                  <c:v>44047</c:v>
                </c:pt>
                <c:pt idx="1176">
                  <c:v>44046</c:v>
                </c:pt>
                <c:pt idx="1177">
                  <c:v>44043</c:v>
                </c:pt>
                <c:pt idx="1178">
                  <c:v>44042</c:v>
                </c:pt>
                <c:pt idx="1179">
                  <c:v>44041</c:v>
                </c:pt>
                <c:pt idx="1180">
                  <c:v>44040</c:v>
                </c:pt>
                <c:pt idx="1181">
                  <c:v>44039</c:v>
                </c:pt>
                <c:pt idx="1182">
                  <c:v>44036</c:v>
                </c:pt>
                <c:pt idx="1183">
                  <c:v>44035</c:v>
                </c:pt>
                <c:pt idx="1184">
                  <c:v>44034</c:v>
                </c:pt>
                <c:pt idx="1185">
                  <c:v>44033</c:v>
                </c:pt>
                <c:pt idx="1186">
                  <c:v>44032</c:v>
                </c:pt>
                <c:pt idx="1187">
                  <c:v>44029</c:v>
                </c:pt>
                <c:pt idx="1188">
                  <c:v>44028</c:v>
                </c:pt>
                <c:pt idx="1189">
                  <c:v>44027</c:v>
                </c:pt>
                <c:pt idx="1190">
                  <c:v>44026</c:v>
                </c:pt>
                <c:pt idx="1191">
                  <c:v>44025</c:v>
                </c:pt>
                <c:pt idx="1192">
                  <c:v>44022</c:v>
                </c:pt>
                <c:pt idx="1193">
                  <c:v>44021</c:v>
                </c:pt>
                <c:pt idx="1194">
                  <c:v>44020</c:v>
                </c:pt>
                <c:pt idx="1195">
                  <c:v>44019</c:v>
                </c:pt>
                <c:pt idx="1196">
                  <c:v>44018</c:v>
                </c:pt>
                <c:pt idx="1197">
                  <c:v>44015</c:v>
                </c:pt>
                <c:pt idx="1198">
                  <c:v>44014</c:v>
                </c:pt>
                <c:pt idx="1199">
                  <c:v>44013</c:v>
                </c:pt>
                <c:pt idx="1200">
                  <c:v>44012</c:v>
                </c:pt>
                <c:pt idx="1201">
                  <c:v>44011</c:v>
                </c:pt>
                <c:pt idx="1202">
                  <c:v>44008</c:v>
                </c:pt>
                <c:pt idx="1203">
                  <c:v>44007</c:v>
                </c:pt>
                <c:pt idx="1204">
                  <c:v>44006</c:v>
                </c:pt>
                <c:pt idx="1205">
                  <c:v>44005</c:v>
                </c:pt>
                <c:pt idx="1206">
                  <c:v>44004</c:v>
                </c:pt>
                <c:pt idx="1207">
                  <c:v>44001</c:v>
                </c:pt>
                <c:pt idx="1208">
                  <c:v>44000</c:v>
                </c:pt>
                <c:pt idx="1209">
                  <c:v>43999</c:v>
                </c:pt>
                <c:pt idx="1210">
                  <c:v>43998</c:v>
                </c:pt>
                <c:pt idx="1211">
                  <c:v>43997</c:v>
                </c:pt>
                <c:pt idx="1212">
                  <c:v>43994</c:v>
                </c:pt>
                <c:pt idx="1213">
                  <c:v>43993</c:v>
                </c:pt>
                <c:pt idx="1214">
                  <c:v>43992</c:v>
                </c:pt>
                <c:pt idx="1215">
                  <c:v>43991</c:v>
                </c:pt>
                <c:pt idx="1216">
                  <c:v>43990</c:v>
                </c:pt>
                <c:pt idx="1217">
                  <c:v>43987</c:v>
                </c:pt>
                <c:pt idx="1218">
                  <c:v>43986</c:v>
                </c:pt>
                <c:pt idx="1219">
                  <c:v>43985</c:v>
                </c:pt>
                <c:pt idx="1220">
                  <c:v>43984</c:v>
                </c:pt>
                <c:pt idx="1221">
                  <c:v>43983</c:v>
                </c:pt>
                <c:pt idx="1222">
                  <c:v>43980</c:v>
                </c:pt>
                <c:pt idx="1223">
                  <c:v>43979</c:v>
                </c:pt>
                <c:pt idx="1224">
                  <c:v>43978</c:v>
                </c:pt>
                <c:pt idx="1225">
                  <c:v>43977</c:v>
                </c:pt>
                <c:pt idx="1226">
                  <c:v>43973</c:v>
                </c:pt>
                <c:pt idx="1227">
                  <c:v>43972</c:v>
                </c:pt>
                <c:pt idx="1228">
                  <c:v>43971</c:v>
                </c:pt>
                <c:pt idx="1229">
                  <c:v>43970</c:v>
                </c:pt>
                <c:pt idx="1230">
                  <c:v>43969</c:v>
                </c:pt>
                <c:pt idx="1231">
                  <c:v>43966</c:v>
                </c:pt>
                <c:pt idx="1232">
                  <c:v>43965</c:v>
                </c:pt>
                <c:pt idx="1233">
                  <c:v>43964</c:v>
                </c:pt>
                <c:pt idx="1234">
                  <c:v>43963</c:v>
                </c:pt>
                <c:pt idx="1235">
                  <c:v>43962</c:v>
                </c:pt>
                <c:pt idx="1236">
                  <c:v>43958</c:v>
                </c:pt>
                <c:pt idx="1237">
                  <c:v>43957</c:v>
                </c:pt>
                <c:pt idx="1238">
                  <c:v>43956</c:v>
                </c:pt>
                <c:pt idx="1239">
                  <c:v>43955</c:v>
                </c:pt>
                <c:pt idx="1240">
                  <c:v>43952</c:v>
                </c:pt>
                <c:pt idx="1241">
                  <c:v>43951</c:v>
                </c:pt>
                <c:pt idx="1242">
                  <c:v>43950</c:v>
                </c:pt>
                <c:pt idx="1243">
                  <c:v>43949</c:v>
                </c:pt>
                <c:pt idx="1244">
                  <c:v>43948</c:v>
                </c:pt>
                <c:pt idx="1245">
                  <c:v>43945</c:v>
                </c:pt>
                <c:pt idx="1246">
                  <c:v>43944</c:v>
                </c:pt>
                <c:pt idx="1247">
                  <c:v>43943</c:v>
                </c:pt>
                <c:pt idx="1248">
                  <c:v>43942</c:v>
                </c:pt>
                <c:pt idx="1249">
                  <c:v>43941</c:v>
                </c:pt>
                <c:pt idx="1250">
                  <c:v>43938</c:v>
                </c:pt>
                <c:pt idx="1251">
                  <c:v>43937</c:v>
                </c:pt>
                <c:pt idx="1252">
                  <c:v>43936</c:v>
                </c:pt>
                <c:pt idx="1253">
                  <c:v>43935</c:v>
                </c:pt>
                <c:pt idx="1254">
                  <c:v>43930</c:v>
                </c:pt>
                <c:pt idx="1255">
                  <c:v>43929</c:v>
                </c:pt>
                <c:pt idx="1256">
                  <c:v>43928</c:v>
                </c:pt>
                <c:pt idx="1257">
                  <c:v>43927</c:v>
                </c:pt>
                <c:pt idx="1258">
                  <c:v>43924</c:v>
                </c:pt>
                <c:pt idx="1259">
                  <c:v>43923</c:v>
                </c:pt>
                <c:pt idx="1260">
                  <c:v>43922</c:v>
                </c:pt>
                <c:pt idx="1261">
                  <c:v>43921</c:v>
                </c:pt>
                <c:pt idx="1262">
                  <c:v>43920</c:v>
                </c:pt>
                <c:pt idx="1263">
                  <c:v>43917</c:v>
                </c:pt>
                <c:pt idx="1264">
                  <c:v>43916</c:v>
                </c:pt>
                <c:pt idx="1265">
                  <c:v>43915</c:v>
                </c:pt>
                <c:pt idx="1266">
                  <c:v>43914</c:v>
                </c:pt>
                <c:pt idx="1267">
                  <c:v>43913</c:v>
                </c:pt>
                <c:pt idx="1268">
                  <c:v>43910</c:v>
                </c:pt>
                <c:pt idx="1269">
                  <c:v>43909</c:v>
                </c:pt>
                <c:pt idx="1270">
                  <c:v>43908</c:v>
                </c:pt>
                <c:pt idx="1271">
                  <c:v>43907</c:v>
                </c:pt>
                <c:pt idx="1272">
                  <c:v>43906</c:v>
                </c:pt>
                <c:pt idx="1273">
                  <c:v>43903</c:v>
                </c:pt>
                <c:pt idx="1274">
                  <c:v>43902</c:v>
                </c:pt>
                <c:pt idx="1275">
                  <c:v>43901</c:v>
                </c:pt>
                <c:pt idx="1276">
                  <c:v>43900</c:v>
                </c:pt>
                <c:pt idx="1277">
                  <c:v>43899</c:v>
                </c:pt>
                <c:pt idx="1278">
                  <c:v>43896</c:v>
                </c:pt>
                <c:pt idx="1279">
                  <c:v>43895</c:v>
                </c:pt>
                <c:pt idx="1280">
                  <c:v>43894</c:v>
                </c:pt>
                <c:pt idx="1281">
                  <c:v>43893</c:v>
                </c:pt>
                <c:pt idx="1282">
                  <c:v>43892</c:v>
                </c:pt>
                <c:pt idx="1283">
                  <c:v>43889</c:v>
                </c:pt>
                <c:pt idx="1284">
                  <c:v>43888</c:v>
                </c:pt>
                <c:pt idx="1285">
                  <c:v>43887</c:v>
                </c:pt>
                <c:pt idx="1286">
                  <c:v>43886</c:v>
                </c:pt>
                <c:pt idx="1287">
                  <c:v>43885</c:v>
                </c:pt>
                <c:pt idx="1288">
                  <c:v>43882</c:v>
                </c:pt>
                <c:pt idx="1289">
                  <c:v>43881</c:v>
                </c:pt>
                <c:pt idx="1290">
                  <c:v>43880</c:v>
                </c:pt>
                <c:pt idx="1291">
                  <c:v>43879</c:v>
                </c:pt>
                <c:pt idx="1292">
                  <c:v>43878</c:v>
                </c:pt>
                <c:pt idx="1293">
                  <c:v>43875</c:v>
                </c:pt>
                <c:pt idx="1294">
                  <c:v>43874</c:v>
                </c:pt>
                <c:pt idx="1295">
                  <c:v>43873</c:v>
                </c:pt>
                <c:pt idx="1296">
                  <c:v>43872</c:v>
                </c:pt>
                <c:pt idx="1297">
                  <c:v>43871</c:v>
                </c:pt>
                <c:pt idx="1298">
                  <c:v>43868</c:v>
                </c:pt>
                <c:pt idx="1299">
                  <c:v>43867</c:v>
                </c:pt>
                <c:pt idx="1300">
                  <c:v>43866</c:v>
                </c:pt>
                <c:pt idx="1301">
                  <c:v>43865</c:v>
                </c:pt>
                <c:pt idx="1302">
                  <c:v>43864</c:v>
                </c:pt>
                <c:pt idx="1303">
                  <c:v>43861</c:v>
                </c:pt>
                <c:pt idx="1304">
                  <c:v>43860</c:v>
                </c:pt>
                <c:pt idx="1305">
                  <c:v>43859</c:v>
                </c:pt>
                <c:pt idx="1306">
                  <c:v>43858</c:v>
                </c:pt>
                <c:pt idx="1307">
                  <c:v>43857</c:v>
                </c:pt>
                <c:pt idx="1308">
                  <c:v>43854</c:v>
                </c:pt>
                <c:pt idx="1309">
                  <c:v>43853</c:v>
                </c:pt>
                <c:pt idx="1310">
                  <c:v>43852</c:v>
                </c:pt>
                <c:pt idx="1311">
                  <c:v>43851</c:v>
                </c:pt>
                <c:pt idx="1312">
                  <c:v>43850</c:v>
                </c:pt>
                <c:pt idx="1313">
                  <c:v>43847</c:v>
                </c:pt>
                <c:pt idx="1314">
                  <c:v>43846</c:v>
                </c:pt>
                <c:pt idx="1315">
                  <c:v>43845</c:v>
                </c:pt>
                <c:pt idx="1316">
                  <c:v>43844</c:v>
                </c:pt>
                <c:pt idx="1317">
                  <c:v>43843</c:v>
                </c:pt>
                <c:pt idx="1318">
                  <c:v>43840</c:v>
                </c:pt>
                <c:pt idx="1319">
                  <c:v>43839</c:v>
                </c:pt>
                <c:pt idx="1320">
                  <c:v>43838</c:v>
                </c:pt>
                <c:pt idx="1321">
                  <c:v>43837</c:v>
                </c:pt>
                <c:pt idx="1322">
                  <c:v>43836</c:v>
                </c:pt>
                <c:pt idx="1323">
                  <c:v>43833</c:v>
                </c:pt>
                <c:pt idx="1324">
                  <c:v>43832</c:v>
                </c:pt>
                <c:pt idx="1325">
                  <c:v>43830</c:v>
                </c:pt>
                <c:pt idx="1326">
                  <c:v>43829</c:v>
                </c:pt>
                <c:pt idx="1327">
                  <c:v>43826</c:v>
                </c:pt>
                <c:pt idx="1328">
                  <c:v>43823</c:v>
                </c:pt>
                <c:pt idx="1329">
                  <c:v>43822</c:v>
                </c:pt>
                <c:pt idx="1330">
                  <c:v>43819</c:v>
                </c:pt>
                <c:pt idx="1331">
                  <c:v>43818</c:v>
                </c:pt>
                <c:pt idx="1332">
                  <c:v>43817</c:v>
                </c:pt>
                <c:pt idx="1333">
                  <c:v>43816</c:v>
                </c:pt>
                <c:pt idx="1334">
                  <c:v>43815</c:v>
                </c:pt>
                <c:pt idx="1335">
                  <c:v>43812</c:v>
                </c:pt>
                <c:pt idx="1336">
                  <c:v>43811</c:v>
                </c:pt>
                <c:pt idx="1337">
                  <c:v>43810</c:v>
                </c:pt>
                <c:pt idx="1338">
                  <c:v>43809</c:v>
                </c:pt>
                <c:pt idx="1339">
                  <c:v>43808</c:v>
                </c:pt>
                <c:pt idx="1340">
                  <c:v>43805</c:v>
                </c:pt>
                <c:pt idx="1341">
                  <c:v>43804</c:v>
                </c:pt>
                <c:pt idx="1342">
                  <c:v>43803</c:v>
                </c:pt>
                <c:pt idx="1343">
                  <c:v>43802</c:v>
                </c:pt>
                <c:pt idx="1344">
                  <c:v>43801</c:v>
                </c:pt>
                <c:pt idx="1345">
                  <c:v>43798</c:v>
                </c:pt>
                <c:pt idx="1346">
                  <c:v>43797</c:v>
                </c:pt>
                <c:pt idx="1347">
                  <c:v>43796</c:v>
                </c:pt>
                <c:pt idx="1348">
                  <c:v>43795</c:v>
                </c:pt>
                <c:pt idx="1349">
                  <c:v>43794</c:v>
                </c:pt>
                <c:pt idx="1350">
                  <c:v>43791</c:v>
                </c:pt>
                <c:pt idx="1351">
                  <c:v>43790</c:v>
                </c:pt>
                <c:pt idx="1352">
                  <c:v>43789</c:v>
                </c:pt>
                <c:pt idx="1353">
                  <c:v>43788</c:v>
                </c:pt>
                <c:pt idx="1354">
                  <c:v>43787</c:v>
                </c:pt>
                <c:pt idx="1355">
                  <c:v>43784</c:v>
                </c:pt>
                <c:pt idx="1356">
                  <c:v>43783</c:v>
                </c:pt>
                <c:pt idx="1357">
                  <c:v>43782</c:v>
                </c:pt>
                <c:pt idx="1358">
                  <c:v>43781</c:v>
                </c:pt>
                <c:pt idx="1359">
                  <c:v>43780</c:v>
                </c:pt>
                <c:pt idx="1360">
                  <c:v>43777</c:v>
                </c:pt>
                <c:pt idx="1361">
                  <c:v>43776</c:v>
                </c:pt>
                <c:pt idx="1362">
                  <c:v>43775</c:v>
                </c:pt>
                <c:pt idx="1363">
                  <c:v>43774</c:v>
                </c:pt>
                <c:pt idx="1364">
                  <c:v>43773</c:v>
                </c:pt>
                <c:pt idx="1365">
                  <c:v>43770</c:v>
                </c:pt>
                <c:pt idx="1366">
                  <c:v>43769</c:v>
                </c:pt>
                <c:pt idx="1367">
                  <c:v>43768</c:v>
                </c:pt>
                <c:pt idx="1368">
                  <c:v>43767</c:v>
                </c:pt>
                <c:pt idx="1369">
                  <c:v>43766</c:v>
                </c:pt>
                <c:pt idx="1370">
                  <c:v>43763</c:v>
                </c:pt>
                <c:pt idx="1371">
                  <c:v>43762</c:v>
                </c:pt>
                <c:pt idx="1372">
                  <c:v>43761</c:v>
                </c:pt>
                <c:pt idx="1373">
                  <c:v>43760</c:v>
                </c:pt>
                <c:pt idx="1374">
                  <c:v>43759</c:v>
                </c:pt>
                <c:pt idx="1375">
                  <c:v>43756</c:v>
                </c:pt>
                <c:pt idx="1376">
                  <c:v>43755</c:v>
                </c:pt>
                <c:pt idx="1377">
                  <c:v>43754</c:v>
                </c:pt>
                <c:pt idx="1378">
                  <c:v>43753</c:v>
                </c:pt>
                <c:pt idx="1379">
                  <c:v>43752</c:v>
                </c:pt>
                <c:pt idx="1380">
                  <c:v>43749</c:v>
                </c:pt>
                <c:pt idx="1381">
                  <c:v>43748</c:v>
                </c:pt>
                <c:pt idx="1382">
                  <c:v>43747</c:v>
                </c:pt>
                <c:pt idx="1383">
                  <c:v>43746</c:v>
                </c:pt>
                <c:pt idx="1384">
                  <c:v>43745</c:v>
                </c:pt>
                <c:pt idx="1385">
                  <c:v>43742</c:v>
                </c:pt>
                <c:pt idx="1386">
                  <c:v>43741</c:v>
                </c:pt>
                <c:pt idx="1387">
                  <c:v>43740</c:v>
                </c:pt>
                <c:pt idx="1388">
                  <c:v>43739</c:v>
                </c:pt>
                <c:pt idx="1389">
                  <c:v>43738</c:v>
                </c:pt>
                <c:pt idx="1390">
                  <c:v>43735</c:v>
                </c:pt>
                <c:pt idx="1391">
                  <c:v>43734</c:v>
                </c:pt>
                <c:pt idx="1392">
                  <c:v>43733</c:v>
                </c:pt>
                <c:pt idx="1393">
                  <c:v>43732</c:v>
                </c:pt>
                <c:pt idx="1394">
                  <c:v>43731</c:v>
                </c:pt>
                <c:pt idx="1395">
                  <c:v>43728</c:v>
                </c:pt>
                <c:pt idx="1396">
                  <c:v>43727</c:v>
                </c:pt>
                <c:pt idx="1397">
                  <c:v>43726</c:v>
                </c:pt>
                <c:pt idx="1398">
                  <c:v>43725</c:v>
                </c:pt>
                <c:pt idx="1399">
                  <c:v>43724</c:v>
                </c:pt>
                <c:pt idx="1400">
                  <c:v>43721</c:v>
                </c:pt>
                <c:pt idx="1401">
                  <c:v>43720</c:v>
                </c:pt>
                <c:pt idx="1402">
                  <c:v>43719</c:v>
                </c:pt>
                <c:pt idx="1403">
                  <c:v>43718</c:v>
                </c:pt>
                <c:pt idx="1404">
                  <c:v>43717</c:v>
                </c:pt>
                <c:pt idx="1405">
                  <c:v>43714</c:v>
                </c:pt>
                <c:pt idx="1406">
                  <c:v>43713</c:v>
                </c:pt>
                <c:pt idx="1407">
                  <c:v>43712</c:v>
                </c:pt>
                <c:pt idx="1408">
                  <c:v>43711</c:v>
                </c:pt>
                <c:pt idx="1409">
                  <c:v>43710</c:v>
                </c:pt>
                <c:pt idx="1410">
                  <c:v>43707</c:v>
                </c:pt>
                <c:pt idx="1411">
                  <c:v>43706</c:v>
                </c:pt>
                <c:pt idx="1412">
                  <c:v>43705</c:v>
                </c:pt>
                <c:pt idx="1413">
                  <c:v>43704</c:v>
                </c:pt>
                <c:pt idx="1414">
                  <c:v>43700</c:v>
                </c:pt>
                <c:pt idx="1415">
                  <c:v>43699</c:v>
                </c:pt>
                <c:pt idx="1416">
                  <c:v>43698</c:v>
                </c:pt>
                <c:pt idx="1417">
                  <c:v>43697</c:v>
                </c:pt>
                <c:pt idx="1418">
                  <c:v>43696</c:v>
                </c:pt>
                <c:pt idx="1419">
                  <c:v>43693</c:v>
                </c:pt>
                <c:pt idx="1420">
                  <c:v>43692</c:v>
                </c:pt>
                <c:pt idx="1421">
                  <c:v>43691</c:v>
                </c:pt>
                <c:pt idx="1422">
                  <c:v>43690</c:v>
                </c:pt>
                <c:pt idx="1423">
                  <c:v>43689</c:v>
                </c:pt>
                <c:pt idx="1424">
                  <c:v>43686</c:v>
                </c:pt>
                <c:pt idx="1425">
                  <c:v>43685</c:v>
                </c:pt>
                <c:pt idx="1426">
                  <c:v>43684</c:v>
                </c:pt>
                <c:pt idx="1427">
                  <c:v>43683</c:v>
                </c:pt>
                <c:pt idx="1428">
                  <c:v>43682</c:v>
                </c:pt>
                <c:pt idx="1429">
                  <c:v>43679</c:v>
                </c:pt>
                <c:pt idx="1430">
                  <c:v>43678</c:v>
                </c:pt>
                <c:pt idx="1431">
                  <c:v>43677</c:v>
                </c:pt>
                <c:pt idx="1432">
                  <c:v>43676</c:v>
                </c:pt>
                <c:pt idx="1433">
                  <c:v>43675</c:v>
                </c:pt>
                <c:pt idx="1434">
                  <c:v>43672</c:v>
                </c:pt>
                <c:pt idx="1435">
                  <c:v>43671</c:v>
                </c:pt>
                <c:pt idx="1436">
                  <c:v>43670</c:v>
                </c:pt>
                <c:pt idx="1437">
                  <c:v>43669</c:v>
                </c:pt>
                <c:pt idx="1438">
                  <c:v>43668</c:v>
                </c:pt>
                <c:pt idx="1439">
                  <c:v>43665</c:v>
                </c:pt>
                <c:pt idx="1440">
                  <c:v>43664</c:v>
                </c:pt>
                <c:pt idx="1441">
                  <c:v>43663</c:v>
                </c:pt>
                <c:pt idx="1442">
                  <c:v>43662</c:v>
                </c:pt>
                <c:pt idx="1443">
                  <c:v>43661</c:v>
                </c:pt>
                <c:pt idx="1444">
                  <c:v>43658</c:v>
                </c:pt>
                <c:pt idx="1445">
                  <c:v>43657</c:v>
                </c:pt>
                <c:pt idx="1446">
                  <c:v>43656</c:v>
                </c:pt>
                <c:pt idx="1447">
                  <c:v>43655</c:v>
                </c:pt>
                <c:pt idx="1448">
                  <c:v>43654</c:v>
                </c:pt>
                <c:pt idx="1449">
                  <c:v>43651</c:v>
                </c:pt>
                <c:pt idx="1450">
                  <c:v>43650</c:v>
                </c:pt>
                <c:pt idx="1451">
                  <c:v>43649</c:v>
                </c:pt>
                <c:pt idx="1452">
                  <c:v>43648</c:v>
                </c:pt>
                <c:pt idx="1453">
                  <c:v>43647</c:v>
                </c:pt>
                <c:pt idx="1454">
                  <c:v>43644</c:v>
                </c:pt>
                <c:pt idx="1455">
                  <c:v>43643</c:v>
                </c:pt>
                <c:pt idx="1456">
                  <c:v>43642</c:v>
                </c:pt>
                <c:pt idx="1457">
                  <c:v>43641</c:v>
                </c:pt>
                <c:pt idx="1458">
                  <c:v>43640</c:v>
                </c:pt>
                <c:pt idx="1459">
                  <c:v>43637</c:v>
                </c:pt>
                <c:pt idx="1460">
                  <c:v>43636</c:v>
                </c:pt>
                <c:pt idx="1461">
                  <c:v>43635</c:v>
                </c:pt>
                <c:pt idx="1462">
                  <c:v>43634</c:v>
                </c:pt>
                <c:pt idx="1463">
                  <c:v>43633</c:v>
                </c:pt>
                <c:pt idx="1464">
                  <c:v>43630</c:v>
                </c:pt>
                <c:pt idx="1465">
                  <c:v>43629</c:v>
                </c:pt>
                <c:pt idx="1466">
                  <c:v>43628</c:v>
                </c:pt>
                <c:pt idx="1467">
                  <c:v>43627</c:v>
                </c:pt>
                <c:pt idx="1468">
                  <c:v>43626</c:v>
                </c:pt>
                <c:pt idx="1469">
                  <c:v>43623</c:v>
                </c:pt>
                <c:pt idx="1470">
                  <c:v>43622</c:v>
                </c:pt>
                <c:pt idx="1471">
                  <c:v>43621</c:v>
                </c:pt>
                <c:pt idx="1472">
                  <c:v>43620</c:v>
                </c:pt>
                <c:pt idx="1473">
                  <c:v>43619</c:v>
                </c:pt>
                <c:pt idx="1474">
                  <c:v>43616</c:v>
                </c:pt>
                <c:pt idx="1475">
                  <c:v>43615</c:v>
                </c:pt>
                <c:pt idx="1476">
                  <c:v>43614</c:v>
                </c:pt>
                <c:pt idx="1477">
                  <c:v>43613</c:v>
                </c:pt>
                <c:pt idx="1478">
                  <c:v>43609</c:v>
                </c:pt>
                <c:pt idx="1479">
                  <c:v>43608</c:v>
                </c:pt>
                <c:pt idx="1480">
                  <c:v>43607</c:v>
                </c:pt>
                <c:pt idx="1481">
                  <c:v>43606</c:v>
                </c:pt>
                <c:pt idx="1482">
                  <c:v>43605</c:v>
                </c:pt>
                <c:pt idx="1483">
                  <c:v>43602</c:v>
                </c:pt>
                <c:pt idx="1484">
                  <c:v>43601</c:v>
                </c:pt>
                <c:pt idx="1485">
                  <c:v>43600</c:v>
                </c:pt>
                <c:pt idx="1486">
                  <c:v>43599</c:v>
                </c:pt>
                <c:pt idx="1487">
                  <c:v>43598</c:v>
                </c:pt>
                <c:pt idx="1488">
                  <c:v>43595</c:v>
                </c:pt>
                <c:pt idx="1489">
                  <c:v>43594</c:v>
                </c:pt>
                <c:pt idx="1490">
                  <c:v>43593</c:v>
                </c:pt>
                <c:pt idx="1491">
                  <c:v>43592</c:v>
                </c:pt>
                <c:pt idx="1492">
                  <c:v>43588</c:v>
                </c:pt>
                <c:pt idx="1493">
                  <c:v>43587</c:v>
                </c:pt>
                <c:pt idx="1494">
                  <c:v>43586</c:v>
                </c:pt>
                <c:pt idx="1495">
                  <c:v>43585</c:v>
                </c:pt>
                <c:pt idx="1496">
                  <c:v>43584</c:v>
                </c:pt>
                <c:pt idx="1497">
                  <c:v>43581</c:v>
                </c:pt>
                <c:pt idx="1498">
                  <c:v>43580</c:v>
                </c:pt>
                <c:pt idx="1499">
                  <c:v>43579</c:v>
                </c:pt>
                <c:pt idx="1500">
                  <c:v>43578</c:v>
                </c:pt>
                <c:pt idx="1501">
                  <c:v>43573</c:v>
                </c:pt>
                <c:pt idx="1502">
                  <c:v>43572</c:v>
                </c:pt>
                <c:pt idx="1503">
                  <c:v>43571</c:v>
                </c:pt>
                <c:pt idx="1504">
                  <c:v>43570</c:v>
                </c:pt>
                <c:pt idx="1505">
                  <c:v>43567</c:v>
                </c:pt>
                <c:pt idx="1506">
                  <c:v>43566</c:v>
                </c:pt>
                <c:pt idx="1507">
                  <c:v>43565</c:v>
                </c:pt>
                <c:pt idx="1508">
                  <c:v>43564</c:v>
                </c:pt>
                <c:pt idx="1509">
                  <c:v>43563</c:v>
                </c:pt>
                <c:pt idx="1510">
                  <c:v>43560</c:v>
                </c:pt>
                <c:pt idx="1511">
                  <c:v>43559</c:v>
                </c:pt>
                <c:pt idx="1512">
                  <c:v>43558</c:v>
                </c:pt>
                <c:pt idx="1513">
                  <c:v>43557</c:v>
                </c:pt>
                <c:pt idx="1514">
                  <c:v>43556</c:v>
                </c:pt>
                <c:pt idx="1515">
                  <c:v>43553</c:v>
                </c:pt>
                <c:pt idx="1516">
                  <c:v>43552</c:v>
                </c:pt>
                <c:pt idx="1517">
                  <c:v>43551</c:v>
                </c:pt>
                <c:pt idx="1518">
                  <c:v>43550</c:v>
                </c:pt>
                <c:pt idx="1519">
                  <c:v>43549</c:v>
                </c:pt>
                <c:pt idx="1520">
                  <c:v>43546</c:v>
                </c:pt>
                <c:pt idx="1521">
                  <c:v>43545</c:v>
                </c:pt>
                <c:pt idx="1522">
                  <c:v>43544</c:v>
                </c:pt>
                <c:pt idx="1523">
                  <c:v>43543</c:v>
                </c:pt>
                <c:pt idx="1524">
                  <c:v>43542</c:v>
                </c:pt>
                <c:pt idx="1525">
                  <c:v>43539</c:v>
                </c:pt>
                <c:pt idx="1526">
                  <c:v>43538</c:v>
                </c:pt>
                <c:pt idx="1527">
                  <c:v>43537</c:v>
                </c:pt>
                <c:pt idx="1528">
                  <c:v>43536</c:v>
                </c:pt>
                <c:pt idx="1529">
                  <c:v>43535</c:v>
                </c:pt>
                <c:pt idx="1530">
                  <c:v>43532</c:v>
                </c:pt>
                <c:pt idx="1531">
                  <c:v>43531</c:v>
                </c:pt>
                <c:pt idx="1532">
                  <c:v>43530</c:v>
                </c:pt>
                <c:pt idx="1533">
                  <c:v>43529</c:v>
                </c:pt>
                <c:pt idx="1534">
                  <c:v>43528</c:v>
                </c:pt>
                <c:pt idx="1535">
                  <c:v>43525</c:v>
                </c:pt>
                <c:pt idx="1536">
                  <c:v>43524</c:v>
                </c:pt>
                <c:pt idx="1537">
                  <c:v>43523</c:v>
                </c:pt>
                <c:pt idx="1538">
                  <c:v>43522</c:v>
                </c:pt>
                <c:pt idx="1539">
                  <c:v>43521</c:v>
                </c:pt>
                <c:pt idx="1540">
                  <c:v>43518</c:v>
                </c:pt>
                <c:pt idx="1541">
                  <c:v>43517</c:v>
                </c:pt>
                <c:pt idx="1542">
                  <c:v>43516</c:v>
                </c:pt>
                <c:pt idx="1543">
                  <c:v>43515</c:v>
                </c:pt>
                <c:pt idx="1544">
                  <c:v>43514</c:v>
                </c:pt>
                <c:pt idx="1545">
                  <c:v>43511</c:v>
                </c:pt>
                <c:pt idx="1546">
                  <c:v>43510</c:v>
                </c:pt>
                <c:pt idx="1547">
                  <c:v>43509</c:v>
                </c:pt>
                <c:pt idx="1548">
                  <c:v>43508</c:v>
                </c:pt>
                <c:pt idx="1549">
                  <c:v>43507</c:v>
                </c:pt>
                <c:pt idx="1550">
                  <c:v>43504</c:v>
                </c:pt>
                <c:pt idx="1551">
                  <c:v>43503</c:v>
                </c:pt>
                <c:pt idx="1552">
                  <c:v>43502</c:v>
                </c:pt>
                <c:pt idx="1553">
                  <c:v>43501</c:v>
                </c:pt>
                <c:pt idx="1554">
                  <c:v>43500</c:v>
                </c:pt>
                <c:pt idx="1555">
                  <c:v>43497</c:v>
                </c:pt>
                <c:pt idx="1556">
                  <c:v>43496</c:v>
                </c:pt>
                <c:pt idx="1557">
                  <c:v>43495</c:v>
                </c:pt>
                <c:pt idx="1558">
                  <c:v>43494</c:v>
                </c:pt>
                <c:pt idx="1559">
                  <c:v>43493</c:v>
                </c:pt>
                <c:pt idx="1560">
                  <c:v>43490</c:v>
                </c:pt>
                <c:pt idx="1561">
                  <c:v>43489</c:v>
                </c:pt>
                <c:pt idx="1562">
                  <c:v>43488</c:v>
                </c:pt>
                <c:pt idx="1563">
                  <c:v>43487</c:v>
                </c:pt>
                <c:pt idx="1564">
                  <c:v>43486</c:v>
                </c:pt>
                <c:pt idx="1565">
                  <c:v>43483</c:v>
                </c:pt>
                <c:pt idx="1566">
                  <c:v>43482</c:v>
                </c:pt>
                <c:pt idx="1567">
                  <c:v>43481</c:v>
                </c:pt>
                <c:pt idx="1568">
                  <c:v>43480</c:v>
                </c:pt>
                <c:pt idx="1569">
                  <c:v>43479</c:v>
                </c:pt>
                <c:pt idx="1570">
                  <c:v>43476</c:v>
                </c:pt>
                <c:pt idx="1571">
                  <c:v>43475</c:v>
                </c:pt>
                <c:pt idx="1572">
                  <c:v>43474</c:v>
                </c:pt>
                <c:pt idx="1573">
                  <c:v>43473</c:v>
                </c:pt>
                <c:pt idx="1574">
                  <c:v>43472</c:v>
                </c:pt>
                <c:pt idx="1575">
                  <c:v>43469</c:v>
                </c:pt>
                <c:pt idx="1576">
                  <c:v>43468</c:v>
                </c:pt>
                <c:pt idx="1577">
                  <c:v>43467</c:v>
                </c:pt>
                <c:pt idx="1578">
                  <c:v>43465</c:v>
                </c:pt>
                <c:pt idx="1579">
                  <c:v>43462</c:v>
                </c:pt>
                <c:pt idx="1580">
                  <c:v>43461</c:v>
                </c:pt>
                <c:pt idx="1581">
                  <c:v>43458</c:v>
                </c:pt>
                <c:pt idx="1582">
                  <c:v>43455</c:v>
                </c:pt>
                <c:pt idx="1583">
                  <c:v>43454</c:v>
                </c:pt>
                <c:pt idx="1584">
                  <c:v>43453</c:v>
                </c:pt>
                <c:pt idx="1585">
                  <c:v>43452</c:v>
                </c:pt>
                <c:pt idx="1586">
                  <c:v>43451</c:v>
                </c:pt>
                <c:pt idx="1587">
                  <c:v>43448</c:v>
                </c:pt>
                <c:pt idx="1588">
                  <c:v>43447</c:v>
                </c:pt>
                <c:pt idx="1589">
                  <c:v>43446</c:v>
                </c:pt>
                <c:pt idx="1590">
                  <c:v>43445</c:v>
                </c:pt>
                <c:pt idx="1591">
                  <c:v>43444</c:v>
                </c:pt>
                <c:pt idx="1592">
                  <c:v>43441</c:v>
                </c:pt>
                <c:pt idx="1593">
                  <c:v>43440</c:v>
                </c:pt>
                <c:pt idx="1594">
                  <c:v>43439</c:v>
                </c:pt>
                <c:pt idx="1595">
                  <c:v>43438</c:v>
                </c:pt>
                <c:pt idx="1596">
                  <c:v>43437</c:v>
                </c:pt>
                <c:pt idx="1597">
                  <c:v>43434</c:v>
                </c:pt>
                <c:pt idx="1598">
                  <c:v>43433</c:v>
                </c:pt>
                <c:pt idx="1599">
                  <c:v>43432</c:v>
                </c:pt>
                <c:pt idx="1600">
                  <c:v>43431</c:v>
                </c:pt>
                <c:pt idx="1601">
                  <c:v>43430</c:v>
                </c:pt>
                <c:pt idx="1602">
                  <c:v>43427</c:v>
                </c:pt>
                <c:pt idx="1603">
                  <c:v>43426</c:v>
                </c:pt>
                <c:pt idx="1604">
                  <c:v>43425</c:v>
                </c:pt>
                <c:pt idx="1605">
                  <c:v>43424</c:v>
                </c:pt>
                <c:pt idx="1606">
                  <c:v>43423</c:v>
                </c:pt>
                <c:pt idx="1607">
                  <c:v>43420</c:v>
                </c:pt>
                <c:pt idx="1608">
                  <c:v>43419</c:v>
                </c:pt>
                <c:pt idx="1609">
                  <c:v>43418</c:v>
                </c:pt>
                <c:pt idx="1610">
                  <c:v>43417</c:v>
                </c:pt>
                <c:pt idx="1611">
                  <c:v>43416</c:v>
                </c:pt>
                <c:pt idx="1612">
                  <c:v>43413</c:v>
                </c:pt>
                <c:pt idx="1613">
                  <c:v>43412</c:v>
                </c:pt>
                <c:pt idx="1614">
                  <c:v>43411</c:v>
                </c:pt>
                <c:pt idx="1615">
                  <c:v>43410</c:v>
                </c:pt>
                <c:pt idx="1616">
                  <c:v>43409</c:v>
                </c:pt>
                <c:pt idx="1617">
                  <c:v>43406</c:v>
                </c:pt>
                <c:pt idx="1618">
                  <c:v>43405</c:v>
                </c:pt>
                <c:pt idx="1619">
                  <c:v>43404</c:v>
                </c:pt>
                <c:pt idx="1620">
                  <c:v>43403</c:v>
                </c:pt>
                <c:pt idx="1621">
                  <c:v>43402</c:v>
                </c:pt>
                <c:pt idx="1622">
                  <c:v>43399</c:v>
                </c:pt>
                <c:pt idx="1623">
                  <c:v>43398</c:v>
                </c:pt>
                <c:pt idx="1624">
                  <c:v>43397</c:v>
                </c:pt>
                <c:pt idx="1625">
                  <c:v>43396</c:v>
                </c:pt>
                <c:pt idx="1626">
                  <c:v>43395</c:v>
                </c:pt>
                <c:pt idx="1627">
                  <c:v>43392</c:v>
                </c:pt>
                <c:pt idx="1628">
                  <c:v>43391</c:v>
                </c:pt>
                <c:pt idx="1629">
                  <c:v>43390</c:v>
                </c:pt>
                <c:pt idx="1630">
                  <c:v>43389</c:v>
                </c:pt>
                <c:pt idx="1631">
                  <c:v>43388</c:v>
                </c:pt>
                <c:pt idx="1632">
                  <c:v>43385</c:v>
                </c:pt>
                <c:pt idx="1633">
                  <c:v>43384</c:v>
                </c:pt>
                <c:pt idx="1634">
                  <c:v>43383</c:v>
                </c:pt>
                <c:pt idx="1635">
                  <c:v>43382</c:v>
                </c:pt>
                <c:pt idx="1636">
                  <c:v>43381</c:v>
                </c:pt>
                <c:pt idx="1637">
                  <c:v>43378</c:v>
                </c:pt>
                <c:pt idx="1638">
                  <c:v>43377</c:v>
                </c:pt>
                <c:pt idx="1639">
                  <c:v>43376</c:v>
                </c:pt>
                <c:pt idx="1640">
                  <c:v>43375</c:v>
                </c:pt>
                <c:pt idx="1641">
                  <c:v>43374</c:v>
                </c:pt>
                <c:pt idx="1642">
                  <c:v>43371</c:v>
                </c:pt>
                <c:pt idx="1643">
                  <c:v>43370</c:v>
                </c:pt>
                <c:pt idx="1644">
                  <c:v>43369</c:v>
                </c:pt>
                <c:pt idx="1645">
                  <c:v>43368</c:v>
                </c:pt>
                <c:pt idx="1646">
                  <c:v>43367</c:v>
                </c:pt>
                <c:pt idx="1647">
                  <c:v>43364</c:v>
                </c:pt>
                <c:pt idx="1648">
                  <c:v>43363</c:v>
                </c:pt>
                <c:pt idx="1649">
                  <c:v>43362</c:v>
                </c:pt>
                <c:pt idx="1650">
                  <c:v>43361</c:v>
                </c:pt>
                <c:pt idx="1651">
                  <c:v>43360</c:v>
                </c:pt>
                <c:pt idx="1652">
                  <c:v>43357</c:v>
                </c:pt>
                <c:pt idx="1653">
                  <c:v>43356</c:v>
                </c:pt>
                <c:pt idx="1654">
                  <c:v>43355</c:v>
                </c:pt>
                <c:pt idx="1655">
                  <c:v>43354</c:v>
                </c:pt>
                <c:pt idx="1656">
                  <c:v>43353</c:v>
                </c:pt>
                <c:pt idx="1657">
                  <c:v>43350</c:v>
                </c:pt>
                <c:pt idx="1658">
                  <c:v>43349</c:v>
                </c:pt>
                <c:pt idx="1659">
                  <c:v>43348</c:v>
                </c:pt>
                <c:pt idx="1660">
                  <c:v>43347</c:v>
                </c:pt>
                <c:pt idx="1661">
                  <c:v>43346</c:v>
                </c:pt>
                <c:pt idx="1662">
                  <c:v>43343</c:v>
                </c:pt>
                <c:pt idx="1663">
                  <c:v>43342</c:v>
                </c:pt>
                <c:pt idx="1664">
                  <c:v>43341</c:v>
                </c:pt>
                <c:pt idx="1665">
                  <c:v>43340</c:v>
                </c:pt>
                <c:pt idx="1666">
                  <c:v>43336</c:v>
                </c:pt>
                <c:pt idx="1667">
                  <c:v>43335</c:v>
                </c:pt>
                <c:pt idx="1668">
                  <c:v>43334</c:v>
                </c:pt>
                <c:pt idx="1669">
                  <c:v>43333</c:v>
                </c:pt>
                <c:pt idx="1670">
                  <c:v>43332</c:v>
                </c:pt>
                <c:pt idx="1671">
                  <c:v>43329</c:v>
                </c:pt>
                <c:pt idx="1672">
                  <c:v>43328</c:v>
                </c:pt>
                <c:pt idx="1673">
                  <c:v>43327</c:v>
                </c:pt>
                <c:pt idx="1674">
                  <c:v>43326</c:v>
                </c:pt>
                <c:pt idx="1675">
                  <c:v>43325</c:v>
                </c:pt>
                <c:pt idx="1676">
                  <c:v>43322</c:v>
                </c:pt>
                <c:pt idx="1677">
                  <c:v>43321</c:v>
                </c:pt>
                <c:pt idx="1678">
                  <c:v>43320</c:v>
                </c:pt>
                <c:pt idx="1679">
                  <c:v>43319</c:v>
                </c:pt>
                <c:pt idx="1680">
                  <c:v>43318</c:v>
                </c:pt>
                <c:pt idx="1681">
                  <c:v>43315</c:v>
                </c:pt>
                <c:pt idx="1682">
                  <c:v>43314</c:v>
                </c:pt>
                <c:pt idx="1683">
                  <c:v>43313</c:v>
                </c:pt>
                <c:pt idx="1684">
                  <c:v>43312</c:v>
                </c:pt>
                <c:pt idx="1685">
                  <c:v>43311</c:v>
                </c:pt>
                <c:pt idx="1686">
                  <c:v>43308</c:v>
                </c:pt>
                <c:pt idx="1687">
                  <c:v>43307</c:v>
                </c:pt>
                <c:pt idx="1688">
                  <c:v>43306</c:v>
                </c:pt>
                <c:pt idx="1689">
                  <c:v>43305</c:v>
                </c:pt>
                <c:pt idx="1690">
                  <c:v>43304</c:v>
                </c:pt>
                <c:pt idx="1691">
                  <c:v>43301</c:v>
                </c:pt>
                <c:pt idx="1692">
                  <c:v>43300</c:v>
                </c:pt>
                <c:pt idx="1693">
                  <c:v>43299</c:v>
                </c:pt>
                <c:pt idx="1694">
                  <c:v>43298</c:v>
                </c:pt>
                <c:pt idx="1695">
                  <c:v>43297</c:v>
                </c:pt>
                <c:pt idx="1696">
                  <c:v>43294</c:v>
                </c:pt>
                <c:pt idx="1697">
                  <c:v>43293</c:v>
                </c:pt>
                <c:pt idx="1698">
                  <c:v>43292</c:v>
                </c:pt>
                <c:pt idx="1699">
                  <c:v>43291</c:v>
                </c:pt>
                <c:pt idx="1700">
                  <c:v>43290</c:v>
                </c:pt>
                <c:pt idx="1701">
                  <c:v>43287</c:v>
                </c:pt>
                <c:pt idx="1702">
                  <c:v>43286</c:v>
                </c:pt>
                <c:pt idx="1703">
                  <c:v>43285</c:v>
                </c:pt>
                <c:pt idx="1704">
                  <c:v>43284</c:v>
                </c:pt>
                <c:pt idx="1705">
                  <c:v>43283</c:v>
                </c:pt>
                <c:pt idx="1706">
                  <c:v>43280</c:v>
                </c:pt>
                <c:pt idx="1707">
                  <c:v>43279</c:v>
                </c:pt>
                <c:pt idx="1708">
                  <c:v>43278</c:v>
                </c:pt>
                <c:pt idx="1709">
                  <c:v>43277</c:v>
                </c:pt>
                <c:pt idx="1710">
                  <c:v>43276</c:v>
                </c:pt>
                <c:pt idx="1711">
                  <c:v>43273</c:v>
                </c:pt>
                <c:pt idx="1712">
                  <c:v>43272</c:v>
                </c:pt>
                <c:pt idx="1713">
                  <c:v>43271</c:v>
                </c:pt>
                <c:pt idx="1714">
                  <c:v>43270</c:v>
                </c:pt>
                <c:pt idx="1715">
                  <c:v>43269</c:v>
                </c:pt>
                <c:pt idx="1716">
                  <c:v>43266</c:v>
                </c:pt>
                <c:pt idx="1717">
                  <c:v>43265</c:v>
                </c:pt>
                <c:pt idx="1718">
                  <c:v>43264</c:v>
                </c:pt>
                <c:pt idx="1719">
                  <c:v>43263</c:v>
                </c:pt>
                <c:pt idx="1720">
                  <c:v>43262</c:v>
                </c:pt>
                <c:pt idx="1721">
                  <c:v>43259</c:v>
                </c:pt>
                <c:pt idx="1722">
                  <c:v>43258</c:v>
                </c:pt>
                <c:pt idx="1723">
                  <c:v>43257</c:v>
                </c:pt>
                <c:pt idx="1724">
                  <c:v>43256</c:v>
                </c:pt>
                <c:pt idx="1725">
                  <c:v>43255</c:v>
                </c:pt>
                <c:pt idx="1726">
                  <c:v>43252</c:v>
                </c:pt>
                <c:pt idx="1727">
                  <c:v>43251</c:v>
                </c:pt>
                <c:pt idx="1728">
                  <c:v>43250</c:v>
                </c:pt>
                <c:pt idx="1729">
                  <c:v>43249</c:v>
                </c:pt>
                <c:pt idx="1730">
                  <c:v>43245</c:v>
                </c:pt>
                <c:pt idx="1731">
                  <c:v>43244</c:v>
                </c:pt>
                <c:pt idx="1732">
                  <c:v>43243</c:v>
                </c:pt>
                <c:pt idx="1733">
                  <c:v>43242</c:v>
                </c:pt>
                <c:pt idx="1734">
                  <c:v>43241</c:v>
                </c:pt>
                <c:pt idx="1735">
                  <c:v>43238</c:v>
                </c:pt>
                <c:pt idx="1736">
                  <c:v>43237</c:v>
                </c:pt>
                <c:pt idx="1737">
                  <c:v>43236</c:v>
                </c:pt>
                <c:pt idx="1738">
                  <c:v>43235</c:v>
                </c:pt>
                <c:pt idx="1739">
                  <c:v>43234</c:v>
                </c:pt>
                <c:pt idx="1740">
                  <c:v>43231</c:v>
                </c:pt>
                <c:pt idx="1741">
                  <c:v>43230</c:v>
                </c:pt>
                <c:pt idx="1742">
                  <c:v>43229</c:v>
                </c:pt>
                <c:pt idx="1743">
                  <c:v>43228</c:v>
                </c:pt>
                <c:pt idx="1744">
                  <c:v>43224</c:v>
                </c:pt>
                <c:pt idx="1745">
                  <c:v>43223</c:v>
                </c:pt>
                <c:pt idx="1746">
                  <c:v>43222</c:v>
                </c:pt>
                <c:pt idx="1747">
                  <c:v>43221</c:v>
                </c:pt>
                <c:pt idx="1748">
                  <c:v>43220</c:v>
                </c:pt>
                <c:pt idx="1749">
                  <c:v>43217</c:v>
                </c:pt>
                <c:pt idx="1750">
                  <c:v>43216</c:v>
                </c:pt>
                <c:pt idx="1751">
                  <c:v>43215</c:v>
                </c:pt>
                <c:pt idx="1752">
                  <c:v>43214</c:v>
                </c:pt>
                <c:pt idx="1753">
                  <c:v>43213</c:v>
                </c:pt>
                <c:pt idx="1754">
                  <c:v>43210</c:v>
                </c:pt>
                <c:pt idx="1755">
                  <c:v>43209</c:v>
                </c:pt>
                <c:pt idx="1756">
                  <c:v>43208</c:v>
                </c:pt>
                <c:pt idx="1757">
                  <c:v>43207</c:v>
                </c:pt>
                <c:pt idx="1758">
                  <c:v>43206</c:v>
                </c:pt>
                <c:pt idx="1759">
                  <c:v>43203</c:v>
                </c:pt>
                <c:pt idx="1760">
                  <c:v>43202</c:v>
                </c:pt>
                <c:pt idx="1761">
                  <c:v>43201</c:v>
                </c:pt>
                <c:pt idx="1762">
                  <c:v>43200</c:v>
                </c:pt>
                <c:pt idx="1763">
                  <c:v>43199</c:v>
                </c:pt>
                <c:pt idx="1764">
                  <c:v>43196</c:v>
                </c:pt>
                <c:pt idx="1765">
                  <c:v>43195</c:v>
                </c:pt>
                <c:pt idx="1766">
                  <c:v>43194</c:v>
                </c:pt>
                <c:pt idx="1767">
                  <c:v>43193</c:v>
                </c:pt>
                <c:pt idx="1768">
                  <c:v>43188</c:v>
                </c:pt>
                <c:pt idx="1769">
                  <c:v>43187</c:v>
                </c:pt>
                <c:pt idx="1770">
                  <c:v>43186</c:v>
                </c:pt>
                <c:pt idx="1771">
                  <c:v>43185</c:v>
                </c:pt>
                <c:pt idx="1772">
                  <c:v>43182</c:v>
                </c:pt>
                <c:pt idx="1773">
                  <c:v>43181</c:v>
                </c:pt>
                <c:pt idx="1774">
                  <c:v>43180</c:v>
                </c:pt>
                <c:pt idx="1775">
                  <c:v>43179</c:v>
                </c:pt>
                <c:pt idx="1776">
                  <c:v>43178</c:v>
                </c:pt>
                <c:pt idx="1777">
                  <c:v>43175</c:v>
                </c:pt>
                <c:pt idx="1778">
                  <c:v>43174</c:v>
                </c:pt>
                <c:pt idx="1779">
                  <c:v>43173</c:v>
                </c:pt>
                <c:pt idx="1780">
                  <c:v>43172</c:v>
                </c:pt>
                <c:pt idx="1781">
                  <c:v>43171</c:v>
                </c:pt>
                <c:pt idx="1782">
                  <c:v>43168</c:v>
                </c:pt>
                <c:pt idx="1783">
                  <c:v>43167</c:v>
                </c:pt>
                <c:pt idx="1784">
                  <c:v>43166</c:v>
                </c:pt>
                <c:pt idx="1785">
                  <c:v>43165</c:v>
                </c:pt>
                <c:pt idx="1786">
                  <c:v>43164</c:v>
                </c:pt>
                <c:pt idx="1787">
                  <c:v>43161</c:v>
                </c:pt>
                <c:pt idx="1788">
                  <c:v>43160</c:v>
                </c:pt>
                <c:pt idx="1789">
                  <c:v>43159</c:v>
                </c:pt>
                <c:pt idx="1790">
                  <c:v>43158</c:v>
                </c:pt>
                <c:pt idx="1791">
                  <c:v>43157</c:v>
                </c:pt>
                <c:pt idx="1792">
                  <c:v>43154</c:v>
                </c:pt>
                <c:pt idx="1793">
                  <c:v>43153</c:v>
                </c:pt>
                <c:pt idx="1794">
                  <c:v>43152</c:v>
                </c:pt>
                <c:pt idx="1795">
                  <c:v>43151</c:v>
                </c:pt>
                <c:pt idx="1796">
                  <c:v>43150</c:v>
                </c:pt>
                <c:pt idx="1797">
                  <c:v>43147</c:v>
                </c:pt>
                <c:pt idx="1798">
                  <c:v>43146</c:v>
                </c:pt>
                <c:pt idx="1799">
                  <c:v>43145</c:v>
                </c:pt>
                <c:pt idx="1800">
                  <c:v>43144</c:v>
                </c:pt>
                <c:pt idx="1801">
                  <c:v>43143</c:v>
                </c:pt>
                <c:pt idx="1802">
                  <c:v>43140</c:v>
                </c:pt>
                <c:pt idx="1803">
                  <c:v>43139</c:v>
                </c:pt>
                <c:pt idx="1804">
                  <c:v>43138</c:v>
                </c:pt>
                <c:pt idx="1805">
                  <c:v>43137</c:v>
                </c:pt>
                <c:pt idx="1806">
                  <c:v>43136</c:v>
                </c:pt>
                <c:pt idx="1807">
                  <c:v>43133</c:v>
                </c:pt>
                <c:pt idx="1808">
                  <c:v>43132</c:v>
                </c:pt>
                <c:pt idx="1809">
                  <c:v>43131</c:v>
                </c:pt>
                <c:pt idx="1810">
                  <c:v>43130</c:v>
                </c:pt>
                <c:pt idx="1811">
                  <c:v>43129</c:v>
                </c:pt>
                <c:pt idx="1812">
                  <c:v>43126</c:v>
                </c:pt>
                <c:pt idx="1813">
                  <c:v>43125</c:v>
                </c:pt>
                <c:pt idx="1814">
                  <c:v>43124</c:v>
                </c:pt>
                <c:pt idx="1815">
                  <c:v>43123</c:v>
                </c:pt>
                <c:pt idx="1816">
                  <c:v>43122</c:v>
                </c:pt>
                <c:pt idx="1817">
                  <c:v>43119</c:v>
                </c:pt>
                <c:pt idx="1818">
                  <c:v>43118</c:v>
                </c:pt>
                <c:pt idx="1819">
                  <c:v>43117</c:v>
                </c:pt>
                <c:pt idx="1820">
                  <c:v>43116</c:v>
                </c:pt>
                <c:pt idx="1821">
                  <c:v>43115</c:v>
                </c:pt>
                <c:pt idx="1822">
                  <c:v>43112</c:v>
                </c:pt>
                <c:pt idx="1823">
                  <c:v>43111</c:v>
                </c:pt>
                <c:pt idx="1824">
                  <c:v>43110</c:v>
                </c:pt>
                <c:pt idx="1825">
                  <c:v>43109</c:v>
                </c:pt>
                <c:pt idx="1826">
                  <c:v>43108</c:v>
                </c:pt>
                <c:pt idx="1827">
                  <c:v>43105</c:v>
                </c:pt>
                <c:pt idx="1828">
                  <c:v>43104</c:v>
                </c:pt>
                <c:pt idx="1829">
                  <c:v>43103</c:v>
                </c:pt>
                <c:pt idx="1830">
                  <c:v>43102</c:v>
                </c:pt>
                <c:pt idx="1831">
                  <c:v>43098</c:v>
                </c:pt>
                <c:pt idx="1832">
                  <c:v>43097</c:v>
                </c:pt>
                <c:pt idx="1833">
                  <c:v>43096</c:v>
                </c:pt>
                <c:pt idx="1834">
                  <c:v>43091</c:v>
                </c:pt>
                <c:pt idx="1835">
                  <c:v>43090</c:v>
                </c:pt>
                <c:pt idx="1836">
                  <c:v>43089</c:v>
                </c:pt>
                <c:pt idx="1837">
                  <c:v>43088</c:v>
                </c:pt>
                <c:pt idx="1838">
                  <c:v>43087</c:v>
                </c:pt>
                <c:pt idx="1839">
                  <c:v>43084</c:v>
                </c:pt>
                <c:pt idx="1840">
                  <c:v>43083</c:v>
                </c:pt>
                <c:pt idx="1841">
                  <c:v>43082</c:v>
                </c:pt>
                <c:pt idx="1842">
                  <c:v>43081</c:v>
                </c:pt>
                <c:pt idx="1843">
                  <c:v>43080</c:v>
                </c:pt>
                <c:pt idx="1844">
                  <c:v>43077</c:v>
                </c:pt>
                <c:pt idx="1845">
                  <c:v>43076</c:v>
                </c:pt>
                <c:pt idx="1846">
                  <c:v>43075</c:v>
                </c:pt>
                <c:pt idx="1847">
                  <c:v>43074</c:v>
                </c:pt>
                <c:pt idx="1848">
                  <c:v>43073</c:v>
                </c:pt>
                <c:pt idx="1849">
                  <c:v>43070</c:v>
                </c:pt>
                <c:pt idx="1850">
                  <c:v>43069</c:v>
                </c:pt>
                <c:pt idx="1851">
                  <c:v>43068</c:v>
                </c:pt>
                <c:pt idx="1852">
                  <c:v>43067</c:v>
                </c:pt>
                <c:pt idx="1853">
                  <c:v>43066</c:v>
                </c:pt>
                <c:pt idx="1854">
                  <c:v>43063</c:v>
                </c:pt>
                <c:pt idx="1855">
                  <c:v>43062</c:v>
                </c:pt>
                <c:pt idx="1856">
                  <c:v>43061</c:v>
                </c:pt>
                <c:pt idx="1857">
                  <c:v>43060</c:v>
                </c:pt>
                <c:pt idx="1858">
                  <c:v>43059</c:v>
                </c:pt>
                <c:pt idx="1859">
                  <c:v>43056</c:v>
                </c:pt>
                <c:pt idx="1860">
                  <c:v>43055</c:v>
                </c:pt>
                <c:pt idx="1861">
                  <c:v>43054</c:v>
                </c:pt>
                <c:pt idx="1862">
                  <c:v>43053</c:v>
                </c:pt>
                <c:pt idx="1863">
                  <c:v>43052</c:v>
                </c:pt>
                <c:pt idx="1864">
                  <c:v>43049</c:v>
                </c:pt>
                <c:pt idx="1865">
                  <c:v>43048</c:v>
                </c:pt>
                <c:pt idx="1866">
                  <c:v>43047</c:v>
                </c:pt>
                <c:pt idx="1867">
                  <c:v>43046</c:v>
                </c:pt>
                <c:pt idx="1868">
                  <c:v>43045</c:v>
                </c:pt>
                <c:pt idx="1869">
                  <c:v>43042</c:v>
                </c:pt>
                <c:pt idx="1870">
                  <c:v>43041</c:v>
                </c:pt>
                <c:pt idx="1871">
                  <c:v>43040</c:v>
                </c:pt>
                <c:pt idx="1872">
                  <c:v>43039</c:v>
                </c:pt>
                <c:pt idx="1873">
                  <c:v>43038</c:v>
                </c:pt>
                <c:pt idx="1874">
                  <c:v>43035</c:v>
                </c:pt>
                <c:pt idx="1875">
                  <c:v>43034</c:v>
                </c:pt>
                <c:pt idx="1876">
                  <c:v>43033</c:v>
                </c:pt>
                <c:pt idx="1877">
                  <c:v>43032</c:v>
                </c:pt>
                <c:pt idx="1878">
                  <c:v>43031</c:v>
                </c:pt>
                <c:pt idx="1879">
                  <c:v>43028</c:v>
                </c:pt>
                <c:pt idx="1880">
                  <c:v>43027</c:v>
                </c:pt>
                <c:pt idx="1881">
                  <c:v>43026</c:v>
                </c:pt>
                <c:pt idx="1882">
                  <c:v>43025</c:v>
                </c:pt>
                <c:pt idx="1883">
                  <c:v>43024</c:v>
                </c:pt>
                <c:pt idx="1884">
                  <c:v>43021</c:v>
                </c:pt>
                <c:pt idx="1885">
                  <c:v>43020</c:v>
                </c:pt>
                <c:pt idx="1886">
                  <c:v>43019</c:v>
                </c:pt>
                <c:pt idx="1887">
                  <c:v>43018</c:v>
                </c:pt>
                <c:pt idx="1888">
                  <c:v>43017</c:v>
                </c:pt>
                <c:pt idx="1889">
                  <c:v>43014</c:v>
                </c:pt>
                <c:pt idx="1890">
                  <c:v>43013</c:v>
                </c:pt>
                <c:pt idx="1891">
                  <c:v>43012</c:v>
                </c:pt>
                <c:pt idx="1892">
                  <c:v>43011</c:v>
                </c:pt>
                <c:pt idx="1893">
                  <c:v>43010</c:v>
                </c:pt>
                <c:pt idx="1894">
                  <c:v>43007</c:v>
                </c:pt>
                <c:pt idx="1895">
                  <c:v>43006</c:v>
                </c:pt>
                <c:pt idx="1896">
                  <c:v>43005</c:v>
                </c:pt>
                <c:pt idx="1897">
                  <c:v>43004</c:v>
                </c:pt>
                <c:pt idx="1898">
                  <c:v>43003</c:v>
                </c:pt>
                <c:pt idx="1899">
                  <c:v>43000</c:v>
                </c:pt>
                <c:pt idx="1900">
                  <c:v>42999</c:v>
                </c:pt>
                <c:pt idx="1901">
                  <c:v>42998</c:v>
                </c:pt>
                <c:pt idx="1902">
                  <c:v>42997</c:v>
                </c:pt>
                <c:pt idx="1903">
                  <c:v>42996</c:v>
                </c:pt>
                <c:pt idx="1904">
                  <c:v>42993</c:v>
                </c:pt>
                <c:pt idx="1905">
                  <c:v>42992</c:v>
                </c:pt>
                <c:pt idx="1906">
                  <c:v>42991</c:v>
                </c:pt>
                <c:pt idx="1907">
                  <c:v>42990</c:v>
                </c:pt>
                <c:pt idx="1908">
                  <c:v>42989</c:v>
                </c:pt>
                <c:pt idx="1909">
                  <c:v>42986</c:v>
                </c:pt>
                <c:pt idx="1910">
                  <c:v>42985</c:v>
                </c:pt>
                <c:pt idx="1911">
                  <c:v>42984</c:v>
                </c:pt>
                <c:pt idx="1912">
                  <c:v>42983</c:v>
                </c:pt>
                <c:pt idx="1913">
                  <c:v>42982</c:v>
                </c:pt>
                <c:pt idx="1914">
                  <c:v>42979</c:v>
                </c:pt>
                <c:pt idx="1915">
                  <c:v>42978</c:v>
                </c:pt>
                <c:pt idx="1916">
                  <c:v>42977</c:v>
                </c:pt>
                <c:pt idx="1917">
                  <c:v>42976</c:v>
                </c:pt>
                <c:pt idx="1918">
                  <c:v>42972</c:v>
                </c:pt>
                <c:pt idx="1919">
                  <c:v>42971</c:v>
                </c:pt>
                <c:pt idx="1920">
                  <c:v>42970</c:v>
                </c:pt>
                <c:pt idx="1921">
                  <c:v>42969</c:v>
                </c:pt>
                <c:pt idx="1922">
                  <c:v>42968</c:v>
                </c:pt>
                <c:pt idx="1923">
                  <c:v>42965</c:v>
                </c:pt>
                <c:pt idx="1924">
                  <c:v>42964</c:v>
                </c:pt>
                <c:pt idx="1925">
                  <c:v>42963</c:v>
                </c:pt>
                <c:pt idx="1926">
                  <c:v>42962</c:v>
                </c:pt>
                <c:pt idx="1927">
                  <c:v>42961</c:v>
                </c:pt>
                <c:pt idx="1928">
                  <c:v>42958</c:v>
                </c:pt>
                <c:pt idx="1929">
                  <c:v>42957</c:v>
                </c:pt>
                <c:pt idx="1930">
                  <c:v>42956</c:v>
                </c:pt>
                <c:pt idx="1931">
                  <c:v>42955</c:v>
                </c:pt>
                <c:pt idx="1932">
                  <c:v>42954</c:v>
                </c:pt>
                <c:pt idx="1933">
                  <c:v>42951</c:v>
                </c:pt>
                <c:pt idx="1934">
                  <c:v>42950</c:v>
                </c:pt>
                <c:pt idx="1935">
                  <c:v>42949</c:v>
                </c:pt>
                <c:pt idx="1936">
                  <c:v>42948</c:v>
                </c:pt>
                <c:pt idx="1937">
                  <c:v>42947</c:v>
                </c:pt>
                <c:pt idx="1938">
                  <c:v>42944</c:v>
                </c:pt>
                <c:pt idx="1939">
                  <c:v>42943</c:v>
                </c:pt>
                <c:pt idx="1940">
                  <c:v>42942</c:v>
                </c:pt>
                <c:pt idx="1941">
                  <c:v>42941</c:v>
                </c:pt>
                <c:pt idx="1942">
                  <c:v>42940</c:v>
                </c:pt>
                <c:pt idx="1943">
                  <c:v>42937</c:v>
                </c:pt>
                <c:pt idx="1944">
                  <c:v>42936</c:v>
                </c:pt>
                <c:pt idx="1945">
                  <c:v>42935</c:v>
                </c:pt>
                <c:pt idx="1946">
                  <c:v>42934</c:v>
                </c:pt>
                <c:pt idx="1947">
                  <c:v>42933</c:v>
                </c:pt>
                <c:pt idx="1948">
                  <c:v>42930</c:v>
                </c:pt>
                <c:pt idx="1949">
                  <c:v>42929</c:v>
                </c:pt>
                <c:pt idx="1950">
                  <c:v>42928</c:v>
                </c:pt>
                <c:pt idx="1951">
                  <c:v>42927</c:v>
                </c:pt>
                <c:pt idx="1952">
                  <c:v>42926</c:v>
                </c:pt>
                <c:pt idx="1953">
                  <c:v>42923</c:v>
                </c:pt>
                <c:pt idx="1954">
                  <c:v>42922</c:v>
                </c:pt>
                <c:pt idx="1955">
                  <c:v>42921</c:v>
                </c:pt>
                <c:pt idx="1956">
                  <c:v>42920</c:v>
                </c:pt>
                <c:pt idx="1957">
                  <c:v>42919</c:v>
                </c:pt>
                <c:pt idx="1958">
                  <c:v>42916</c:v>
                </c:pt>
                <c:pt idx="1959">
                  <c:v>42915</c:v>
                </c:pt>
                <c:pt idx="1960">
                  <c:v>42914</c:v>
                </c:pt>
                <c:pt idx="1961">
                  <c:v>42913</c:v>
                </c:pt>
                <c:pt idx="1962">
                  <c:v>42912</c:v>
                </c:pt>
                <c:pt idx="1963">
                  <c:v>42909</c:v>
                </c:pt>
                <c:pt idx="1964">
                  <c:v>42908</c:v>
                </c:pt>
                <c:pt idx="1965">
                  <c:v>42907</c:v>
                </c:pt>
                <c:pt idx="1966">
                  <c:v>42906</c:v>
                </c:pt>
                <c:pt idx="1967">
                  <c:v>42905</c:v>
                </c:pt>
                <c:pt idx="1968">
                  <c:v>42902</c:v>
                </c:pt>
                <c:pt idx="1969">
                  <c:v>42901</c:v>
                </c:pt>
                <c:pt idx="1970">
                  <c:v>42900</c:v>
                </c:pt>
                <c:pt idx="1971">
                  <c:v>42899</c:v>
                </c:pt>
                <c:pt idx="1972">
                  <c:v>42898</c:v>
                </c:pt>
                <c:pt idx="1973">
                  <c:v>42895</c:v>
                </c:pt>
                <c:pt idx="1974">
                  <c:v>42894</c:v>
                </c:pt>
                <c:pt idx="1975">
                  <c:v>42893</c:v>
                </c:pt>
                <c:pt idx="1976">
                  <c:v>42892</c:v>
                </c:pt>
                <c:pt idx="1977">
                  <c:v>42891</c:v>
                </c:pt>
                <c:pt idx="1978">
                  <c:v>42888</c:v>
                </c:pt>
                <c:pt idx="1979">
                  <c:v>42887</c:v>
                </c:pt>
                <c:pt idx="1980">
                  <c:v>42886</c:v>
                </c:pt>
                <c:pt idx="1981">
                  <c:v>42885</c:v>
                </c:pt>
                <c:pt idx="1982">
                  <c:v>42881</c:v>
                </c:pt>
                <c:pt idx="1983">
                  <c:v>42880</c:v>
                </c:pt>
                <c:pt idx="1984">
                  <c:v>42879</c:v>
                </c:pt>
                <c:pt idx="1985">
                  <c:v>42878</c:v>
                </c:pt>
                <c:pt idx="1986">
                  <c:v>42877</c:v>
                </c:pt>
                <c:pt idx="1987">
                  <c:v>42874</c:v>
                </c:pt>
                <c:pt idx="1988">
                  <c:v>42873</c:v>
                </c:pt>
                <c:pt idx="1989">
                  <c:v>42872</c:v>
                </c:pt>
                <c:pt idx="1990">
                  <c:v>42871</c:v>
                </c:pt>
                <c:pt idx="1991">
                  <c:v>42870</c:v>
                </c:pt>
                <c:pt idx="1992">
                  <c:v>42867</c:v>
                </c:pt>
                <c:pt idx="1993">
                  <c:v>42866</c:v>
                </c:pt>
                <c:pt idx="1994">
                  <c:v>42865</c:v>
                </c:pt>
                <c:pt idx="1995">
                  <c:v>42864</c:v>
                </c:pt>
                <c:pt idx="1996">
                  <c:v>42863</c:v>
                </c:pt>
                <c:pt idx="1997">
                  <c:v>42860</c:v>
                </c:pt>
                <c:pt idx="1998">
                  <c:v>42859</c:v>
                </c:pt>
                <c:pt idx="1999">
                  <c:v>42858</c:v>
                </c:pt>
                <c:pt idx="2000">
                  <c:v>42857</c:v>
                </c:pt>
                <c:pt idx="2001">
                  <c:v>42853</c:v>
                </c:pt>
                <c:pt idx="2002">
                  <c:v>42852</c:v>
                </c:pt>
                <c:pt idx="2003">
                  <c:v>42851</c:v>
                </c:pt>
                <c:pt idx="2004">
                  <c:v>42850</c:v>
                </c:pt>
                <c:pt idx="2005">
                  <c:v>42849</c:v>
                </c:pt>
                <c:pt idx="2006">
                  <c:v>42846</c:v>
                </c:pt>
                <c:pt idx="2007">
                  <c:v>42845</c:v>
                </c:pt>
                <c:pt idx="2008">
                  <c:v>42844</c:v>
                </c:pt>
                <c:pt idx="2009">
                  <c:v>42843</c:v>
                </c:pt>
                <c:pt idx="2010">
                  <c:v>42838</c:v>
                </c:pt>
                <c:pt idx="2011">
                  <c:v>42837</c:v>
                </c:pt>
                <c:pt idx="2012">
                  <c:v>42836</c:v>
                </c:pt>
                <c:pt idx="2013">
                  <c:v>42835</c:v>
                </c:pt>
                <c:pt idx="2014">
                  <c:v>42832</c:v>
                </c:pt>
                <c:pt idx="2015">
                  <c:v>42831</c:v>
                </c:pt>
                <c:pt idx="2016">
                  <c:v>42830</c:v>
                </c:pt>
                <c:pt idx="2017">
                  <c:v>42829</c:v>
                </c:pt>
                <c:pt idx="2018">
                  <c:v>42828</c:v>
                </c:pt>
                <c:pt idx="2019">
                  <c:v>42825</c:v>
                </c:pt>
                <c:pt idx="2020">
                  <c:v>42824</c:v>
                </c:pt>
                <c:pt idx="2021">
                  <c:v>42823</c:v>
                </c:pt>
                <c:pt idx="2022">
                  <c:v>42822</c:v>
                </c:pt>
                <c:pt idx="2023">
                  <c:v>42821</c:v>
                </c:pt>
                <c:pt idx="2024">
                  <c:v>42818</c:v>
                </c:pt>
                <c:pt idx="2025">
                  <c:v>42817</c:v>
                </c:pt>
                <c:pt idx="2026">
                  <c:v>42816</c:v>
                </c:pt>
                <c:pt idx="2027">
                  <c:v>42815</c:v>
                </c:pt>
                <c:pt idx="2028">
                  <c:v>42814</c:v>
                </c:pt>
                <c:pt idx="2029">
                  <c:v>42811</c:v>
                </c:pt>
                <c:pt idx="2030">
                  <c:v>42810</c:v>
                </c:pt>
                <c:pt idx="2031">
                  <c:v>42809</c:v>
                </c:pt>
                <c:pt idx="2032">
                  <c:v>42808</c:v>
                </c:pt>
                <c:pt idx="2033">
                  <c:v>42807</c:v>
                </c:pt>
                <c:pt idx="2034">
                  <c:v>42804</c:v>
                </c:pt>
                <c:pt idx="2035">
                  <c:v>42803</c:v>
                </c:pt>
                <c:pt idx="2036">
                  <c:v>42802</c:v>
                </c:pt>
                <c:pt idx="2037">
                  <c:v>42801</c:v>
                </c:pt>
                <c:pt idx="2038">
                  <c:v>42800</c:v>
                </c:pt>
                <c:pt idx="2039">
                  <c:v>42797</c:v>
                </c:pt>
                <c:pt idx="2040">
                  <c:v>42796</c:v>
                </c:pt>
                <c:pt idx="2041">
                  <c:v>42795</c:v>
                </c:pt>
                <c:pt idx="2042">
                  <c:v>42794</c:v>
                </c:pt>
                <c:pt idx="2043">
                  <c:v>42793</c:v>
                </c:pt>
                <c:pt idx="2044">
                  <c:v>42790</c:v>
                </c:pt>
                <c:pt idx="2045">
                  <c:v>42789</c:v>
                </c:pt>
                <c:pt idx="2046">
                  <c:v>42788</c:v>
                </c:pt>
                <c:pt idx="2047">
                  <c:v>42787</c:v>
                </c:pt>
                <c:pt idx="2048">
                  <c:v>42786</c:v>
                </c:pt>
                <c:pt idx="2049">
                  <c:v>42783</c:v>
                </c:pt>
                <c:pt idx="2050">
                  <c:v>42782</c:v>
                </c:pt>
                <c:pt idx="2051">
                  <c:v>42781</c:v>
                </c:pt>
                <c:pt idx="2052">
                  <c:v>42780</c:v>
                </c:pt>
                <c:pt idx="2053">
                  <c:v>42779</c:v>
                </c:pt>
                <c:pt idx="2054">
                  <c:v>42776</c:v>
                </c:pt>
                <c:pt idx="2055">
                  <c:v>42775</c:v>
                </c:pt>
                <c:pt idx="2056">
                  <c:v>42774</c:v>
                </c:pt>
                <c:pt idx="2057">
                  <c:v>42773</c:v>
                </c:pt>
                <c:pt idx="2058">
                  <c:v>42772</c:v>
                </c:pt>
                <c:pt idx="2059">
                  <c:v>42769</c:v>
                </c:pt>
                <c:pt idx="2060">
                  <c:v>42768</c:v>
                </c:pt>
                <c:pt idx="2061">
                  <c:v>42767</c:v>
                </c:pt>
                <c:pt idx="2062">
                  <c:v>42766</c:v>
                </c:pt>
                <c:pt idx="2063">
                  <c:v>42765</c:v>
                </c:pt>
                <c:pt idx="2064">
                  <c:v>42762</c:v>
                </c:pt>
                <c:pt idx="2065">
                  <c:v>42761</c:v>
                </c:pt>
                <c:pt idx="2066">
                  <c:v>42760</c:v>
                </c:pt>
                <c:pt idx="2067">
                  <c:v>42759</c:v>
                </c:pt>
                <c:pt idx="2068">
                  <c:v>42758</c:v>
                </c:pt>
                <c:pt idx="2069">
                  <c:v>42755</c:v>
                </c:pt>
                <c:pt idx="2070">
                  <c:v>42754</c:v>
                </c:pt>
                <c:pt idx="2071">
                  <c:v>42753</c:v>
                </c:pt>
                <c:pt idx="2072">
                  <c:v>42752</c:v>
                </c:pt>
                <c:pt idx="2073">
                  <c:v>42751</c:v>
                </c:pt>
                <c:pt idx="2074">
                  <c:v>42748</c:v>
                </c:pt>
                <c:pt idx="2075">
                  <c:v>42747</c:v>
                </c:pt>
                <c:pt idx="2076">
                  <c:v>42746</c:v>
                </c:pt>
                <c:pt idx="2077">
                  <c:v>42745</c:v>
                </c:pt>
                <c:pt idx="2078">
                  <c:v>42744</c:v>
                </c:pt>
                <c:pt idx="2079">
                  <c:v>42741</c:v>
                </c:pt>
                <c:pt idx="2080">
                  <c:v>42740</c:v>
                </c:pt>
                <c:pt idx="2081">
                  <c:v>42739</c:v>
                </c:pt>
                <c:pt idx="2082">
                  <c:v>42738</c:v>
                </c:pt>
                <c:pt idx="2083">
                  <c:v>42734</c:v>
                </c:pt>
                <c:pt idx="2084">
                  <c:v>42733</c:v>
                </c:pt>
                <c:pt idx="2085">
                  <c:v>42732</c:v>
                </c:pt>
                <c:pt idx="2086">
                  <c:v>42727</c:v>
                </c:pt>
                <c:pt idx="2087">
                  <c:v>42726</c:v>
                </c:pt>
                <c:pt idx="2088">
                  <c:v>42725</c:v>
                </c:pt>
                <c:pt idx="2089">
                  <c:v>42724</c:v>
                </c:pt>
                <c:pt idx="2090">
                  <c:v>42723</c:v>
                </c:pt>
                <c:pt idx="2091">
                  <c:v>42720</c:v>
                </c:pt>
                <c:pt idx="2092">
                  <c:v>42719</c:v>
                </c:pt>
                <c:pt idx="2093">
                  <c:v>42718</c:v>
                </c:pt>
                <c:pt idx="2094">
                  <c:v>42717</c:v>
                </c:pt>
                <c:pt idx="2095">
                  <c:v>42716</c:v>
                </c:pt>
                <c:pt idx="2096">
                  <c:v>42713</c:v>
                </c:pt>
                <c:pt idx="2097">
                  <c:v>42712</c:v>
                </c:pt>
                <c:pt idx="2098">
                  <c:v>42711</c:v>
                </c:pt>
                <c:pt idx="2099">
                  <c:v>42710</c:v>
                </c:pt>
                <c:pt idx="2100">
                  <c:v>42709</c:v>
                </c:pt>
                <c:pt idx="2101">
                  <c:v>42706</c:v>
                </c:pt>
                <c:pt idx="2102">
                  <c:v>42705</c:v>
                </c:pt>
                <c:pt idx="2103">
                  <c:v>42704</c:v>
                </c:pt>
                <c:pt idx="2104">
                  <c:v>42703</c:v>
                </c:pt>
                <c:pt idx="2105">
                  <c:v>42702</c:v>
                </c:pt>
                <c:pt idx="2106">
                  <c:v>42699</c:v>
                </c:pt>
                <c:pt idx="2107">
                  <c:v>42698</c:v>
                </c:pt>
                <c:pt idx="2108">
                  <c:v>42697</c:v>
                </c:pt>
                <c:pt idx="2109">
                  <c:v>42696</c:v>
                </c:pt>
                <c:pt idx="2110">
                  <c:v>42695</c:v>
                </c:pt>
                <c:pt idx="2111">
                  <c:v>42692</c:v>
                </c:pt>
                <c:pt idx="2112">
                  <c:v>42691</c:v>
                </c:pt>
                <c:pt idx="2113">
                  <c:v>42690</c:v>
                </c:pt>
                <c:pt idx="2114">
                  <c:v>42689</c:v>
                </c:pt>
                <c:pt idx="2115">
                  <c:v>42688</c:v>
                </c:pt>
                <c:pt idx="2116">
                  <c:v>42685</c:v>
                </c:pt>
                <c:pt idx="2117">
                  <c:v>42684</c:v>
                </c:pt>
                <c:pt idx="2118">
                  <c:v>42683</c:v>
                </c:pt>
                <c:pt idx="2119">
                  <c:v>42682</c:v>
                </c:pt>
                <c:pt idx="2120">
                  <c:v>42681</c:v>
                </c:pt>
                <c:pt idx="2121">
                  <c:v>42678</c:v>
                </c:pt>
                <c:pt idx="2122">
                  <c:v>42677</c:v>
                </c:pt>
                <c:pt idx="2123">
                  <c:v>42676</c:v>
                </c:pt>
                <c:pt idx="2124">
                  <c:v>42675</c:v>
                </c:pt>
                <c:pt idx="2125">
                  <c:v>42674</c:v>
                </c:pt>
                <c:pt idx="2126">
                  <c:v>42671</c:v>
                </c:pt>
                <c:pt idx="2127">
                  <c:v>42670</c:v>
                </c:pt>
                <c:pt idx="2128">
                  <c:v>42669</c:v>
                </c:pt>
                <c:pt idx="2129">
                  <c:v>42668</c:v>
                </c:pt>
                <c:pt idx="2130">
                  <c:v>42667</c:v>
                </c:pt>
                <c:pt idx="2131">
                  <c:v>42664</c:v>
                </c:pt>
                <c:pt idx="2132">
                  <c:v>42663</c:v>
                </c:pt>
                <c:pt idx="2133">
                  <c:v>42662</c:v>
                </c:pt>
                <c:pt idx="2134">
                  <c:v>42661</c:v>
                </c:pt>
                <c:pt idx="2135">
                  <c:v>42660</c:v>
                </c:pt>
                <c:pt idx="2136">
                  <c:v>42657</c:v>
                </c:pt>
                <c:pt idx="2137">
                  <c:v>42656</c:v>
                </c:pt>
                <c:pt idx="2138">
                  <c:v>42655</c:v>
                </c:pt>
                <c:pt idx="2139">
                  <c:v>42654</c:v>
                </c:pt>
                <c:pt idx="2140">
                  <c:v>42653</c:v>
                </c:pt>
                <c:pt idx="2141">
                  <c:v>42650</c:v>
                </c:pt>
                <c:pt idx="2142">
                  <c:v>42649</c:v>
                </c:pt>
                <c:pt idx="2143">
                  <c:v>42648</c:v>
                </c:pt>
                <c:pt idx="2144">
                  <c:v>42647</c:v>
                </c:pt>
                <c:pt idx="2145">
                  <c:v>42646</c:v>
                </c:pt>
                <c:pt idx="2146">
                  <c:v>42643</c:v>
                </c:pt>
                <c:pt idx="2147">
                  <c:v>42642</c:v>
                </c:pt>
                <c:pt idx="2148">
                  <c:v>42641</c:v>
                </c:pt>
                <c:pt idx="2149">
                  <c:v>42640</c:v>
                </c:pt>
                <c:pt idx="2150">
                  <c:v>42639</c:v>
                </c:pt>
                <c:pt idx="2151">
                  <c:v>42636</c:v>
                </c:pt>
                <c:pt idx="2152">
                  <c:v>42635</c:v>
                </c:pt>
                <c:pt idx="2153">
                  <c:v>42634</c:v>
                </c:pt>
                <c:pt idx="2154">
                  <c:v>42633</c:v>
                </c:pt>
                <c:pt idx="2155">
                  <c:v>42632</c:v>
                </c:pt>
                <c:pt idx="2156">
                  <c:v>42629</c:v>
                </c:pt>
                <c:pt idx="2157">
                  <c:v>42628</c:v>
                </c:pt>
                <c:pt idx="2158">
                  <c:v>42627</c:v>
                </c:pt>
                <c:pt idx="2159">
                  <c:v>42626</c:v>
                </c:pt>
                <c:pt idx="2160">
                  <c:v>42625</c:v>
                </c:pt>
                <c:pt idx="2161">
                  <c:v>42622</c:v>
                </c:pt>
                <c:pt idx="2162">
                  <c:v>42621</c:v>
                </c:pt>
                <c:pt idx="2163">
                  <c:v>42620</c:v>
                </c:pt>
                <c:pt idx="2164">
                  <c:v>42619</c:v>
                </c:pt>
                <c:pt idx="2165">
                  <c:v>42618</c:v>
                </c:pt>
                <c:pt idx="2166">
                  <c:v>42615</c:v>
                </c:pt>
                <c:pt idx="2167">
                  <c:v>42614</c:v>
                </c:pt>
                <c:pt idx="2168">
                  <c:v>42613</c:v>
                </c:pt>
                <c:pt idx="2169">
                  <c:v>42612</c:v>
                </c:pt>
                <c:pt idx="2170">
                  <c:v>42608</c:v>
                </c:pt>
                <c:pt idx="2171">
                  <c:v>42607</c:v>
                </c:pt>
                <c:pt idx="2172">
                  <c:v>42606</c:v>
                </c:pt>
                <c:pt idx="2173">
                  <c:v>42605</c:v>
                </c:pt>
                <c:pt idx="2174">
                  <c:v>42604</c:v>
                </c:pt>
                <c:pt idx="2175">
                  <c:v>42601</c:v>
                </c:pt>
                <c:pt idx="2176">
                  <c:v>42600</c:v>
                </c:pt>
                <c:pt idx="2177">
                  <c:v>42599</c:v>
                </c:pt>
                <c:pt idx="2178">
                  <c:v>42598</c:v>
                </c:pt>
                <c:pt idx="2179">
                  <c:v>42597</c:v>
                </c:pt>
                <c:pt idx="2180">
                  <c:v>42594</c:v>
                </c:pt>
                <c:pt idx="2181">
                  <c:v>42593</c:v>
                </c:pt>
                <c:pt idx="2182">
                  <c:v>42592</c:v>
                </c:pt>
                <c:pt idx="2183">
                  <c:v>42591</c:v>
                </c:pt>
                <c:pt idx="2184">
                  <c:v>42590</c:v>
                </c:pt>
                <c:pt idx="2185">
                  <c:v>42587</c:v>
                </c:pt>
                <c:pt idx="2186">
                  <c:v>42586</c:v>
                </c:pt>
                <c:pt idx="2187">
                  <c:v>42585</c:v>
                </c:pt>
                <c:pt idx="2188">
                  <c:v>42584</c:v>
                </c:pt>
                <c:pt idx="2189">
                  <c:v>42583</c:v>
                </c:pt>
                <c:pt idx="2190">
                  <c:v>42580</c:v>
                </c:pt>
                <c:pt idx="2191">
                  <c:v>42579</c:v>
                </c:pt>
                <c:pt idx="2192">
                  <c:v>42578</c:v>
                </c:pt>
                <c:pt idx="2193">
                  <c:v>42577</c:v>
                </c:pt>
                <c:pt idx="2194">
                  <c:v>42576</c:v>
                </c:pt>
                <c:pt idx="2195">
                  <c:v>42573</c:v>
                </c:pt>
                <c:pt idx="2196">
                  <c:v>42572</c:v>
                </c:pt>
                <c:pt idx="2197">
                  <c:v>42571</c:v>
                </c:pt>
                <c:pt idx="2198">
                  <c:v>42570</c:v>
                </c:pt>
                <c:pt idx="2199">
                  <c:v>42569</c:v>
                </c:pt>
                <c:pt idx="2200">
                  <c:v>42566</c:v>
                </c:pt>
                <c:pt idx="2201">
                  <c:v>42565</c:v>
                </c:pt>
                <c:pt idx="2202">
                  <c:v>42564</c:v>
                </c:pt>
                <c:pt idx="2203">
                  <c:v>42563</c:v>
                </c:pt>
                <c:pt idx="2204">
                  <c:v>42562</c:v>
                </c:pt>
                <c:pt idx="2205">
                  <c:v>42559</c:v>
                </c:pt>
                <c:pt idx="2206">
                  <c:v>42558</c:v>
                </c:pt>
                <c:pt idx="2207">
                  <c:v>42557</c:v>
                </c:pt>
                <c:pt idx="2208">
                  <c:v>42556</c:v>
                </c:pt>
                <c:pt idx="2209">
                  <c:v>42555</c:v>
                </c:pt>
                <c:pt idx="2210">
                  <c:v>42552</c:v>
                </c:pt>
                <c:pt idx="2211">
                  <c:v>42551</c:v>
                </c:pt>
                <c:pt idx="2212">
                  <c:v>42550</c:v>
                </c:pt>
                <c:pt idx="2213">
                  <c:v>42549</c:v>
                </c:pt>
                <c:pt idx="2214">
                  <c:v>42548</c:v>
                </c:pt>
                <c:pt idx="2215">
                  <c:v>42545</c:v>
                </c:pt>
                <c:pt idx="2216">
                  <c:v>42544</c:v>
                </c:pt>
                <c:pt idx="2217">
                  <c:v>42543</c:v>
                </c:pt>
                <c:pt idx="2218">
                  <c:v>42542</c:v>
                </c:pt>
                <c:pt idx="2219">
                  <c:v>42541</c:v>
                </c:pt>
                <c:pt idx="2220">
                  <c:v>42538</c:v>
                </c:pt>
                <c:pt idx="2221">
                  <c:v>42537</c:v>
                </c:pt>
                <c:pt idx="2222">
                  <c:v>42536</c:v>
                </c:pt>
                <c:pt idx="2223">
                  <c:v>42535</c:v>
                </c:pt>
                <c:pt idx="2224">
                  <c:v>42534</c:v>
                </c:pt>
                <c:pt idx="2225">
                  <c:v>42531</c:v>
                </c:pt>
                <c:pt idx="2226">
                  <c:v>42530</c:v>
                </c:pt>
                <c:pt idx="2227">
                  <c:v>42529</c:v>
                </c:pt>
                <c:pt idx="2228">
                  <c:v>42528</c:v>
                </c:pt>
                <c:pt idx="2229">
                  <c:v>42527</c:v>
                </c:pt>
                <c:pt idx="2230">
                  <c:v>42524</c:v>
                </c:pt>
                <c:pt idx="2231">
                  <c:v>42523</c:v>
                </c:pt>
                <c:pt idx="2232">
                  <c:v>42522</c:v>
                </c:pt>
                <c:pt idx="2233">
                  <c:v>42521</c:v>
                </c:pt>
                <c:pt idx="2234">
                  <c:v>42517</c:v>
                </c:pt>
                <c:pt idx="2235">
                  <c:v>42516</c:v>
                </c:pt>
                <c:pt idx="2236">
                  <c:v>42515</c:v>
                </c:pt>
                <c:pt idx="2237">
                  <c:v>42514</c:v>
                </c:pt>
                <c:pt idx="2238">
                  <c:v>42513</c:v>
                </c:pt>
                <c:pt idx="2239">
                  <c:v>42510</c:v>
                </c:pt>
                <c:pt idx="2240">
                  <c:v>42509</c:v>
                </c:pt>
                <c:pt idx="2241">
                  <c:v>42508</c:v>
                </c:pt>
                <c:pt idx="2242">
                  <c:v>42507</c:v>
                </c:pt>
                <c:pt idx="2243">
                  <c:v>42506</c:v>
                </c:pt>
                <c:pt idx="2244">
                  <c:v>42503</c:v>
                </c:pt>
                <c:pt idx="2245">
                  <c:v>42502</c:v>
                </c:pt>
                <c:pt idx="2246">
                  <c:v>42501</c:v>
                </c:pt>
                <c:pt idx="2247">
                  <c:v>42500</c:v>
                </c:pt>
                <c:pt idx="2248">
                  <c:v>42499</c:v>
                </c:pt>
                <c:pt idx="2249">
                  <c:v>42496</c:v>
                </c:pt>
                <c:pt idx="2250">
                  <c:v>42495</c:v>
                </c:pt>
                <c:pt idx="2251">
                  <c:v>42494</c:v>
                </c:pt>
                <c:pt idx="2252">
                  <c:v>42493</c:v>
                </c:pt>
                <c:pt idx="2253">
                  <c:v>42489</c:v>
                </c:pt>
                <c:pt idx="2254">
                  <c:v>42488</c:v>
                </c:pt>
                <c:pt idx="2255">
                  <c:v>42487</c:v>
                </c:pt>
                <c:pt idx="2256">
                  <c:v>42486</c:v>
                </c:pt>
                <c:pt idx="2257">
                  <c:v>42485</c:v>
                </c:pt>
                <c:pt idx="2258">
                  <c:v>42482</c:v>
                </c:pt>
                <c:pt idx="2259">
                  <c:v>42481</c:v>
                </c:pt>
                <c:pt idx="2260">
                  <c:v>42480</c:v>
                </c:pt>
                <c:pt idx="2261">
                  <c:v>42479</c:v>
                </c:pt>
                <c:pt idx="2262">
                  <c:v>42478</c:v>
                </c:pt>
                <c:pt idx="2263">
                  <c:v>42475</c:v>
                </c:pt>
                <c:pt idx="2264">
                  <c:v>42474</c:v>
                </c:pt>
                <c:pt idx="2265">
                  <c:v>42473</c:v>
                </c:pt>
                <c:pt idx="2266">
                  <c:v>42472</c:v>
                </c:pt>
                <c:pt idx="2267">
                  <c:v>42471</c:v>
                </c:pt>
                <c:pt idx="2268">
                  <c:v>42468</c:v>
                </c:pt>
                <c:pt idx="2269">
                  <c:v>42467</c:v>
                </c:pt>
                <c:pt idx="2270">
                  <c:v>42466</c:v>
                </c:pt>
                <c:pt idx="2271">
                  <c:v>42465</c:v>
                </c:pt>
                <c:pt idx="2272">
                  <c:v>42464</c:v>
                </c:pt>
                <c:pt idx="2273">
                  <c:v>42461</c:v>
                </c:pt>
                <c:pt idx="2274">
                  <c:v>42460</c:v>
                </c:pt>
                <c:pt idx="2275">
                  <c:v>42459</c:v>
                </c:pt>
                <c:pt idx="2276">
                  <c:v>42458</c:v>
                </c:pt>
                <c:pt idx="2277">
                  <c:v>42453</c:v>
                </c:pt>
                <c:pt idx="2278">
                  <c:v>42452</c:v>
                </c:pt>
                <c:pt idx="2279">
                  <c:v>42451</c:v>
                </c:pt>
                <c:pt idx="2280">
                  <c:v>42450</c:v>
                </c:pt>
                <c:pt idx="2281">
                  <c:v>42447</c:v>
                </c:pt>
                <c:pt idx="2282">
                  <c:v>42446</c:v>
                </c:pt>
                <c:pt idx="2283">
                  <c:v>42445</c:v>
                </c:pt>
                <c:pt idx="2284">
                  <c:v>42444</c:v>
                </c:pt>
                <c:pt idx="2285">
                  <c:v>42443</c:v>
                </c:pt>
                <c:pt idx="2286">
                  <c:v>42440</c:v>
                </c:pt>
                <c:pt idx="2287">
                  <c:v>42439</c:v>
                </c:pt>
                <c:pt idx="2288">
                  <c:v>42438</c:v>
                </c:pt>
                <c:pt idx="2289">
                  <c:v>42437</c:v>
                </c:pt>
                <c:pt idx="2290">
                  <c:v>42436</c:v>
                </c:pt>
                <c:pt idx="2291">
                  <c:v>42433</c:v>
                </c:pt>
                <c:pt idx="2292">
                  <c:v>42432</c:v>
                </c:pt>
                <c:pt idx="2293">
                  <c:v>42431</c:v>
                </c:pt>
                <c:pt idx="2294">
                  <c:v>42430</c:v>
                </c:pt>
                <c:pt idx="2295">
                  <c:v>42429</c:v>
                </c:pt>
                <c:pt idx="2296">
                  <c:v>42426</c:v>
                </c:pt>
                <c:pt idx="2297">
                  <c:v>42425</c:v>
                </c:pt>
                <c:pt idx="2298">
                  <c:v>42424</c:v>
                </c:pt>
                <c:pt idx="2299">
                  <c:v>42423</c:v>
                </c:pt>
                <c:pt idx="2300">
                  <c:v>42422</c:v>
                </c:pt>
                <c:pt idx="2301">
                  <c:v>42419</c:v>
                </c:pt>
                <c:pt idx="2302">
                  <c:v>42418</c:v>
                </c:pt>
                <c:pt idx="2303">
                  <c:v>42417</c:v>
                </c:pt>
                <c:pt idx="2304">
                  <c:v>42416</c:v>
                </c:pt>
                <c:pt idx="2305">
                  <c:v>42415</c:v>
                </c:pt>
                <c:pt idx="2306">
                  <c:v>42412</c:v>
                </c:pt>
                <c:pt idx="2307">
                  <c:v>42411</c:v>
                </c:pt>
                <c:pt idx="2308">
                  <c:v>42410</c:v>
                </c:pt>
                <c:pt idx="2309">
                  <c:v>42409</c:v>
                </c:pt>
                <c:pt idx="2310">
                  <c:v>42408</c:v>
                </c:pt>
                <c:pt idx="2311">
                  <c:v>42405</c:v>
                </c:pt>
                <c:pt idx="2312">
                  <c:v>42404</c:v>
                </c:pt>
                <c:pt idx="2313">
                  <c:v>42403</c:v>
                </c:pt>
                <c:pt idx="2314">
                  <c:v>42402</c:v>
                </c:pt>
                <c:pt idx="2315">
                  <c:v>42401</c:v>
                </c:pt>
                <c:pt idx="2316">
                  <c:v>42398</c:v>
                </c:pt>
                <c:pt idx="2317">
                  <c:v>42397</c:v>
                </c:pt>
                <c:pt idx="2318">
                  <c:v>42396</c:v>
                </c:pt>
                <c:pt idx="2319">
                  <c:v>42395</c:v>
                </c:pt>
                <c:pt idx="2320">
                  <c:v>42394</c:v>
                </c:pt>
                <c:pt idx="2321">
                  <c:v>42391</c:v>
                </c:pt>
                <c:pt idx="2322">
                  <c:v>42390</c:v>
                </c:pt>
                <c:pt idx="2323">
                  <c:v>42389</c:v>
                </c:pt>
                <c:pt idx="2324">
                  <c:v>42388</c:v>
                </c:pt>
                <c:pt idx="2325">
                  <c:v>42387</c:v>
                </c:pt>
                <c:pt idx="2326">
                  <c:v>42384</c:v>
                </c:pt>
                <c:pt idx="2327">
                  <c:v>42383</c:v>
                </c:pt>
                <c:pt idx="2328">
                  <c:v>42382</c:v>
                </c:pt>
                <c:pt idx="2329">
                  <c:v>42381</c:v>
                </c:pt>
                <c:pt idx="2330">
                  <c:v>42380</c:v>
                </c:pt>
                <c:pt idx="2331">
                  <c:v>42377</c:v>
                </c:pt>
                <c:pt idx="2332">
                  <c:v>42376</c:v>
                </c:pt>
                <c:pt idx="2333">
                  <c:v>42375</c:v>
                </c:pt>
                <c:pt idx="2334">
                  <c:v>42374</c:v>
                </c:pt>
                <c:pt idx="2335">
                  <c:v>42373</c:v>
                </c:pt>
                <c:pt idx="2336">
                  <c:v>42369</c:v>
                </c:pt>
                <c:pt idx="2337">
                  <c:v>42368</c:v>
                </c:pt>
                <c:pt idx="2338">
                  <c:v>42367</c:v>
                </c:pt>
                <c:pt idx="2339">
                  <c:v>42362</c:v>
                </c:pt>
                <c:pt idx="2340">
                  <c:v>42361</c:v>
                </c:pt>
                <c:pt idx="2341">
                  <c:v>42360</c:v>
                </c:pt>
                <c:pt idx="2342">
                  <c:v>42359</c:v>
                </c:pt>
                <c:pt idx="2343">
                  <c:v>42356</c:v>
                </c:pt>
                <c:pt idx="2344">
                  <c:v>42355</c:v>
                </c:pt>
                <c:pt idx="2345">
                  <c:v>42354</c:v>
                </c:pt>
                <c:pt idx="2346">
                  <c:v>42353</c:v>
                </c:pt>
                <c:pt idx="2347">
                  <c:v>42352</c:v>
                </c:pt>
                <c:pt idx="2348">
                  <c:v>42349</c:v>
                </c:pt>
                <c:pt idx="2349">
                  <c:v>42348</c:v>
                </c:pt>
                <c:pt idx="2350">
                  <c:v>42347</c:v>
                </c:pt>
                <c:pt idx="2351">
                  <c:v>42346</c:v>
                </c:pt>
                <c:pt idx="2352">
                  <c:v>42345</c:v>
                </c:pt>
                <c:pt idx="2353">
                  <c:v>42342</c:v>
                </c:pt>
                <c:pt idx="2354">
                  <c:v>42341</c:v>
                </c:pt>
                <c:pt idx="2355">
                  <c:v>42340</c:v>
                </c:pt>
                <c:pt idx="2356">
                  <c:v>42339</c:v>
                </c:pt>
                <c:pt idx="2357">
                  <c:v>42338</c:v>
                </c:pt>
                <c:pt idx="2358">
                  <c:v>42335</c:v>
                </c:pt>
                <c:pt idx="2359">
                  <c:v>42334</c:v>
                </c:pt>
                <c:pt idx="2360">
                  <c:v>42333</c:v>
                </c:pt>
                <c:pt idx="2361">
                  <c:v>42332</c:v>
                </c:pt>
                <c:pt idx="2362">
                  <c:v>42331</c:v>
                </c:pt>
                <c:pt idx="2363">
                  <c:v>42328</c:v>
                </c:pt>
                <c:pt idx="2364">
                  <c:v>42327</c:v>
                </c:pt>
                <c:pt idx="2365">
                  <c:v>42326</c:v>
                </c:pt>
                <c:pt idx="2366">
                  <c:v>42325</c:v>
                </c:pt>
                <c:pt idx="2367">
                  <c:v>42324</c:v>
                </c:pt>
                <c:pt idx="2368">
                  <c:v>42321</c:v>
                </c:pt>
                <c:pt idx="2369">
                  <c:v>42320</c:v>
                </c:pt>
                <c:pt idx="2370">
                  <c:v>42319</c:v>
                </c:pt>
                <c:pt idx="2371">
                  <c:v>42318</c:v>
                </c:pt>
                <c:pt idx="2372">
                  <c:v>42317</c:v>
                </c:pt>
                <c:pt idx="2373">
                  <c:v>42314</c:v>
                </c:pt>
                <c:pt idx="2374">
                  <c:v>42313</c:v>
                </c:pt>
                <c:pt idx="2375">
                  <c:v>42312</c:v>
                </c:pt>
                <c:pt idx="2376">
                  <c:v>42311</c:v>
                </c:pt>
                <c:pt idx="2377">
                  <c:v>42310</c:v>
                </c:pt>
                <c:pt idx="2378">
                  <c:v>42307</c:v>
                </c:pt>
                <c:pt idx="2379">
                  <c:v>42306</c:v>
                </c:pt>
                <c:pt idx="2380">
                  <c:v>42305</c:v>
                </c:pt>
                <c:pt idx="2381">
                  <c:v>42304</c:v>
                </c:pt>
                <c:pt idx="2382">
                  <c:v>42303</c:v>
                </c:pt>
                <c:pt idx="2383">
                  <c:v>42300</c:v>
                </c:pt>
                <c:pt idx="2384">
                  <c:v>42299</c:v>
                </c:pt>
                <c:pt idx="2385">
                  <c:v>42298</c:v>
                </c:pt>
                <c:pt idx="2386">
                  <c:v>42297</c:v>
                </c:pt>
                <c:pt idx="2387">
                  <c:v>42296</c:v>
                </c:pt>
                <c:pt idx="2388">
                  <c:v>42293</c:v>
                </c:pt>
                <c:pt idx="2389">
                  <c:v>42292</c:v>
                </c:pt>
                <c:pt idx="2390">
                  <c:v>42291</c:v>
                </c:pt>
                <c:pt idx="2391">
                  <c:v>42290</c:v>
                </c:pt>
                <c:pt idx="2392">
                  <c:v>42289</c:v>
                </c:pt>
                <c:pt idx="2393">
                  <c:v>42286</c:v>
                </c:pt>
                <c:pt idx="2394">
                  <c:v>42285</c:v>
                </c:pt>
                <c:pt idx="2395">
                  <c:v>42284</c:v>
                </c:pt>
                <c:pt idx="2396">
                  <c:v>42283</c:v>
                </c:pt>
                <c:pt idx="2397">
                  <c:v>42282</c:v>
                </c:pt>
                <c:pt idx="2398">
                  <c:v>42279</c:v>
                </c:pt>
                <c:pt idx="2399">
                  <c:v>42278</c:v>
                </c:pt>
                <c:pt idx="2400">
                  <c:v>42277</c:v>
                </c:pt>
                <c:pt idx="2401">
                  <c:v>42276</c:v>
                </c:pt>
                <c:pt idx="2402">
                  <c:v>42275</c:v>
                </c:pt>
                <c:pt idx="2403">
                  <c:v>42272</c:v>
                </c:pt>
                <c:pt idx="2404">
                  <c:v>42271</c:v>
                </c:pt>
                <c:pt idx="2405">
                  <c:v>42270</c:v>
                </c:pt>
                <c:pt idx="2406">
                  <c:v>42269</c:v>
                </c:pt>
                <c:pt idx="2407">
                  <c:v>42268</c:v>
                </c:pt>
                <c:pt idx="2408">
                  <c:v>42265</c:v>
                </c:pt>
                <c:pt idx="2409">
                  <c:v>42264</c:v>
                </c:pt>
                <c:pt idx="2410">
                  <c:v>42263</c:v>
                </c:pt>
                <c:pt idx="2411">
                  <c:v>42262</c:v>
                </c:pt>
                <c:pt idx="2412">
                  <c:v>42261</c:v>
                </c:pt>
                <c:pt idx="2413">
                  <c:v>42258</c:v>
                </c:pt>
                <c:pt idx="2414">
                  <c:v>42257</c:v>
                </c:pt>
                <c:pt idx="2415">
                  <c:v>42256</c:v>
                </c:pt>
                <c:pt idx="2416">
                  <c:v>42255</c:v>
                </c:pt>
                <c:pt idx="2417">
                  <c:v>42254</c:v>
                </c:pt>
                <c:pt idx="2418">
                  <c:v>42251</c:v>
                </c:pt>
                <c:pt idx="2419">
                  <c:v>42250</c:v>
                </c:pt>
                <c:pt idx="2420">
                  <c:v>42249</c:v>
                </c:pt>
                <c:pt idx="2421">
                  <c:v>42248</c:v>
                </c:pt>
                <c:pt idx="2422">
                  <c:v>42244</c:v>
                </c:pt>
                <c:pt idx="2423">
                  <c:v>42243</c:v>
                </c:pt>
                <c:pt idx="2424">
                  <c:v>42242</c:v>
                </c:pt>
                <c:pt idx="2425">
                  <c:v>42241</c:v>
                </c:pt>
                <c:pt idx="2426">
                  <c:v>42240</c:v>
                </c:pt>
                <c:pt idx="2427">
                  <c:v>42237</c:v>
                </c:pt>
                <c:pt idx="2428">
                  <c:v>42236</c:v>
                </c:pt>
                <c:pt idx="2429">
                  <c:v>42235</c:v>
                </c:pt>
                <c:pt idx="2430">
                  <c:v>42234</c:v>
                </c:pt>
                <c:pt idx="2431">
                  <c:v>42233</c:v>
                </c:pt>
                <c:pt idx="2432">
                  <c:v>42230</c:v>
                </c:pt>
                <c:pt idx="2433">
                  <c:v>42229</c:v>
                </c:pt>
                <c:pt idx="2434">
                  <c:v>42228</c:v>
                </c:pt>
                <c:pt idx="2435">
                  <c:v>42227</c:v>
                </c:pt>
                <c:pt idx="2436">
                  <c:v>42226</c:v>
                </c:pt>
                <c:pt idx="2437">
                  <c:v>42223</c:v>
                </c:pt>
                <c:pt idx="2438">
                  <c:v>42222</c:v>
                </c:pt>
                <c:pt idx="2439">
                  <c:v>42221</c:v>
                </c:pt>
                <c:pt idx="2440">
                  <c:v>42220</c:v>
                </c:pt>
                <c:pt idx="2441">
                  <c:v>42219</c:v>
                </c:pt>
                <c:pt idx="2442">
                  <c:v>42216</c:v>
                </c:pt>
                <c:pt idx="2443">
                  <c:v>42215</c:v>
                </c:pt>
                <c:pt idx="2444">
                  <c:v>42214</c:v>
                </c:pt>
                <c:pt idx="2445">
                  <c:v>42213</c:v>
                </c:pt>
                <c:pt idx="2446">
                  <c:v>42212</c:v>
                </c:pt>
                <c:pt idx="2447">
                  <c:v>42209</c:v>
                </c:pt>
                <c:pt idx="2448">
                  <c:v>42208</c:v>
                </c:pt>
                <c:pt idx="2449">
                  <c:v>42207</c:v>
                </c:pt>
                <c:pt idx="2450">
                  <c:v>42206</c:v>
                </c:pt>
                <c:pt idx="2451">
                  <c:v>42205</c:v>
                </c:pt>
                <c:pt idx="2452">
                  <c:v>42202</c:v>
                </c:pt>
                <c:pt idx="2453">
                  <c:v>42201</c:v>
                </c:pt>
                <c:pt idx="2454">
                  <c:v>42200</c:v>
                </c:pt>
                <c:pt idx="2455">
                  <c:v>42199</c:v>
                </c:pt>
                <c:pt idx="2456">
                  <c:v>42198</c:v>
                </c:pt>
                <c:pt idx="2457">
                  <c:v>42195</c:v>
                </c:pt>
                <c:pt idx="2458">
                  <c:v>42194</c:v>
                </c:pt>
                <c:pt idx="2459">
                  <c:v>42193</c:v>
                </c:pt>
                <c:pt idx="2460">
                  <c:v>42192</c:v>
                </c:pt>
                <c:pt idx="2461">
                  <c:v>42191</c:v>
                </c:pt>
                <c:pt idx="2462">
                  <c:v>42188</c:v>
                </c:pt>
                <c:pt idx="2463">
                  <c:v>42187</c:v>
                </c:pt>
                <c:pt idx="2464">
                  <c:v>42186</c:v>
                </c:pt>
                <c:pt idx="2465">
                  <c:v>42185</c:v>
                </c:pt>
                <c:pt idx="2466">
                  <c:v>42184</c:v>
                </c:pt>
                <c:pt idx="2467">
                  <c:v>42181</c:v>
                </c:pt>
                <c:pt idx="2468">
                  <c:v>42180</c:v>
                </c:pt>
                <c:pt idx="2469">
                  <c:v>42179</c:v>
                </c:pt>
                <c:pt idx="2470">
                  <c:v>42178</c:v>
                </c:pt>
                <c:pt idx="2471">
                  <c:v>42177</c:v>
                </c:pt>
                <c:pt idx="2472">
                  <c:v>42174</c:v>
                </c:pt>
                <c:pt idx="2473">
                  <c:v>42173</c:v>
                </c:pt>
                <c:pt idx="2474">
                  <c:v>42172</c:v>
                </c:pt>
                <c:pt idx="2475">
                  <c:v>42171</c:v>
                </c:pt>
                <c:pt idx="2476">
                  <c:v>42170</c:v>
                </c:pt>
                <c:pt idx="2477">
                  <c:v>42167</c:v>
                </c:pt>
                <c:pt idx="2478">
                  <c:v>42166</c:v>
                </c:pt>
                <c:pt idx="2479">
                  <c:v>42165</c:v>
                </c:pt>
                <c:pt idx="2480">
                  <c:v>42164</c:v>
                </c:pt>
                <c:pt idx="2481">
                  <c:v>42163</c:v>
                </c:pt>
                <c:pt idx="2482">
                  <c:v>42160</c:v>
                </c:pt>
                <c:pt idx="2483">
                  <c:v>42159</c:v>
                </c:pt>
                <c:pt idx="2484">
                  <c:v>42158</c:v>
                </c:pt>
                <c:pt idx="2485">
                  <c:v>42157</c:v>
                </c:pt>
                <c:pt idx="2486">
                  <c:v>42156</c:v>
                </c:pt>
                <c:pt idx="2487">
                  <c:v>42153</c:v>
                </c:pt>
                <c:pt idx="2488">
                  <c:v>42152</c:v>
                </c:pt>
                <c:pt idx="2489">
                  <c:v>42151</c:v>
                </c:pt>
                <c:pt idx="2490">
                  <c:v>42150</c:v>
                </c:pt>
                <c:pt idx="2491">
                  <c:v>42146</c:v>
                </c:pt>
                <c:pt idx="2492">
                  <c:v>42145</c:v>
                </c:pt>
                <c:pt idx="2493">
                  <c:v>42144</c:v>
                </c:pt>
                <c:pt idx="2494">
                  <c:v>42143</c:v>
                </c:pt>
                <c:pt idx="2495">
                  <c:v>42142</c:v>
                </c:pt>
                <c:pt idx="2496">
                  <c:v>42139</c:v>
                </c:pt>
                <c:pt idx="2497">
                  <c:v>42138</c:v>
                </c:pt>
                <c:pt idx="2498">
                  <c:v>42137</c:v>
                </c:pt>
                <c:pt idx="2499">
                  <c:v>42136</c:v>
                </c:pt>
                <c:pt idx="2500">
                  <c:v>42135</c:v>
                </c:pt>
                <c:pt idx="2501">
                  <c:v>42132</c:v>
                </c:pt>
                <c:pt idx="2502">
                  <c:v>42131</c:v>
                </c:pt>
                <c:pt idx="2503">
                  <c:v>42130</c:v>
                </c:pt>
                <c:pt idx="2504">
                  <c:v>42129</c:v>
                </c:pt>
                <c:pt idx="2505">
                  <c:v>42125</c:v>
                </c:pt>
                <c:pt idx="2506">
                  <c:v>42124</c:v>
                </c:pt>
                <c:pt idx="2507">
                  <c:v>42123</c:v>
                </c:pt>
                <c:pt idx="2508">
                  <c:v>42122</c:v>
                </c:pt>
                <c:pt idx="2509">
                  <c:v>42121</c:v>
                </c:pt>
                <c:pt idx="2510">
                  <c:v>42118</c:v>
                </c:pt>
                <c:pt idx="2511">
                  <c:v>42117</c:v>
                </c:pt>
                <c:pt idx="2512">
                  <c:v>42116</c:v>
                </c:pt>
                <c:pt idx="2513">
                  <c:v>42115</c:v>
                </c:pt>
                <c:pt idx="2514">
                  <c:v>42114</c:v>
                </c:pt>
                <c:pt idx="2515">
                  <c:v>42111</c:v>
                </c:pt>
                <c:pt idx="2516">
                  <c:v>42110</c:v>
                </c:pt>
                <c:pt idx="2517">
                  <c:v>42109</c:v>
                </c:pt>
                <c:pt idx="2518">
                  <c:v>42108</c:v>
                </c:pt>
                <c:pt idx="2519">
                  <c:v>42107</c:v>
                </c:pt>
                <c:pt idx="2520">
                  <c:v>42104</c:v>
                </c:pt>
                <c:pt idx="2521">
                  <c:v>42103</c:v>
                </c:pt>
                <c:pt idx="2522">
                  <c:v>42102</c:v>
                </c:pt>
                <c:pt idx="2523">
                  <c:v>42101</c:v>
                </c:pt>
                <c:pt idx="2524">
                  <c:v>42096</c:v>
                </c:pt>
                <c:pt idx="2525">
                  <c:v>42095</c:v>
                </c:pt>
                <c:pt idx="2526">
                  <c:v>42094</c:v>
                </c:pt>
                <c:pt idx="2527">
                  <c:v>42093</c:v>
                </c:pt>
                <c:pt idx="2528">
                  <c:v>42090</c:v>
                </c:pt>
                <c:pt idx="2529">
                  <c:v>42089</c:v>
                </c:pt>
                <c:pt idx="2530">
                  <c:v>42088</c:v>
                </c:pt>
                <c:pt idx="2531">
                  <c:v>42087</c:v>
                </c:pt>
                <c:pt idx="2532">
                  <c:v>42086</c:v>
                </c:pt>
                <c:pt idx="2533">
                  <c:v>42083</c:v>
                </c:pt>
                <c:pt idx="2534">
                  <c:v>42082</c:v>
                </c:pt>
                <c:pt idx="2535">
                  <c:v>42081</c:v>
                </c:pt>
                <c:pt idx="2536">
                  <c:v>42080</c:v>
                </c:pt>
                <c:pt idx="2537">
                  <c:v>42079</c:v>
                </c:pt>
                <c:pt idx="2538">
                  <c:v>42076</c:v>
                </c:pt>
                <c:pt idx="2539">
                  <c:v>42075</c:v>
                </c:pt>
                <c:pt idx="2540">
                  <c:v>42074</c:v>
                </c:pt>
                <c:pt idx="2541">
                  <c:v>42073</c:v>
                </c:pt>
                <c:pt idx="2542">
                  <c:v>42072</c:v>
                </c:pt>
                <c:pt idx="2543">
                  <c:v>42069</c:v>
                </c:pt>
                <c:pt idx="2544">
                  <c:v>42068</c:v>
                </c:pt>
                <c:pt idx="2545">
                  <c:v>42067</c:v>
                </c:pt>
                <c:pt idx="2546">
                  <c:v>42066</c:v>
                </c:pt>
                <c:pt idx="2547">
                  <c:v>42065</c:v>
                </c:pt>
                <c:pt idx="2548">
                  <c:v>42062</c:v>
                </c:pt>
                <c:pt idx="2549">
                  <c:v>42061</c:v>
                </c:pt>
                <c:pt idx="2550">
                  <c:v>42060</c:v>
                </c:pt>
                <c:pt idx="2551">
                  <c:v>42059</c:v>
                </c:pt>
                <c:pt idx="2552">
                  <c:v>42058</c:v>
                </c:pt>
                <c:pt idx="2553">
                  <c:v>42055</c:v>
                </c:pt>
                <c:pt idx="2554">
                  <c:v>42054</c:v>
                </c:pt>
                <c:pt idx="2555">
                  <c:v>42053</c:v>
                </c:pt>
                <c:pt idx="2556">
                  <c:v>42052</c:v>
                </c:pt>
                <c:pt idx="2557">
                  <c:v>42051</c:v>
                </c:pt>
                <c:pt idx="2558">
                  <c:v>42048</c:v>
                </c:pt>
                <c:pt idx="2559">
                  <c:v>42047</c:v>
                </c:pt>
                <c:pt idx="2560">
                  <c:v>42046</c:v>
                </c:pt>
                <c:pt idx="2561">
                  <c:v>42045</c:v>
                </c:pt>
                <c:pt idx="2562">
                  <c:v>42044</c:v>
                </c:pt>
                <c:pt idx="2563">
                  <c:v>42041</c:v>
                </c:pt>
                <c:pt idx="2564">
                  <c:v>42040</c:v>
                </c:pt>
                <c:pt idx="2565">
                  <c:v>42039</c:v>
                </c:pt>
                <c:pt idx="2566">
                  <c:v>42038</c:v>
                </c:pt>
                <c:pt idx="2567">
                  <c:v>42037</c:v>
                </c:pt>
                <c:pt idx="2568">
                  <c:v>42034</c:v>
                </c:pt>
                <c:pt idx="2569">
                  <c:v>42033</c:v>
                </c:pt>
                <c:pt idx="2570">
                  <c:v>42032</c:v>
                </c:pt>
                <c:pt idx="2571">
                  <c:v>42031</c:v>
                </c:pt>
                <c:pt idx="2572">
                  <c:v>42030</c:v>
                </c:pt>
                <c:pt idx="2573">
                  <c:v>42027</c:v>
                </c:pt>
                <c:pt idx="2574">
                  <c:v>42026</c:v>
                </c:pt>
                <c:pt idx="2575">
                  <c:v>42025</c:v>
                </c:pt>
                <c:pt idx="2576">
                  <c:v>42024</c:v>
                </c:pt>
                <c:pt idx="2577">
                  <c:v>42023</c:v>
                </c:pt>
                <c:pt idx="2578">
                  <c:v>42020</c:v>
                </c:pt>
                <c:pt idx="2579">
                  <c:v>42019</c:v>
                </c:pt>
                <c:pt idx="2580">
                  <c:v>42018</c:v>
                </c:pt>
                <c:pt idx="2581">
                  <c:v>42017</c:v>
                </c:pt>
                <c:pt idx="2582">
                  <c:v>42016</c:v>
                </c:pt>
                <c:pt idx="2583">
                  <c:v>42013</c:v>
                </c:pt>
                <c:pt idx="2584">
                  <c:v>42012</c:v>
                </c:pt>
                <c:pt idx="2585">
                  <c:v>42011</c:v>
                </c:pt>
                <c:pt idx="2586">
                  <c:v>42010</c:v>
                </c:pt>
                <c:pt idx="2587">
                  <c:v>42009</c:v>
                </c:pt>
                <c:pt idx="2588">
                  <c:v>42006</c:v>
                </c:pt>
                <c:pt idx="2589">
                  <c:v>42004</c:v>
                </c:pt>
                <c:pt idx="2590">
                  <c:v>42003</c:v>
                </c:pt>
                <c:pt idx="2591">
                  <c:v>42002</c:v>
                </c:pt>
                <c:pt idx="2592">
                  <c:v>41997</c:v>
                </c:pt>
                <c:pt idx="2593">
                  <c:v>41996</c:v>
                </c:pt>
                <c:pt idx="2594">
                  <c:v>41995</c:v>
                </c:pt>
                <c:pt idx="2595">
                  <c:v>41992</c:v>
                </c:pt>
                <c:pt idx="2596">
                  <c:v>41991</c:v>
                </c:pt>
                <c:pt idx="2597">
                  <c:v>41990</c:v>
                </c:pt>
                <c:pt idx="2598">
                  <c:v>41989</c:v>
                </c:pt>
                <c:pt idx="2599">
                  <c:v>41988</c:v>
                </c:pt>
                <c:pt idx="2600">
                  <c:v>41985</c:v>
                </c:pt>
                <c:pt idx="2601">
                  <c:v>41984</c:v>
                </c:pt>
                <c:pt idx="2602">
                  <c:v>41983</c:v>
                </c:pt>
                <c:pt idx="2603">
                  <c:v>41982</c:v>
                </c:pt>
                <c:pt idx="2604">
                  <c:v>41981</c:v>
                </c:pt>
                <c:pt idx="2605">
                  <c:v>41978</c:v>
                </c:pt>
                <c:pt idx="2606">
                  <c:v>41977</c:v>
                </c:pt>
                <c:pt idx="2607">
                  <c:v>41976</c:v>
                </c:pt>
                <c:pt idx="2608">
                  <c:v>41975</c:v>
                </c:pt>
                <c:pt idx="2609">
                  <c:v>41974</c:v>
                </c:pt>
                <c:pt idx="2610">
                  <c:v>41971</c:v>
                </c:pt>
                <c:pt idx="2611">
                  <c:v>41970</c:v>
                </c:pt>
                <c:pt idx="2612">
                  <c:v>41969</c:v>
                </c:pt>
                <c:pt idx="2613">
                  <c:v>41968</c:v>
                </c:pt>
                <c:pt idx="2614">
                  <c:v>41967</c:v>
                </c:pt>
                <c:pt idx="2615">
                  <c:v>41964</c:v>
                </c:pt>
                <c:pt idx="2616">
                  <c:v>41963</c:v>
                </c:pt>
                <c:pt idx="2617">
                  <c:v>41962</c:v>
                </c:pt>
                <c:pt idx="2618">
                  <c:v>41961</c:v>
                </c:pt>
                <c:pt idx="2619">
                  <c:v>41960</c:v>
                </c:pt>
                <c:pt idx="2620">
                  <c:v>41957</c:v>
                </c:pt>
                <c:pt idx="2621">
                  <c:v>41956</c:v>
                </c:pt>
                <c:pt idx="2622">
                  <c:v>41955</c:v>
                </c:pt>
                <c:pt idx="2623">
                  <c:v>41954</c:v>
                </c:pt>
                <c:pt idx="2624">
                  <c:v>41953</c:v>
                </c:pt>
                <c:pt idx="2625">
                  <c:v>41950</c:v>
                </c:pt>
                <c:pt idx="2626">
                  <c:v>41949</c:v>
                </c:pt>
                <c:pt idx="2627">
                  <c:v>41948</c:v>
                </c:pt>
                <c:pt idx="2628">
                  <c:v>41947</c:v>
                </c:pt>
                <c:pt idx="2629">
                  <c:v>41946</c:v>
                </c:pt>
                <c:pt idx="2630">
                  <c:v>41943</c:v>
                </c:pt>
                <c:pt idx="2631">
                  <c:v>41942</c:v>
                </c:pt>
                <c:pt idx="2632">
                  <c:v>41941</c:v>
                </c:pt>
                <c:pt idx="2633">
                  <c:v>41940</c:v>
                </c:pt>
                <c:pt idx="2634">
                  <c:v>41939</c:v>
                </c:pt>
                <c:pt idx="2635">
                  <c:v>41936</c:v>
                </c:pt>
                <c:pt idx="2636">
                  <c:v>41935</c:v>
                </c:pt>
                <c:pt idx="2637">
                  <c:v>41934</c:v>
                </c:pt>
                <c:pt idx="2638">
                  <c:v>41933</c:v>
                </c:pt>
                <c:pt idx="2639">
                  <c:v>41932</c:v>
                </c:pt>
                <c:pt idx="2640">
                  <c:v>41929</c:v>
                </c:pt>
                <c:pt idx="2641">
                  <c:v>41928</c:v>
                </c:pt>
                <c:pt idx="2642">
                  <c:v>41927</c:v>
                </c:pt>
                <c:pt idx="2643">
                  <c:v>41926</c:v>
                </c:pt>
                <c:pt idx="2644">
                  <c:v>41925</c:v>
                </c:pt>
                <c:pt idx="2645">
                  <c:v>41922</c:v>
                </c:pt>
                <c:pt idx="2646">
                  <c:v>41921</c:v>
                </c:pt>
                <c:pt idx="2647">
                  <c:v>41920</c:v>
                </c:pt>
                <c:pt idx="2648">
                  <c:v>41919</c:v>
                </c:pt>
                <c:pt idx="2649">
                  <c:v>41918</c:v>
                </c:pt>
                <c:pt idx="2650">
                  <c:v>41915</c:v>
                </c:pt>
                <c:pt idx="2651">
                  <c:v>41914</c:v>
                </c:pt>
                <c:pt idx="2652">
                  <c:v>41913</c:v>
                </c:pt>
                <c:pt idx="2653">
                  <c:v>41912</c:v>
                </c:pt>
                <c:pt idx="2654">
                  <c:v>41911</c:v>
                </c:pt>
                <c:pt idx="2655">
                  <c:v>41908</c:v>
                </c:pt>
                <c:pt idx="2656">
                  <c:v>41907</c:v>
                </c:pt>
                <c:pt idx="2657">
                  <c:v>41906</c:v>
                </c:pt>
                <c:pt idx="2658">
                  <c:v>41905</c:v>
                </c:pt>
                <c:pt idx="2659">
                  <c:v>41904</c:v>
                </c:pt>
                <c:pt idx="2660">
                  <c:v>41901</c:v>
                </c:pt>
                <c:pt idx="2661">
                  <c:v>41900</c:v>
                </c:pt>
                <c:pt idx="2662">
                  <c:v>41899</c:v>
                </c:pt>
                <c:pt idx="2663">
                  <c:v>41898</c:v>
                </c:pt>
                <c:pt idx="2664">
                  <c:v>41897</c:v>
                </c:pt>
                <c:pt idx="2665">
                  <c:v>41894</c:v>
                </c:pt>
                <c:pt idx="2666">
                  <c:v>41893</c:v>
                </c:pt>
                <c:pt idx="2667">
                  <c:v>41892</c:v>
                </c:pt>
                <c:pt idx="2668">
                  <c:v>41891</c:v>
                </c:pt>
                <c:pt idx="2669">
                  <c:v>41890</c:v>
                </c:pt>
                <c:pt idx="2670">
                  <c:v>41887</c:v>
                </c:pt>
                <c:pt idx="2671">
                  <c:v>41886</c:v>
                </c:pt>
                <c:pt idx="2672">
                  <c:v>41885</c:v>
                </c:pt>
                <c:pt idx="2673">
                  <c:v>41884</c:v>
                </c:pt>
                <c:pt idx="2674">
                  <c:v>41883</c:v>
                </c:pt>
                <c:pt idx="2675">
                  <c:v>41880</c:v>
                </c:pt>
                <c:pt idx="2676">
                  <c:v>41879</c:v>
                </c:pt>
                <c:pt idx="2677">
                  <c:v>41878</c:v>
                </c:pt>
                <c:pt idx="2678">
                  <c:v>41877</c:v>
                </c:pt>
                <c:pt idx="2679">
                  <c:v>41873</c:v>
                </c:pt>
                <c:pt idx="2680">
                  <c:v>41872</c:v>
                </c:pt>
                <c:pt idx="2681">
                  <c:v>41871</c:v>
                </c:pt>
                <c:pt idx="2682">
                  <c:v>41870</c:v>
                </c:pt>
                <c:pt idx="2683">
                  <c:v>41869</c:v>
                </c:pt>
                <c:pt idx="2684">
                  <c:v>41866</c:v>
                </c:pt>
                <c:pt idx="2685">
                  <c:v>41865</c:v>
                </c:pt>
                <c:pt idx="2686">
                  <c:v>41864</c:v>
                </c:pt>
                <c:pt idx="2687">
                  <c:v>41863</c:v>
                </c:pt>
                <c:pt idx="2688">
                  <c:v>41862</c:v>
                </c:pt>
                <c:pt idx="2689">
                  <c:v>41859</c:v>
                </c:pt>
                <c:pt idx="2690">
                  <c:v>41858</c:v>
                </c:pt>
                <c:pt idx="2691">
                  <c:v>41857</c:v>
                </c:pt>
                <c:pt idx="2692">
                  <c:v>41856</c:v>
                </c:pt>
                <c:pt idx="2693">
                  <c:v>41855</c:v>
                </c:pt>
                <c:pt idx="2694">
                  <c:v>41852</c:v>
                </c:pt>
                <c:pt idx="2695">
                  <c:v>41851</c:v>
                </c:pt>
                <c:pt idx="2696">
                  <c:v>41850</c:v>
                </c:pt>
                <c:pt idx="2697">
                  <c:v>41849</c:v>
                </c:pt>
                <c:pt idx="2698">
                  <c:v>41848</c:v>
                </c:pt>
                <c:pt idx="2699">
                  <c:v>41845</c:v>
                </c:pt>
                <c:pt idx="2700">
                  <c:v>41844</c:v>
                </c:pt>
                <c:pt idx="2701">
                  <c:v>41843</c:v>
                </c:pt>
                <c:pt idx="2702">
                  <c:v>41842</c:v>
                </c:pt>
                <c:pt idx="2703">
                  <c:v>41841</c:v>
                </c:pt>
                <c:pt idx="2704">
                  <c:v>41838</c:v>
                </c:pt>
                <c:pt idx="2705">
                  <c:v>41837</c:v>
                </c:pt>
                <c:pt idx="2706">
                  <c:v>41836</c:v>
                </c:pt>
                <c:pt idx="2707">
                  <c:v>41835</c:v>
                </c:pt>
                <c:pt idx="2708">
                  <c:v>41834</c:v>
                </c:pt>
                <c:pt idx="2709">
                  <c:v>41831</c:v>
                </c:pt>
                <c:pt idx="2710">
                  <c:v>41830</c:v>
                </c:pt>
                <c:pt idx="2711">
                  <c:v>41829</c:v>
                </c:pt>
                <c:pt idx="2712">
                  <c:v>41828</c:v>
                </c:pt>
                <c:pt idx="2713">
                  <c:v>41827</c:v>
                </c:pt>
                <c:pt idx="2714">
                  <c:v>41824</c:v>
                </c:pt>
                <c:pt idx="2715">
                  <c:v>41823</c:v>
                </c:pt>
                <c:pt idx="2716">
                  <c:v>41822</c:v>
                </c:pt>
                <c:pt idx="2717">
                  <c:v>41821</c:v>
                </c:pt>
                <c:pt idx="2718">
                  <c:v>41820</c:v>
                </c:pt>
                <c:pt idx="2719">
                  <c:v>41817</c:v>
                </c:pt>
                <c:pt idx="2720">
                  <c:v>41816</c:v>
                </c:pt>
                <c:pt idx="2721">
                  <c:v>41815</c:v>
                </c:pt>
                <c:pt idx="2722">
                  <c:v>41814</c:v>
                </c:pt>
                <c:pt idx="2723">
                  <c:v>41813</c:v>
                </c:pt>
                <c:pt idx="2724">
                  <c:v>41810</c:v>
                </c:pt>
                <c:pt idx="2725">
                  <c:v>41809</c:v>
                </c:pt>
                <c:pt idx="2726">
                  <c:v>41808</c:v>
                </c:pt>
                <c:pt idx="2727">
                  <c:v>41807</c:v>
                </c:pt>
                <c:pt idx="2728">
                  <c:v>41806</c:v>
                </c:pt>
                <c:pt idx="2729">
                  <c:v>41803</c:v>
                </c:pt>
                <c:pt idx="2730">
                  <c:v>41802</c:v>
                </c:pt>
                <c:pt idx="2731">
                  <c:v>41801</c:v>
                </c:pt>
                <c:pt idx="2732">
                  <c:v>41800</c:v>
                </c:pt>
                <c:pt idx="2733">
                  <c:v>41799</c:v>
                </c:pt>
                <c:pt idx="2734">
                  <c:v>41796</c:v>
                </c:pt>
                <c:pt idx="2735">
                  <c:v>41795</c:v>
                </c:pt>
                <c:pt idx="2736">
                  <c:v>41794</c:v>
                </c:pt>
                <c:pt idx="2737">
                  <c:v>41793</c:v>
                </c:pt>
                <c:pt idx="2738">
                  <c:v>41792</c:v>
                </c:pt>
                <c:pt idx="2739">
                  <c:v>41789</c:v>
                </c:pt>
                <c:pt idx="2740">
                  <c:v>41788</c:v>
                </c:pt>
                <c:pt idx="2741">
                  <c:v>41787</c:v>
                </c:pt>
                <c:pt idx="2742">
                  <c:v>41786</c:v>
                </c:pt>
                <c:pt idx="2743">
                  <c:v>41782</c:v>
                </c:pt>
                <c:pt idx="2744">
                  <c:v>41781</c:v>
                </c:pt>
                <c:pt idx="2745">
                  <c:v>41780</c:v>
                </c:pt>
                <c:pt idx="2746">
                  <c:v>41779</c:v>
                </c:pt>
                <c:pt idx="2747">
                  <c:v>41778</c:v>
                </c:pt>
                <c:pt idx="2748">
                  <c:v>41775</c:v>
                </c:pt>
                <c:pt idx="2749">
                  <c:v>41774</c:v>
                </c:pt>
                <c:pt idx="2750">
                  <c:v>41773</c:v>
                </c:pt>
                <c:pt idx="2751">
                  <c:v>41772</c:v>
                </c:pt>
                <c:pt idx="2752">
                  <c:v>41771</c:v>
                </c:pt>
                <c:pt idx="2753">
                  <c:v>41768</c:v>
                </c:pt>
                <c:pt idx="2754">
                  <c:v>41767</c:v>
                </c:pt>
                <c:pt idx="2755">
                  <c:v>41766</c:v>
                </c:pt>
                <c:pt idx="2756">
                  <c:v>41765</c:v>
                </c:pt>
                <c:pt idx="2757">
                  <c:v>41761</c:v>
                </c:pt>
                <c:pt idx="2758">
                  <c:v>41760</c:v>
                </c:pt>
                <c:pt idx="2759">
                  <c:v>41759</c:v>
                </c:pt>
                <c:pt idx="2760">
                  <c:v>41758</c:v>
                </c:pt>
                <c:pt idx="2761">
                  <c:v>41757</c:v>
                </c:pt>
                <c:pt idx="2762">
                  <c:v>41754</c:v>
                </c:pt>
                <c:pt idx="2763">
                  <c:v>41753</c:v>
                </c:pt>
                <c:pt idx="2764">
                  <c:v>41752</c:v>
                </c:pt>
                <c:pt idx="2765">
                  <c:v>41751</c:v>
                </c:pt>
                <c:pt idx="2766">
                  <c:v>41746</c:v>
                </c:pt>
                <c:pt idx="2767">
                  <c:v>41745</c:v>
                </c:pt>
                <c:pt idx="2768">
                  <c:v>41744</c:v>
                </c:pt>
                <c:pt idx="2769">
                  <c:v>41743</c:v>
                </c:pt>
                <c:pt idx="2770">
                  <c:v>41740</c:v>
                </c:pt>
                <c:pt idx="2771">
                  <c:v>41739</c:v>
                </c:pt>
                <c:pt idx="2772">
                  <c:v>41738</c:v>
                </c:pt>
                <c:pt idx="2773">
                  <c:v>41737</c:v>
                </c:pt>
                <c:pt idx="2774">
                  <c:v>41736</c:v>
                </c:pt>
                <c:pt idx="2775">
                  <c:v>41733</c:v>
                </c:pt>
                <c:pt idx="2776">
                  <c:v>41732</c:v>
                </c:pt>
                <c:pt idx="2777">
                  <c:v>41731</c:v>
                </c:pt>
                <c:pt idx="2778">
                  <c:v>41730</c:v>
                </c:pt>
                <c:pt idx="2779">
                  <c:v>41729</c:v>
                </c:pt>
                <c:pt idx="2780">
                  <c:v>41726</c:v>
                </c:pt>
                <c:pt idx="2781">
                  <c:v>41725</c:v>
                </c:pt>
                <c:pt idx="2782">
                  <c:v>41724</c:v>
                </c:pt>
                <c:pt idx="2783">
                  <c:v>41723</c:v>
                </c:pt>
                <c:pt idx="2784">
                  <c:v>41722</c:v>
                </c:pt>
                <c:pt idx="2785">
                  <c:v>41719</c:v>
                </c:pt>
                <c:pt idx="2786">
                  <c:v>41718</c:v>
                </c:pt>
                <c:pt idx="2787">
                  <c:v>41717</c:v>
                </c:pt>
                <c:pt idx="2788">
                  <c:v>41716</c:v>
                </c:pt>
                <c:pt idx="2789">
                  <c:v>41715</c:v>
                </c:pt>
                <c:pt idx="2790">
                  <c:v>41712</c:v>
                </c:pt>
                <c:pt idx="2791">
                  <c:v>41711</c:v>
                </c:pt>
                <c:pt idx="2792">
                  <c:v>41710</c:v>
                </c:pt>
                <c:pt idx="2793">
                  <c:v>41709</c:v>
                </c:pt>
                <c:pt idx="2794">
                  <c:v>41708</c:v>
                </c:pt>
                <c:pt idx="2795">
                  <c:v>41705</c:v>
                </c:pt>
                <c:pt idx="2796">
                  <c:v>41704</c:v>
                </c:pt>
                <c:pt idx="2797">
                  <c:v>41703</c:v>
                </c:pt>
                <c:pt idx="2798">
                  <c:v>41702</c:v>
                </c:pt>
                <c:pt idx="2799">
                  <c:v>41701</c:v>
                </c:pt>
                <c:pt idx="2800">
                  <c:v>41698</c:v>
                </c:pt>
                <c:pt idx="2801">
                  <c:v>41697</c:v>
                </c:pt>
                <c:pt idx="2802">
                  <c:v>41696</c:v>
                </c:pt>
                <c:pt idx="2803">
                  <c:v>41695</c:v>
                </c:pt>
                <c:pt idx="2804">
                  <c:v>41694</c:v>
                </c:pt>
                <c:pt idx="2805">
                  <c:v>41691</c:v>
                </c:pt>
                <c:pt idx="2806">
                  <c:v>41690</c:v>
                </c:pt>
                <c:pt idx="2807">
                  <c:v>41689</c:v>
                </c:pt>
                <c:pt idx="2808">
                  <c:v>41688</c:v>
                </c:pt>
                <c:pt idx="2809">
                  <c:v>41687</c:v>
                </c:pt>
                <c:pt idx="2810">
                  <c:v>41684</c:v>
                </c:pt>
                <c:pt idx="2811">
                  <c:v>41683</c:v>
                </c:pt>
                <c:pt idx="2812">
                  <c:v>41682</c:v>
                </c:pt>
                <c:pt idx="2813">
                  <c:v>41681</c:v>
                </c:pt>
                <c:pt idx="2814">
                  <c:v>41680</c:v>
                </c:pt>
                <c:pt idx="2815">
                  <c:v>41677</c:v>
                </c:pt>
                <c:pt idx="2816">
                  <c:v>41676</c:v>
                </c:pt>
                <c:pt idx="2817">
                  <c:v>41675</c:v>
                </c:pt>
                <c:pt idx="2818">
                  <c:v>41674</c:v>
                </c:pt>
                <c:pt idx="2819">
                  <c:v>41673</c:v>
                </c:pt>
                <c:pt idx="2820">
                  <c:v>41670</c:v>
                </c:pt>
                <c:pt idx="2821">
                  <c:v>41669</c:v>
                </c:pt>
                <c:pt idx="2822">
                  <c:v>41668</c:v>
                </c:pt>
                <c:pt idx="2823">
                  <c:v>41667</c:v>
                </c:pt>
                <c:pt idx="2824">
                  <c:v>41666</c:v>
                </c:pt>
                <c:pt idx="2825">
                  <c:v>41663</c:v>
                </c:pt>
                <c:pt idx="2826">
                  <c:v>41662</c:v>
                </c:pt>
                <c:pt idx="2827">
                  <c:v>41661</c:v>
                </c:pt>
                <c:pt idx="2828">
                  <c:v>41660</c:v>
                </c:pt>
                <c:pt idx="2829">
                  <c:v>41659</c:v>
                </c:pt>
                <c:pt idx="2830">
                  <c:v>41656</c:v>
                </c:pt>
                <c:pt idx="2831">
                  <c:v>41655</c:v>
                </c:pt>
                <c:pt idx="2832">
                  <c:v>41654</c:v>
                </c:pt>
                <c:pt idx="2833">
                  <c:v>41653</c:v>
                </c:pt>
                <c:pt idx="2834">
                  <c:v>41652</c:v>
                </c:pt>
                <c:pt idx="2835">
                  <c:v>41649</c:v>
                </c:pt>
                <c:pt idx="2836">
                  <c:v>41648</c:v>
                </c:pt>
                <c:pt idx="2837">
                  <c:v>41647</c:v>
                </c:pt>
                <c:pt idx="2838">
                  <c:v>41646</c:v>
                </c:pt>
                <c:pt idx="2839">
                  <c:v>41645</c:v>
                </c:pt>
                <c:pt idx="2840">
                  <c:v>41642</c:v>
                </c:pt>
                <c:pt idx="2841">
                  <c:v>41641</c:v>
                </c:pt>
                <c:pt idx="2842">
                  <c:v>41639</c:v>
                </c:pt>
                <c:pt idx="2843">
                  <c:v>41638</c:v>
                </c:pt>
                <c:pt idx="2844">
                  <c:v>41635</c:v>
                </c:pt>
                <c:pt idx="2845">
                  <c:v>41632</c:v>
                </c:pt>
                <c:pt idx="2846">
                  <c:v>41631</c:v>
                </c:pt>
                <c:pt idx="2847">
                  <c:v>41628</c:v>
                </c:pt>
                <c:pt idx="2848">
                  <c:v>41627</c:v>
                </c:pt>
                <c:pt idx="2849">
                  <c:v>41626</c:v>
                </c:pt>
                <c:pt idx="2850">
                  <c:v>41625</c:v>
                </c:pt>
                <c:pt idx="2851">
                  <c:v>41624</c:v>
                </c:pt>
                <c:pt idx="2852">
                  <c:v>41621</c:v>
                </c:pt>
                <c:pt idx="2853">
                  <c:v>41620</c:v>
                </c:pt>
                <c:pt idx="2854">
                  <c:v>41619</c:v>
                </c:pt>
                <c:pt idx="2855">
                  <c:v>41618</c:v>
                </c:pt>
                <c:pt idx="2856">
                  <c:v>41617</c:v>
                </c:pt>
                <c:pt idx="2857">
                  <c:v>41614</c:v>
                </c:pt>
                <c:pt idx="2858">
                  <c:v>41613</c:v>
                </c:pt>
                <c:pt idx="2859">
                  <c:v>41612</c:v>
                </c:pt>
                <c:pt idx="2860">
                  <c:v>41611</c:v>
                </c:pt>
                <c:pt idx="2861">
                  <c:v>41610</c:v>
                </c:pt>
                <c:pt idx="2862">
                  <c:v>41607</c:v>
                </c:pt>
                <c:pt idx="2863">
                  <c:v>41606</c:v>
                </c:pt>
                <c:pt idx="2864">
                  <c:v>41605</c:v>
                </c:pt>
                <c:pt idx="2865">
                  <c:v>41604</c:v>
                </c:pt>
                <c:pt idx="2866">
                  <c:v>41603</c:v>
                </c:pt>
                <c:pt idx="2867">
                  <c:v>41600</c:v>
                </c:pt>
                <c:pt idx="2868">
                  <c:v>41599</c:v>
                </c:pt>
                <c:pt idx="2869">
                  <c:v>41598</c:v>
                </c:pt>
                <c:pt idx="2870">
                  <c:v>41597</c:v>
                </c:pt>
                <c:pt idx="2871">
                  <c:v>41596</c:v>
                </c:pt>
                <c:pt idx="2872">
                  <c:v>41593</c:v>
                </c:pt>
                <c:pt idx="2873">
                  <c:v>41592</c:v>
                </c:pt>
                <c:pt idx="2874">
                  <c:v>41591</c:v>
                </c:pt>
                <c:pt idx="2875">
                  <c:v>41590</c:v>
                </c:pt>
                <c:pt idx="2876">
                  <c:v>41589</c:v>
                </c:pt>
                <c:pt idx="2877">
                  <c:v>41586</c:v>
                </c:pt>
                <c:pt idx="2878">
                  <c:v>41585</c:v>
                </c:pt>
                <c:pt idx="2879">
                  <c:v>41584</c:v>
                </c:pt>
                <c:pt idx="2880">
                  <c:v>41583</c:v>
                </c:pt>
                <c:pt idx="2881">
                  <c:v>41582</c:v>
                </c:pt>
                <c:pt idx="2882">
                  <c:v>41579</c:v>
                </c:pt>
                <c:pt idx="2883">
                  <c:v>41578</c:v>
                </c:pt>
                <c:pt idx="2884">
                  <c:v>41577</c:v>
                </c:pt>
                <c:pt idx="2885">
                  <c:v>41576</c:v>
                </c:pt>
                <c:pt idx="2886">
                  <c:v>41575</c:v>
                </c:pt>
                <c:pt idx="2887">
                  <c:v>41572</c:v>
                </c:pt>
                <c:pt idx="2888">
                  <c:v>41571</c:v>
                </c:pt>
                <c:pt idx="2889">
                  <c:v>41570</c:v>
                </c:pt>
                <c:pt idx="2890">
                  <c:v>41569</c:v>
                </c:pt>
                <c:pt idx="2891">
                  <c:v>41568</c:v>
                </c:pt>
                <c:pt idx="2892">
                  <c:v>41565</c:v>
                </c:pt>
                <c:pt idx="2893">
                  <c:v>41564</c:v>
                </c:pt>
                <c:pt idx="2894">
                  <c:v>41563</c:v>
                </c:pt>
                <c:pt idx="2895">
                  <c:v>41562</c:v>
                </c:pt>
                <c:pt idx="2896">
                  <c:v>41561</c:v>
                </c:pt>
                <c:pt idx="2897">
                  <c:v>41558</c:v>
                </c:pt>
                <c:pt idx="2898">
                  <c:v>41557</c:v>
                </c:pt>
                <c:pt idx="2899">
                  <c:v>41556</c:v>
                </c:pt>
                <c:pt idx="2900">
                  <c:v>41555</c:v>
                </c:pt>
                <c:pt idx="2901">
                  <c:v>41554</c:v>
                </c:pt>
                <c:pt idx="2902">
                  <c:v>41551</c:v>
                </c:pt>
                <c:pt idx="2903">
                  <c:v>41550</c:v>
                </c:pt>
                <c:pt idx="2904">
                  <c:v>41549</c:v>
                </c:pt>
                <c:pt idx="2905">
                  <c:v>41548</c:v>
                </c:pt>
                <c:pt idx="2906">
                  <c:v>41547</c:v>
                </c:pt>
                <c:pt idx="2907">
                  <c:v>41544</c:v>
                </c:pt>
                <c:pt idx="2908">
                  <c:v>41543</c:v>
                </c:pt>
                <c:pt idx="2909">
                  <c:v>41542</c:v>
                </c:pt>
                <c:pt idx="2910">
                  <c:v>41541</c:v>
                </c:pt>
                <c:pt idx="2911">
                  <c:v>41540</c:v>
                </c:pt>
                <c:pt idx="2912">
                  <c:v>41537</c:v>
                </c:pt>
                <c:pt idx="2913">
                  <c:v>41536</c:v>
                </c:pt>
                <c:pt idx="2914">
                  <c:v>41535</c:v>
                </c:pt>
                <c:pt idx="2915">
                  <c:v>41534</c:v>
                </c:pt>
                <c:pt idx="2916">
                  <c:v>41533</c:v>
                </c:pt>
                <c:pt idx="2917">
                  <c:v>41530</c:v>
                </c:pt>
                <c:pt idx="2918">
                  <c:v>41529</c:v>
                </c:pt>
                <c:pt idx="2919">
                  <c:v>41528</c:v>
                </c:pt>
                <c:pt idx="2920">
                  <c:v>41527</c:v>
                </c:pt>
                <c:pt idx="2921">
                  <c:v>41526</c:v>
                </c:pt>
                <c:pt idx="2922">
                  <c:v>41523</c:v>
                </c:pt>
                <c:pt idx="2923">
                  <c:v>41522</c:v>
                </c:pt>
                <c:pt idx="2924">
                  <c:v>41521</c:v>
                </c:pt>
                <c:pt idx="2925">
                  <c:v>41520</c:v>
                </c:pt>
                <c:pt idx="2926">
                  <c:v>41519</c:v>
                </c:pt>
                <c:pt idx="2927">
                  <c:v>41516</c:v>
                </c:pt>
                <c:pt idx="2928">
                  <c:v>41515</c:v>
                </c:pt>
                <c:pt idx="2929">
                  <c:v>41514</c:v>
                </c:pt>
                <c:pt idx="2930">
                  <c:v>41513</c:v>
                </c:pt>
                <c:pt idx="2931">
                  <c:v>41509</c:v>
                </c:pt>
                <c:pt idx="2932">
                  <c:v>41508</c:v>
                </c:pt>
                <c:pt idx="2933">
                  <c:v>41507</c:v>
                </c:pt>
                <c:pt idx="2934">
                  <c:v>41506</c:v>
                </c:pt>
                <c:pt idx="2935">
                  <c:v>41505</c:v>
                </c:pt>
                <c:pt idx="2936">
                  <c:v>41502</c:v>
                </c:pt>
                <c:pt idx="2937">
                  <c:v>41501</c:v>
                </c:pt>
                <c:pt idx="2938">
                  <c:v>41500</c:v>
                </c:pt>
                <c:pt idx="2939">
                  <c:v>41499</c:v>
                </c:pt>
                <c:pt idx="2940">
                  <c:v>41498</c:v>
                </c:pt>
                <c:pt idx="2941">
                  <c:v>41495</c:v>
                </c:pt>
                <c:pt idx="2942">
                  <c:v>41494</c:v>
                </c:pt>
                <c:pt idx="2943">
                  <c:v>41493</c:v>
                </c:pt>
                <c:pt idx="2944">
                  <c:v>41492</c:v>
                </c:pt>
                <c:pt idx="2945">
                  <c:v>41491</c:v>
                </c:pt>
                <c:pt idx="2946">
                  <c:v>41488</c:v>
                </c:pt>
                <c:pt idx="2947">
                  <c:v>41487</c:v>
                </c:pt>
                <c:pt idx="2948">
                  <c:v>41486</c:v>
                </c:pt>
                <c:pt idx="2949">
                  <c:v>41485</c:v>
                </c:pt>
                <c:pt idx="2950">
                  <c:v>41484</c:v>
                </c:pt>
                <c:pt idx="2951">
                  <c:v>41481</c:v>
                </c:pt>
                <c:pt idx="2952">
                  <c:v>41480</c:v>
                </c:pt>
                <c:pt idx="2953">
                  <c:v>41479</c:v>
                </c:pt>
                <c:pt idx="2954">
                  <c:v>41478</c:v>
                </c:pt>
                <c:pt idx="2955">
                  <c:v>41477</c:v>
                </c:pt>
                <c:pt idx="2956">
                  <c:v>41474</c:v>
                </c:pt>
                <c:pt idx="2957">
                  <c:v>41473</c:v>
                </c:pt>
                <c:pt idx="2958">
                  <c:v>41472</c:v>
                </c:pt>
                <c:pt idx="2959">
                  <c:v>41471</c:v>
                </c:pt>
                <c:pt idx="2960">
                  <c:v>41470</c:v>
                </c:pt>
                <c:pt idx="2961">
                  <c:v>41467</c:v>
                </c:pt>
                <c:pt idx="2962">
                  <c:v>41466</c:v>
                </c:pt>
                <c:pt idx="2963">
                  <c:v>41465</c:v>
                </c:pt>
                <c:pt idx="2964">
                  <c:v>41464</c:v>
                </c:pt>
                <c:pt idx="2965">
                  <c:v>41463</c:v>
                </c:pt>
                <c:pt idx="2966">
                  <c:v>41460</c:v>
                </c:pt>
                <c:pt idx="2967">
                  <c:v>41459</c:v>
                </c:pt>
                <c:pt idx="2968">
                  <c:v>41458</c:v>
                </c:pt>
                <c:pt idx="2969">
                  <c:v>41457</c:v>
                </c:pt>
                <c:pt idx="2970">
                  <c:v>41456</c:v>
                </c:pt>
                <c:pt idx="2971">
                  <c:v>41453</c:v>
                </c:pt>
                <c:pt idx="2972">
                  <c:v>41452</c:v>
                </c:pt>
                <c:pt idx="2973">
                  <c:v>41451</c:v>
                </c:pt>
                <c:pt idx="2974">
                  <c:v>41450</c:v>
                </c:pt>
                <c:pt idx="2975">
                  <c:v>41449</c:v>
                </c:pt>
                <c:pt idx="2976">
                  <c:v>41446</c:v>
                </c:pt>
                <c:pt idx="2977">
                  <c:v>41445</c:v>
                </c:pt>
                <c:pt idx="2978">
                  <c:v>41444</c:v>
                </c:pt>
                <c:pt idx="2979">
                  <c:v>41443</c:v>
                </c:pt>
                <c:pt idx="2980">
                  <c:v>41442</c:v>
                </c:pt>
                <c:pt idx="2981">
                  <c:v>41439</c:v>
                </c:pt>
                <c:pt idx="2982">
                  <c:v>41438</c:v>
                </c:pt>
                <c:pt idx="2983">
                  <c:v>41437</c:v>
                </c:pt>
                <c:pt idx="2984">
                  <c:v>41436</c:v>
                </c:pt>
                <c:pt idx="2985">
                  <c:v>41435</c:v>
                </c:pt>
                <c:pt idx="2986">
                  <c:v>41432</c:v>
                </c:pt>
                <c:pt idx="2987">
                  <c:v>41431</c:v>
                </c:pt>
                <c:pt idx="2988">
                  <c:v>41430</c:v>
                </c:pt>
                <c:pt idx="2989">
                  <c:v>41429</c:v>
                </c:pt>
                <c:pt idx="2990">
                  <c:v>41428</c:v>
                </c:pt>
                <c:pt idx="2991">
                  <c:v>41425</c:v>
                </c:pt>
                <c:pt idx="2992">
                  <c:v>41424</c:v>
                </c:pt>
                <c:pt idx="2993">
                  <c:v>41423</c:v>
                </c:pt>
                <c:pt idx="2994">
                  <c:v>41422</c:v>
                </c:pt>
                <c:pt idx="2995">
                  <c:v>41418</c:v>
                </c:pt>
                <c:pt idx="2996">
                  <c:v>41417</c:v>
                </c:pt>
                <c:pt idx="2997">
                  <c:v>41416</c:v>
                </c:pt>
                <c:pt idx="2998">
                  <c:v>41415</c:v>
                </c:pt>
                <c:pt idx="2999">
                  <c:v>41414</c:v>
                </c:pt>
                <c:pt idx="3000">
                  <c:v>41411</c:v>
                </c:pt>
                <c:pt idx="3001">
                  <c:v>41410</c:v>
                </c:pt>
                <c:pt idx="3002">
                  <c:v>41409</c:v>
                </c:pt>
                <c:pt idx="3003">
                  <c:v>41408</c:v>
                </c:pt>
                <c:pt idx="3004">
                  <c:v>41407</c:v>
                </c:pt>
                <c:pt idx="3005">
                  <c:v>41404</c:v>
                </c:pt>
                <c:pt idx="3006">
                  <c:v>41403</c:v>
                </c:pt>
                <c:pt idx="3007">
                  <c:v>41402</c:v>
                </c:pt>
                <c:pt idx="3008">
                  <c:v>41401</c:v>
                </c:pt>
                <c:pt idx="3009">
                  <c:v>41397</c:v>
                </c:pt>
                <c:pt idx="3010">
                  <c:v>41396</c:v>
                </c:pt>
                <c:pt idx="3011">
                  <c:v>41395</c:v>
                </c:pt>
                <c:pt idx="3012">
                  <c:v>41394</c:v>
                </c:pt>
                <c:pt idx="3013">
                  <c:v>41393</c:v>
                </c:pt>
                <c:pt idx="3014">
                  <c:v>41390</c:v>
                </c:pt>
                <c:pt idx="3015">
                  <c:v>41389</c:v>
                </c:pt>
                <c:pt idx="3016">
                  <c:v>41388</c:v>
                </c:pt>
                <c:pt idx="3017">
                  <c:v>41387</c:v>
                </c:pt>
                <c:pt idx="3018">
                  <c:v>41386</c:v>
                </c:pt>
                <c:pt idx="3019">
                  <c:v>41383</c:v>
                </c:pt>
                <c:pt idx="3020">
                  <c:v>41382</c:v>
                </c:pt>
                <c:pt idx="3021">
                  <c:v>41381</c:v>
                </c:pt>
                <c:pt idx="3022">
                  <c:v>41380</c:v>
                </c:pt>
                <c:pt idx="3023">
                  <c:v>41379</c:v>
                </c:pt>
                <c:pt idx="3024">
                  <c:v>41376</c:v>
                </c:pt>
                <c:pt idx="3025">
                  <c:v>41375</c:v>
                </c:pt>
                <c:pt idx="3026">
                  <c:v>41374</c:v>
                </c:pt>
                <c:pt idx="3027">
                  <c:v>41373</c:v>
                </c:pt>
                <c:pt idx="3028">
                  <c:v>41372</c:v>
                </c:pt>
                <c:pt idx="3029">
                  <c:v>41369</c:v>
                </c:pt>
                <c:pt idx="3030">
                  <c:v>41368</c:v>
                </c:pt>
                <c:pt idx="3031">
                  <c:v>41367</c:v>
                </c:pt>
                <c:pt idx="3032">
                  <c:v>41366</c:v>
                </c:pt>
                <c:pt idx="3033">
                  <c:v>41361</c:v>
                </c:pt>
                <c:pt idx="3034">
                  <c:v>41360</c:v>
                </c:pt>
                <c:pt idx="3035">
                  <c:v>41359</c:v>
                </c:pt>
                <c:pt idx="3036">
                  <c:v>41358</c:v>
                </c:pt>
                <c:pt idx="3037">
                  <c:v>41355</c:v>
                </c:pt>
                <c:pt idx="3038">
                  <c:v>41354</c:v>
                </c:pt>
                <c:pt idx="3039">
                  <c:v>41353</c:v>
                </c:pt>
                <c:pt idx="3040">
                  <c:v>41352</c:v>
                </c:pt>
                <c:pt idx="3041">
                  <c:v>41351</c:v>
                </c:pt>
                <c:pt idx="3042">
                  <c:v>41348</c:v>
                </c:pt>
                <c:pt idx="3043">
                  <c:v>41347</c:v>
                </c:pt>
                <c:pt idx="3044">
                  <c:v>41346</c:v>
                </c:pt>
                <c:pt idx="3045">
                  <c:v>41345</c:v>
                </c:pt>
                <c:pt idx="3046">
                  <c:v>41344</c:v>
                </c:pt>
                <c:pt idx="3047">
                  <c:v>41341</c:v>
                </c:pt>
                <c:pt idx="3048">
                  <c:v>41340</c:v>
                </c:pt>
                <c:pt idx="3049">
                  <c:v>41339</c:v>
                </c:pt>
                <c:pt idx="3050">
                  <c:v>41338</c:v>
                </c:pt>
                <c:pt idx="3051">
                  <c:v>41337</c:v>
                </c:pt>
                <c:pt idx="3052">
                  <c:v>41334</c:v>
                </c:pt>
                <c:pt idx="3053">
                  <c:v>41333</c:v>
                </c:pt>
                <c:pt idx="3054">
                  <c:v>41332</c:v>
                </c:pt>
                <c:pt idx="3055">
                  <c:v>41331</c:v>
                </c:pt>
                <c:pt idx="3056">
                  <c:v>41330</c:v>
                </c:pt>
                <c:pt idx="3057">
                  <c:v>41327</c:v>
                </c:pt>
                <c:pt idx="3058">
                  <c:v>41326</c:v>
                </c:pt>
                <c:pt idx="3059">
                  <c:v>41325</c:v>
                </c:pt>
                <c:pt idx="3060">
                  <c:v>41324</c:v>
                </c:pt>
                <c:pt idx="3061">
                  <c:v>41323</c:v>
                </c:pt>
                <c:pt idx="3062">
                  <c:v>41320</c:v>
                </c:pt>
                <c:pt idx="3063">
                  <c:v>41319</c:v>
                </c:pt>
                <c:pt idx="3064">
                  <c:v>41318</c:v>
                </c:pt>
                <c:pt idx="3065">
                  <c:v>41317</c:v>
                </c:pt>
                <c:pt idx="3066">
                  <c:v>41316</c:v>
                </c:pt>
                <c:pt idx="3067">
                  <c:v>41313</c:v>
                </c:pt>
                <c:pt idx="3068">
                  <c:v>41312</c:v>
                </c:pt>
                <c:pt idx="3069">
                  <c:v>41311</c:v>
                </c:pt>
                <c:pt idx="3070">
                  <c:v>41310</c:v>
                </c:pt>
                <c:pt idx="3071">
                  <c:v>41309</c:v>
                </c:pt>
                <c:pt idx="3072">
                  <c:v>41306</c:v>
                </c:pt>
                <c:pt idx="3073">
                  <c:v>41305</c:v>
                </c:pt>
                <c:pt idx="3074">
                  <c:v>41304</c:v>
                </c:pt>
                <c:pt idx="3075">
                  <c:v>41303</c:v>
                </c:pt>
                <c:pt idx="3076">
                  <c:v>41302</c:v>
                </c:pt>
                <c:pt idx="3077">
                  <c:v>41299</c:v>
                </c:pt>
                <c:pt idx="3078">
                  <c:v>41298</c:v>
                </c:pt>
                <c:pt idx="3079">
                  <c:v>41297</c:v>
                </c:pt>
                <c:pt idx="3080">
                  <c:v>41296</c:v>
                </c:pt>
                <c:pt idx="3081">
                  <c:v>41295</c:v>
                </c:pt>
                <c:pt idx="3082">
                  <c:v>41292</c:v>
                </c:pt>
                <c:pt idx="3083">
                  <c:v>41291</c:v>
                </c:pt>
                <c:pt idx="3084">
                  <c:v>41290</c:v>
                </c:pt>
                <c:pt idx="3085">
                  <c:v>41289</c:v>
                </c:pt>
                <c:pt idx="3086">
                  <c:v>41288</c:v>
                </c:pt>
                <c:pt idx="3087">
                  <c:v>41285</c:v>
                </c:pt>
                <c:pt idx="3088">
                  <c:v>41284</c:v>
                </c:pt>
                <c:pt idx="3089">
                  <c:v>41283</c:v>
                </c:pt>
                <c:pt idx="3090">
                  <c:v>41282</c:v>
                </c:pt>
                <c:pt idx="3091">
                  <c:v>41281</c:v>
                </c:pt>
                <c:pt idx="3092">
                  <c:v>41278</c:v>
                </c:pt>
                <c:pt idx="3093">
                  <c:v>41277</c:v>
                </c:pt>
                <c:pt idx="3094">
                  <c:v>41276</c:v>
                </c:pt>
                <c:pt idx="3095">
                  <c:v>41274</c:v>
                </c:pt>
                <c:pt idx="3096">
                  <c:v>41271</c:v>
                </c:pt>
                <c:pt idx="3097">
                  <c:v>41270</c:v>
                </c:pt>
                <c:pt idx="3098">
                  <c:v>41267</c:v>
                </c:pt>
                <c:pt idx="3099">
                  <c:v>41264</c:v>
                </c:pt>
                <c:pt idx="3100">
                  <c:v>41263</c:v>
                </c:pt>
                <c:pt idx="3101">
                  <c:v>41262</c:v>
                </c:pt>
                <c:pt idx="3102">
                  <c:v>41261</c:v>
                </c:pt>
                <c:pt idx="3103">
                  <c:v>41260</c:v>
                </c:pt>
                <c:pt idx="3104">
                  <c:v>41257</c:v>
                </c:pt>
                <c:pt idx="3105">
                  <c:v>41256</c:v>
                </c:pt>
                <c:pt idx="3106">
                  <c:v>41255</c:v>
                </c:pt>
                <c:pt idx="3107">
                  <c:v>41254</c:v>
                </c:pt>
                <c:pt idx="3108">
                  <c:v>41253</c:v>
                </c:pt>
                <c:pt idx="3109">
                  <c:v>41250</c:v>
                </c:pt>
                <c:pt idx="3110">
                  <c:v>41249</c:v>
                </c:pt>
                <c:pt idx="3111">
                  <c:v>41248</c:v>
                </c:pt>
                <c:pt idx="3112">
                  <c:v>41247</c:v>
                </c:pt>
                <c:pt idx="3113">
                  <c:v>41246</c:v>
                </c:pt>
                <c:pt idx="3114">
                  <c:v>41243</c:v>
                </c:pt>
                <c:pt idx="3115">
                  <c:v>41242</c:v>
                </c:pt>
                <c:pt idx="3116">
                  <c:v>41241</c:v>
                </c:pt>
                <c:pt idx="3117">
                  <c:v>41240</c:v>
                </c:pt>
                <c:pt idx="3118">
                  <c:v>41239</c:v>
                </c:pt>
                <c:pt idx="3119">
                  <c:v>41236</c:v>
                </c:pt>
                <c:pt idx="3120">
                  <c:v>41235</c:v>
                </c:pt>
                <c:pt idx="3121">
                  <c:v>41234</c:v>
                </c:pt>
                <c:pt idx="3122">
                  <c:v>41233</c:v>
                </c:pt>
                <c:pt idx="3123">
                  <c:v>41232</c:v>
                </c:pt>
                <c:pt idx="3124">
                  <c:v>41229</c:v>
                </c:pt>
                <c:pt idx="3125">
                  <c:v>41228</c:v>
                </c:pt>
                <c:pt idx="3126">
                  <c:v>41227</c:v>
                </c:pt>
                <c:pt idx="3127">
                  <c:v>41226</c:v>
                </c:pt>
                <c:pt idx="3128">
                  <c:v>41225</c:v>
                </c:pt>
                <c:pt idx="3129">
                  <c:v>41222</c:v>
                </c:pt>
                <c:pt idx="3130">
                  <c:v>41221</c:v>
                </c:pt>
                <c:pt idx="3131">
                  <c:v>41220</c:v>
                </c:pt>
                <c:pt idx="3132">
                  <c:v>41219</c:v>
                </c:pt>
                <c:pt idx="3133">
                  <c:v>41218</c:v>
                </c:pt>
                <c:pt idx="3134">
                  <c:v>41215</c:v>
                </c:pt>
                <c:pt idx="3135">
                  <c:v>41214</c:v>
                </c:pt>
                <c:pt idx="3136">
                  <c:v>41213</c:v>
                </c:pt>
                <c:pt idx="3137">
                  <c:v>41212</c:v>
                </c:pt>
                <c:pt idx="3138">
                  <c:v>41211</c:v>
                </c:pt>
                <c:pt idx="3139">
                  <c:v>41208</c:v>
                </c:pt>
                <c:pt idx="3140">
                  <c:v>41207</c:v>
                </c:pt>
                <c:pt idx="3141">
                  <c:v>41206</c:v>
                </c:pt>
                <c:pt idx="3142">
                  <c:v>41205</c:v>
                </c:pt>
                <c:pt idx="3143">
                  <c:v>41204</c:v>
                </c:pt>
                <c:pt idx="3144">
                  <c:v>41201</c:v>
                </c:pt>
                <c:pt idx="3145">
                  <c:v>41200</c:v>
                </c:pt>
                <c:pt idx="3146">
                  <c:v>41199</c:v>
                </c:pt>
                <c:pt idx="3147">
                  <c:v>41198</c:v>
                </c:pt>
                <c:pt idx="3148">
                  <c:v>41197</c:v>
                </c:pt>
                <c:pt idx="3149">
                  <c:v>41194</c:v>
                </c:pt>
                <c:pt idx="3150">
                  <c:v>41193</c:v>
                </c:pt>
                <c:pt idx="3151">
                  <c:v>41192</c:v>
                </c:pt>
                <c:pt idx="3152">
                  <c:v>41191</c:v>
                </c:pt>
                <c:pt idx="3153">
                  <c:v>41190</c:v>
                </c:pt>
                <c:pt idx="3154">
                  <c:v>41187</c:v>
                </c:pt>
                <c:pt idx="3155">
                  <c:v>41186</c:v>
                </c:pt>
                <c:pt idx="3156">
                  <c:v>41185</c:v>
                </c:pt>
                <c:pt idx="3157">
                  <c:v>41184</c:v>
                </c:pt>
                <c:pt idx="3158">
                  <c:v>41183</c:v>
                </c:pt>
                <c:pt idx="3159">
                  <c:v>41180</c:v>
                </c:pt>
                <c:pt idx="3160">
                  <c:v>41179</c:v>
                </c:pt>
                <c:pt idx="3161">
                  <c:v>41178</c:v>
                </c:pt>
                <c:pt idx="3162">
                  <c:v>41177</c:v>
                </c:pt>
                <c:pt idx="3163">
                  <c:v>41176</c:v>
                </c:pt>
                <c:pt idx="3164">
                  <c:v>41173</c:v>
                </c:pt>
                <c:pt idx="3165">
                  <c:v>41172</c:v>
                </c:pt>
                <c:pt idx="3166">
                  <c:v>41171</c:v>
                </c:pt>
                <c:pt idx="3167">
                  <c:v>41170</c:v>
                </c:pt>
                <c:pt idx="3168">
                  <c:v>41169</c:v>
                </c:pt>
                <c:pt idx="3169">
                  <c:v>41166</c:v>
                </c:pt>
                <c:pt idx="3170">
                  <c:v>41165</c:v>
                </c:pt>
                <c:pt idx="3171">
                  <c:v>41164</c:v>
                </c:pt>
                <c:pt idx="3172">
                  <c:v>41163</c:v>
                </c:pt>
                <c:pt idx="3173">
                  <c:v>41162</c:v>
                </c:pt>
                <c:pt idx="3174">
                  <c:v>41159</c:v>
                </c:pt>
                <c:pt idx="3175">
                  <c:v>41158</c:v>
                </c:pt>
                <c:pt idx="3176">
                  <c:v>41157</c:v>
                </c:pt>
                <c:pt idx="3177">
                  <c:v>41156</c:v>
                </c:pt>
                <c:pt idx="3178">
                  <c:v>41155</c:v>
                </c:pt>
                <c:pt idx="3179">
                  <c:v>41152</c:v>
                </c:pt>
                <c:pt idx="3180">
                  <c:v>41151</c:v>
                </c:pt>
                <c:pt idx="3181">
                  <c:v>41150</c:v>
                </c:pt>
                <c:pt idx="3182">
                  <c:v>41149</c:v>
                </c:pt>
                <c:pt idx="3183">
                  <c:v>41145</c:v>
                </c:pt>
                <c:pt idx="3184">
                  <c:v>41144</c:v>
                </c:pt>
                <c:pt idx="3185">
                  <c:v>41143</c:v>
                </c:pt>
                <c:pt idx="3186">
                  <c:v>41142</c:v>
                </c:pt>
                <c:pt idx="3187">
                  <c:v>41141</c:v>
                </c:pt>
                <c:pt idx="3188">
                  <c:v>41138</c:v>
                </c:pt>
                <c:pt idx="3189">
                  <c:v>41137</c:v>
                </c:pt>
                <c:pt idx="3190">
                  <c:v>41136</c:v>
                </c:pt>
                <c:pt idx="3191">
                  <c:v>41135</c:v>
                </c:pt>
                <c:pt idx="3192">
                  <c:v>41134</c:v>
                </c:pt>
                <c:pt idx="3193">
                  <c:v>41131</c:v>
                </c:pt>
                <c:pt idx="3194">
                  <c:v>41130</c:v>
                </c:pt>
                <c:pt idx="3195">
                  <c:v>41129</c:v>
                </c:pt>
                <c:pt idx="3196">
                  <c:v>41128</c:v>
                </c:pt>
                <c:pt idx="3197">
                  <c:v>41127</c:v>
                </c:pt>
                <c:pt idx="3198">
                  <c:v>41124</c:v>
                </c:pt>
                <c:pt idx="3199">
                  <c:v>41123</c:v>
                </c:pt>
                <c:pt idx="3200">
                  <c:v>41122</c:v>
                </c:pt>
                <c:pt idx="3201">
                  <c:v>41121</c:v>
                </c:pt>
                <c:pt idx="3202">
                  <c:v>41120</c:v>
                </c:pt>
                <c:pt idx="3203">
                  <c:v>41117</c:v>
                </c:pt>
                <c:pt idx="3204">
                  <c:v>41116</c:v>
                </c:pt>
                <c:pt idx="3205">
                  <c:v>41115</c:v>
                </c:pt>
                <c:pt idx="3206">
                  <c:v>41114</c:v>
                </c:pt>
                <c:pt idx="3207">
                  <c:v>41113</c:v>
                </c:pt>
                <c:pt idx="3208">
                  <c:v>41110</c:v>
                </c:pt>
                <c:pt idx="3209">
                  <c:v>41109</c:v>
                </c:pt>
                <c:pt idx="3210">
                  <c:v>41108</c:v>
                </c:pt>
                <c:pt idx="3211">
                  <c:v>41107</c:v>
                </c:pt>
                <c:pt idx="3212">
                  <c:v>41106</c:v>
                </c:pt>
                <c:pt idx="3213">
                  <c:v>41103</c:v>
                </c:pt>
                <c:pt idx="3214">
                  <c:v>41102</c:v>
                </c:pt>
                <c:pt idx="3215">
                  <c:v>41101</c:v>
                </c:pt>
                <c:pt idx="3216">
                  <c:v>41100</c:v>
                </c:pt>
                <c:pt idx="3217">
                  <c:v>41099</c:v>
                </c:pt>
                <c:pt idx="3218">
                  <c:v>41096</c:v>
                </c:pt>
                <c:pt idx="3219">
                  <c:v>41095</c:v>
                </c:pt>
                <c:pt idx="3220">
                  <c:v>41094</c:v>
                </c:pt>
                <c:pt idx="3221">
                  <c:v>41093</c:v>
                </c:pt>
                <c:pt idx="3222">
                  <c:v>41092</c:v>
                </c:pt>
                <c:pt idx="3223">
                  <c:v>41089</c:v>
                </c:pt>
                <c:pt idx="3224">
                  <c:v>41088</c:v>
                </c:pt>
                <c:pt idx="3225">
                  <c:v>41087</c:v>
                </c:pt>
                <c:pt idx="3226">
                  <c:v>41086</c:v>
                </c:pt>
                <c:pt idx="3227">
                  <c:v>41085</c:v>
                </c:pt>
                <c:pt idx="3228">
                  <c:v>41082</c:v>
                </c:pt>
                <c:pt idx="3229">
                  <c:v>41081</c:v>
                </c:pt>
                <c:pt idx="3230">
                  <c:v>41080</c:v>
                </c:pt>
                <c:pt idx="3231">
                  <c:v>41079</c:v>
                </c:pt>
                <c:pt idx="3232">
                  <c:v>41078</c:v>
                </c:pt>
                <c:pt idx="3233">
                  <c:v>41075</c:v>
                </c:pt>
                <c:pt idx="3234">
                  <c:v>41074</c:v>
                </c:pt>
                <c:pt idx="3235">
                  <c:v>41073</c:v>
                </c:pt>
                <c:pt idx="3236">
                  <c:v>41072</c:v>
                </c:pt>
                <c:pt idx="3237">
                  <c:v>41071</c:v>
                </c:pt>
                <c:pt idx="3238">
                  <c:v>41068</c:v>
                </c:pt>
                <c:pt idx="3239">
                  <c:v>41067</c:v>
                </c:pt>
                <c:pt idx="3240">
                  <c:v>41066</c:v>
                </c:pt>
                <c:pt idx="3241">
                  <c:v>41061</c:v>
                </c:pt>
                <c:pt idx="3242">
                  <c:v>41060</c:v>
                </c:pt>
                <c:pt idx="3243">
                  <c:v>41059</c:v>
                </c:pt>
                <c:pt idx="3244">
                  <c:v>41058</c:v>
                </c:pt>
                <c:pt idx="3245">
                  <c:v>41057</c:v>
                </c:pt>
                <c:pt idx="3246">
                  <c:v>41054</c:v>
                </c:pt>
                <c:pt idx="3247">
                  <c:v>41053</c:v>
                </c:pt>
                <c:pt idx="3248">
                  <c:v>41052</c:v>
                </c:pt>
                <c:pt idx="3249">
                  <c:v>41051</c:v>
                </c:pt>
                <c:pt idx="3250">
                  <c:v>41050</c:v>
                </c:pt>
                <c:pt idx="3251">
                  <c:v>41047</c:v>
                </c:pt>
                <c:pt idx="3252">
                  <c:v>41046</c:v>
                </c:pt>
                <c:pt idx="3253">
                  <c:v>41045</c:v>
                </c:pt>
                <c:pt idx="3254">
                  <c:v>41044</c:v>
                </c:pt>
                <c:pt idx="3255">
                  <c:v>41043</c:v>
                </c:pt>
                <c:pt idx="3256">
                  <c:v>41040</c:v>
                </c:pt>
                <c:pt idx="3257">
                  <c:v>41039</c:v>
                </c:pt>
                <c:pt idx="3258">
                  <c:v>41038</c:v>
                </c:pt>
                <c:pt idx="3259">
                  <c:v>41037</c:v>
                </c:pt>
                <c:pt idx="3260">
                  <c:v>41033</c:v>
                </c:pt>
                <c:pt idx="3261">
                  <c:v>41032</c:v>
                </c:pt>
                <c:pt idx="3262">
                  <c:v>41031</c:v>
                </c:pt>
                <c:pt idx="3263">
                  <c:v>41030</c:v>
                </c:pt>
                <c:pt idx="3264">
                  <c:v>41029</c:v>
                </c:pt>
                <c:pt idx="3265">
                  <c:v>41026</c:v>
                </c:pt>
                <c:pt idx="3266">
                  <c:v>41025</c:v>
                </c:pt>
                <c:pt idx="3267">
                  <c:v>41024</c:v>
                </c:pt>
                <c:pt idx="3268">
                  <c:v>41023</c:v>
                </c:pt>
                <c:pt idx="3269">
                  <c:v>41022</c:v>
                </c:pt>
                <c:pt idx="3270">
                  <c:v>41019</c:v>
                </c:pt>
                <c:pt idx="3271">
                  <c:v>41018</c:v>
                </c:pt>
                <c:pt idx="3272">
                  <c:v>41017</c:v>
                </c:pt>
                <c:pt idx="3273">
                  <c:v>41016</c:v>
                </c:pt>
                <c:pt idx="3274">
                  <c:v>41015</c:v>
                </c:pt>
                <c:pt idx="3275">
                  <c:v>41012</c:v>
                </c:pt>
                <c:pt idx="3276">
                  <c:v>41011</c:v>
                </c:pt>
                <c:pt idx="3277">
                  <c:v>41010</c:v>
                </c:pt>
                <c:pt idx="3278">
                  <c:v>41009</c:v>
                </c:pt>
                <c:pt idx="3279">
                  <c:v>41004</c:v>
                </c:pt>
                <c:pt idx="3280">
                  <c:v>41003</c:v>
                </c:pt>
                <c:pt idx="3281">
                  <c:v>41002</c:v>
                </c:pt>
                <c:pt idx="3282">
                  <c:v>41001</c:v>
                </c:pt>
                <c:pt idx="3283">
                  <c:v>40998</c:v>
                </c:pt>
                <c:pt idx="3284">
                  <c:v>40997</c:v>
                </c:pt>
                <c:pt idx="3285">
                  <c:v>40996</c:v>
                </c:pt>
                <c:pt idx="3286">
                  <c:v>40995</c:v>
                </c:pt>
                <c:pt idx="3287">
                  <c:v>40994</c:v>
                </c:pt>
                <c:pt idx="3288">
                  <c:v>40991</c:v>
                </c:pt>
                <c:pt idx="3289">
                  <c:v>40990</c:v>
                </c:pt>
                <c:pt idx="3290">
                  <c:v>40989</c:v>
                </c:pt>
                <c:pt idx="3291">
                  <c:v>40988</c:v>
                </c:pt>
                <c:pt idx="3292">
                  <c:v>40987</c:v>
                </c:pt>
                <c:pt idx="3293">
                  <c:v>40984</c:v>
                </c:pt>
                <c:pt idx="3294">
                  <c:v>40983</c:v>
                </c:pt>
                <c:pt idx="3295">
                  <c:v>40982</c:v>
                </c:pt>
                <c:pt idx="3296">
                  <c:v>40981</c:v>
                </c:pt>
                <c:pt idx="3297">
                  <c:v>40980</c:v>
                </c:pt>
                <c:pt idx="3298">
                  <c:v>40977</c:v>
                </c:pt>
                <c:pt idx="3299">
                  <c:v>40976</c:v>
                </c:pt>
                <c:pt idx="3300">
                  <c:v>40975</c:v>
                </c:pt>
                <c:pt idx="3301">
                  <c:v>40974</c:v>
                </c:pt>
                <c:pt idx="3302">
                  <c:v>40973</c:v>
                </c:pt>
                <c:pt idx="3303">
                  <c:v>40970</c:v>
                </c:pt>
                <c:pt idx="3304">
                  <c:v>40969</c:v>
                </c:pt>
                <c:pt idx="3305">
                  <c:v>40968</c:v>
                </c:pt>
                <c:pt idx="3306">
                  <c:v>40967</c:v>
                </c:pt>
                <c:pt idx="3307">
                  <c:v>40966</c:v>
                </c:pt>
                <c:pt idx="3308">
                  <c:v>40963</c:v>
                </c:pt>
                <c:pt idx="3309">
                  <c:v>40962</c:v>
                </c:pt>
                <c:pt idx="3310">
                  <c:v>40961</c:v>
                </c:pt>
                <c:pt idx="3311">
                  <c:v>40960</c:v>
                </c:pt>
                <c:pt idx="3312">
                  <c:v>40959</c:v>
                </c:pt>
                <c:pt idx="3313">
                  <c:v>40956</c:v>
                </c:pt>
                <c:pt idx="3314">
                  <c:v>40955</c:v>
                </c:pt>
                <c:pt idx="3315">
                  <c:v>40954</c:v>
                </c:pt>
                <c:pt idx="3316">
                  <c:v>40953</c:v>
                </c:pt>
                <c:pt idx="3317">
                  <c:v>40952</c:v>
                </c:pt>
                <c:pt idx="3318">
                  <c:v>40949</c:v>
                </c:pt>
                <c:pt idx="3319">
                  <c:v>40948</c:v>
                </c:pt>
                <c:pt idx="3320">
                  <c:v>40947</c:v>
                </c:pt>
                <c:pt idx="3321">
                  <c:v>40946</c:v>
                </c:pt>
                <c:pt idx="3322">
                  <c:v>40945</c:v>
                </c:pt>
                <c:pt idx="3323">
                  <c:v>40942</c:v>
                </c:pt>
                <c:pt idx="3324">
                  <c:v>40941</c:v>
                </c:pt>
                <c:pt idx="3325">
                  <c:v>40940</c:v>
                </c:pt>
                <c:pt idx="3326">
                  <c:v>40939</c:v>
                </c:pt>
                <c:pt idx="3327">
                  <c:v>40938</c:v>
                </c:pt>
                <c:pt idx="3328">
                  <c:v>40935</c:v>
                </c:pt>
                <c:pt idx="3329">
                  <c:v>40934</c:v>
                </c:pt>
                <c:pt idx="3330">
                  <c:v>40933</c:v>
                </c:pt>
                <c:pt idx="3331">
                  <c:v>40932</c:v>
                </c:pt>
                <c:pt idx="3332">
                  <c:v>40931</c:v>
                </c:pt>
                <c:pt idx="3333">
                  <c:v>40928</c:v>
                </c:pt>
                <c:pt idx="3334">
                  <c:v>40927</c:v>
                </c:pt>
                <c:pt idx="3335">
                  <c:v>40926</c:v>
                </c:pt>
                <c:pt idx="3336">
                  <c:v>40925</c:v>
                </c:pt>
                <c:pt idx="3337">
                  <c:v>40924</c:v>
                </c:pt>
                <c:pt idx="3338">
                  <c:v>40921</c:v>
                </c:pt>
                <c:pt idx="3339">
                  <c:v>40920</c:v>
                </c:pt>
                <c:pt idx="3340">
                  <c:v>40919</c:v>
                </c:pt>
                <c:pt idx="3341">
                  <c:v>40918</c:v>
                </c:pt>
                <c:pt idx="3342">
                  <c:v>40917</c:v>
                </c:pt>
                <c:pt idx="3343">
                  <c:v>40914</c:v>
                </c:pt>
                <c:pt idx="3344">
                  <c:v>40913</c:v>
                </c:pt>
                <c:pt idx="3345">
                  <c:v>40912</c:v>
                </c:pt>
                <c:pt idx="3346">
                  <c:v>40911</c:v>
                </c:pt>
                <c:pt idx="3347">
                  <c:v>40907</c:v>
                </c:pt>
                <c:pt idx="3348">
                  <c:v>40906</c:v>
                </c:pt>
                <c:pt idx="3349">
                  <c:v>40905</c:v>
                </c:pt>
                <c:pt idx="3350">
                  <c:v>40900</c:v>
                </c:pt>
                <c:pt idx="3351">
                  <c:v>40899</c:v>
                </c:pt>
                <c:pt idx="3352">
                  <c:v>40898</c:v>
                </c:pt>
                <c:pt idx="3353">
                  <c:v>40897</c:v>
                </c:pt>
                <c:pt idx="3354">
                  <c:v>40896</c:v>
                </c:pt>
                <c:pt idx="3355">
                  <c:v>40893</c:v>
                </c:pt>
                <c:pt idx="3356">
                  <c:v>40892</c:v>
                </c:pt>
                <c:pt idx="3357">
                  <c:v>40891</c:v>
                </c:pt>
                <c:pt idx="3358">
                  <c:v>40890</c:v>
                </c:pt>
                <c:pt idx="3359">
                  <c:v>40889</c:v>
                </c:pt>
                <c:pt idx="3360">
                  <c:v>40886</c:v>
                </c:pt>
                <c:pt idx="3361">
                  <c:v>40885</c:v>
                </c:pt>
                <c:pt idx="3362">
                  <c:v>40884</c:v>
                </c:pt>
                <c:pt idx="3363">
                  <c:v>40883</c:v>
                </c:pt>
                <c:pt idx="3364">
                  <c:v>40882</c:v>
                </c:pt>
                <c:pt idx="3365">
                  <c:v>40879</c:v>
                </c:pt>
                <c:pt idx="3366">
                  <c:v>40878</c:v>
                </c:pt>
                <c:pt idx="3367">
                  <c:v>40877</c:v>
                </c:pt>
                <c:pt idx="3368">
                  <c:v>40876</c:v>
                </c:pt>
                <c:pt idx="3369">
                  <c:v>40875</c:v>
                </c:pt>
                <c:pt idx="3370">
                  <c:v>40872</c:v>
                </c:pt>
                <c:pt idx="3371">
                  <c:v>40871</c:v>
                </c:pt>
                <c:pt idx="3372">
                  <c:v>40870</c:v>
                </c:pt>
                <c:pt idx="3373">
                  <c:v>40869</c:v>
                </c:pt>
                <c:pt idx="3374">
                  <c:v>40868</c:v>
                </c:pt>
                <c:pt idx="3375">
                  <c:v>40865</c:v>
                </c:pt>
                <c:pt idx="3376">
                  <c:v>40864</c:v>
                </c:pt>
                <c:pt idx="3377">
                  <c:v>40863</c:v>
                </c:pt>
                <c:pt idx="3378">
                  <c:v>40862</c:v>
                </c:pt>
                <c:pt idx="3379">
                  <c:v>40861</c:v>
                </c:pt>
                <c:pt idx="3380">
                  <c:v>40858</c:v>
                </c:pt>
                <c:pt idx="3381">
                  <c:v>40857</c:v>
                </c:pt>
                <c:pt idx="3382">
                  <c:v>40856</c:v>
                </c:pt>
                <c:pt idx="3383">
                  <c:v>40855</c:v>
                </c:pt>
                <c:pt idx="3384">
                  <c:v>40854</c:v>
                </c:pt>
                <c:pt idx="3385">
                  <c:v>40851</c:v>
                </c:pt>
                <c:pt idx="3386">
                  <c:v>40850</c:v>
                </c:pt>
                <c:pt idx="3387">
                  <c:v>40849</c:v>
                </c:pt>
                <c:pt idx="3388">
                  <c:v>40848</c:v>
                </c:pt>
                <c:pt idx="3389">
                  <c:v>40847</c:v>
                </c:pt>
                <c:pt idx="3390">
                  <c:v>40844</c:v>
                </c:pt>
                <c:pt idx="3391">
                  <c:v>40843</c:v>
                </c:pt>
                <c:pt idx="3392">
                  <c:v>40842</c:v>
                </c:pt>
                <c:pt idx="3393">
                  <c:v>40841</c:v>
                </c:pt>
                <c:pt idx="3394">
                  <c:v>40840</c:v>
                </c:pt>
                <c:pt idx="3395">
                  <c:v>40837</c:v>
                </c:pt>
                <c:pt idx="3396">
                  <c:v>40836</c:v>
                </c:pt>
                <c:pt idx="3397">
                  <c:v>40835</c:v>
                </c:pt>
                <c:pt idx="3398">
                  <c:v>40834</c:v>
                </c:pt>
                <c:pt idx="3399">
                  <c:v>40833</c:v>
                </c:pt>
                <c:pt idx="3400">
                  <c:v>40830</c:v>
                </c:pt>
                <c:pt idx="3401">
                  <c:v>40829</c:v>
                </c:pt>
                <c:pt idx="3402">
                  <c:v>40828</c:v>
                </c:pt>
                <c:pt idx="3403">
                  <c:v>40827</c:v>
                </c:pt>
                <c:pt idx="3404">
                  <c:v>40826</c:v>
                </c:pt>
                <c:pt idx="3405">
                  <c:v>40823</c:v>
                </c:pt>
                <c:pt idx="3406">
                  <c:v>40822</c:v>
                </c:pt>
                <c:pt idx="3407">
                  <c:v>40821</c:v>
                </c:pt>
                <c:pt idx="3408">
                  <c:v>40820</c:v>
                </c:pt>
                <c:pt idx="3409">
                  <c:v>40819</c:v>
                </c:pt>
                <c:pt idx="3410">
                  <c:v>40816</c:v>
                </c:pt>
                <c:pt idx="3411">
                  <c:v>40815</c:v>
                </c:pt>
                <c:pt idx="3412">
                  <c:v>40814</c:v>
                </c:pt>
                <c:pt idx="3413">
                  <c:v>40813</c:v>
                </c:pt>
                <c:pt idx="3414">
                  <c:v>40812</c:v>
                </c:pt>
                <c:pt idx="3415">
                  <c:v>40809</c:v>
                </c:pt>
                <c:pt idx="3416">
                  <c:v>40808</c:v>
                </c:pt>
                <c:pt idx="3417">
                  <c:v>40807</c:v>
                </c:pt>
                <c:pt idx="3418">
                  <c:v>40806</c:v>
                </c:pt>
                <c:pt idx="3419">
                  <c:v>40805</c:v>
                </c:pt>
                <c:pt idx="3420">
                  <c:v>40802</c:v>
                </c:pt>
                <c:pt idx="3421">
                  <c:v>40801</c:v>
                </c:pt>
                <c:pt idx="3422">
                  <c:v>40800</c:v>
                </c:pt>
                <c:pt idx="3423">
                  <c:v>40799</c:v>
                </c:pt>
                <c:pt idx="3424">
                  <c:v>40798</c:v>
                </c:pt>
                <c:pt idx="3425">
                  <c:v>40795</c:v>
                </c:pt>
                <c:pt idx="3426">
                  <c:v>40794</c:v>
                </c:pt>
                <c:pt idx="3427">
                  <c:v>40793</c:v>
                </c:pt>
                <c:pt idx="3428">
                  <c:v>40792</c:v>
                </c:pt>
                <c:pt idx="3429">
                  <c:v>40791</c:v>
                </c:pt>
                <c:pt idx="3430">
                  <c:v>40788</c:v>
                </c:pt>
                <c:pt idx="3431">
                  <c:v>40787</c:v>
                </c:pt>
                <c:pt idx="3432">
                  <c:v>40786</c:v>
                </c:pt>
                <c:pt idx="3433">
                  <c:v>40785</c:v>
                </c:pt>
                <c:pt idx="3434">
                  <c:v>40781</c:v>
                </c:pt>
                <c:pt idx="3435">
                  <c:v>40780</c:v>
                </c:pt>
                <c:pt idx="3436">
                  <c:v>40779</c:v>
                </c:pt>
              </c:numCache>
            </c:numRef>
          </c:cat>
          <c:val>
            <c:numRef>
              <c:f>'since inception'!$G$8:$G$3444</c:f>
              <c:numCache>
                <c:formatCode>General</c:formatCode>
                <c:ptCount val="3437"/>
                <c:pt idx="0">
                  <c:v>277.83059999999995</c:v>
                </c:pt>
                <c:pt idx="1">
                  <c:v>280.69380000000001</c:v>
                </c:pt>
                <c:pt idx="2">
                  <c:v>280.99490000000003</c:v>
                </c:pt>
                <c:pt idx="3">
                  <c:v>281.47399999999993</c:v>
                </c:pt>
                <c:pt idx="4">
                  <c:v>280.64949999999999</c:v>
                </c:pt>
                <c:pt idx="5">
                  <c:v>279.8082</c:v>
                </c:pt>
                <c:pt idx="6">
                  <c:v>280.02719999999999</c:v>
                </c:pt>
                <c:pt idx="7">
                  <c:v>281.91329999999999</c:v>
                </c:pt>
                <c:pt idx="8">
                  <c:v>282.03730000000002</c:v>
                </c:pt>
                <c:pt idx="9">
                  <c:v>281.93469999999996</c:v>
                </c:pt>
                <c:pt idx="10">
                  <c:v>281.11880000000002</c:v>
                </c:pt>
                <c:pt idx="11">
                  <c:v>279.69260000000003</c:v>
                </c:pt>
                <c:pt idx="12">
                  <c:v>276.62309999999997</c:v>
                </c:pt>
                <c:pt idx="13">
                  <c:v>276.72840000000002</c:v>
                </c:pt>
                <c:pt idx="14">
                  <c:v>275.26419999999996</c:v>
                </c:pt>
                <c:pt idx="15">
                  <c:v>278.37299999999999</c:v>
                </c:pt>
                <c:pt idx="16">
                  <c:v>281.0675</c:v>
                </c:pt>
                <c:pt idx="17">
                  <c:v>281.19459999999998</c:v>
                </c:pt>
                <c:pt idx="18">
                  <c:v>282.35550000000001</c:v>
                </c:pt>
                <c:pt idx="19">
                  <c:v>282.12239999999997</c:v>
                </c:pt>
                <c:pt idx="20">
                  <c:v>286.04289999999997</c:v>
                </c:pt>
                <c:pt idx="21">
                  <c:v>284.22129999999999</c:v>
                </c:pt>
                <c:pt idx="22">
                  <c:v>282.91269999999997</c:v>
                </c:pt>
                <c:pt idx="23">
                  <c:v>282.24809999999997</c:v>
                </c:pt>
                <c:pt idx="24">
                  <c:v>280.2373</c:v>
                </c:pt>
                <c:pt idx="25">
                  <c:v>280.05160000000001</c:v>
                </c:pt>
                <c:pt idx="26">
                  <c:v>280.28739999999999</c:v>
                </c:pt>
                <c:pt idx="27">
                  <c:v>280.3854</c:v>
                </c:pt>
                <c:pt idx="28">
                  <c:v>281.40440000000001</c:v>
                </c:pt>
                <c:pt idx="29">
                  <c:v>283.21280000000002</c:v>
                </c:pt>
                <c:pt idx="30">
                  <c:v>283.35879999999997</c:v>
                </c:pt>
                <c:pt idx="31">
                  <c:v>282.32530000000003</c:v>
                </c:pt>
                <c:pt idx="32">
                  <c:v>283.2319</c:v>
                </c:pt>
                <c:pt idx="33">
                  <c:v>284.14609999999999</c:v>
                </c:pt>
                <c:pt idx="34">
                  <c:v>283.37540000000001</c:v>
                </c:pt>
                <c:pt idx="35">
                  <c:v>283.23720000000003</c:v>
                </c:pt>
                <c:pt idx="36">
                  <c:v>281.05500000000001</c:v>
                </c:pt>
                <c:pt idx="37">
                  <c:v>282.06630000000001</c:v>
                </c:pt>
                <c:pt idx="38">
                  <c:v>278.7724</c:v>
                </c:pt>
                <c:pt idx="39">
                  <c:v>277.11619999999999</c:v>
                </c:pt>
                <c:pt idx="40">
                  <c:v>277.5718</c:v>
                </c:pt>
                <c:pt idx="41">
                  <c:v>280.53520000000003</c:v>
                </c:pt>
                <c:pt idx="42">
                  <c:v>279.52690000000001</c:v>
                </c:pt>
                <c:pt idx="43">
                  <c:v>276.59820000000002</c:v>
                </c:pt>
                <c:pt idx="44">
                  <c:v>275.99969999999996</c:v>
                </c:pt>
                <c:pt idx="45">
                  <c:v>274.75220000000002</c:v>
                </c:pt>
                <c:pt idx="46">
                  <c:v>274.99329999999998</c:v>
                </c:pt>
                <c:pt idx="47">
                  <c:v>276.75540000000001</c:v>
                </c:pt>
                <c:pt idx="48">
                  <c:v>276.27459999999996</c:v>
                </c:pt>
                <c:pt idx="49">
                  <c:v>276.39310000000006</c:v>
                </c:pt>
                <c:pt idx="50">
                  <c:v>275.4391</c:v>
                </c:pt>
                <c:pt idx="51">
                  <c:v>275.1986</c:v>
                </c:pt>
                <c:pt idx="52">
                  <c:v>271.9171</c:v>
                </c:pt>
                <c:pt idx="53">
                  <c:v>268.96719999999999</c:v>
                </c:pt>
                <c:pt idx="54">
                  <c:v>265.19319999999999</c:v>
                </c:pt>
                <c:pt idx="55">
                  <c:v>265.73789999999997</c:v>
                </c:pt>
                <c:pt idx="56">
                  <c:v>266.46890000000002</c:v>
                </c:pt>
                <c:pt idx="57">
                  <c:v>268.93979999999999</c:v>
                </c:pt>
                <c:pt idx="58">
                  <c:v>266.86779999999999</c:v>
                </c:pt>
                <c:pt idx="59">
                  <c:v>267.42070000000001</c:v>
                </c:pt>
                <c:pt idx="60">
                  <c:v>268.02179999999998</c:v>
                </c:pt>
                <c:pt idx="61">
                  <c:v>267.26710000000003</c:v>
                </c:pt>
                <c:pt idx="62">
                  <c:v>268.36099999999999</c:v>
                </c:pt>
                <c:pt idx="63">
                  <c:v>265.85059999999999</c:v>
                </c:pt>
                <c:pt idx="64">
                  <c:v>264.02629999999999</c:v>
                </c:pt>
                <c:pt idx="65">
                  <c:v>264.97830000000005</c:v>
                </c:pt>
                <c:pt idx="66">
                  <c:v>264.76829999999995</c:v>
                </c:pt>
                <c:pt idx="67">
                  <c:v>263.50409999999999</c:v>
                </c:pt>
                <c:pt idx="68">
                  <c:v>263.05070000000001</c:v>
                </c:pt>
                <c:pt idx="69">
                  <c:v>263.51479999999998</c:v>
                </c:pt>
                <c:pt idx="70">
                  <c:v>266.34639999999996</c:v>
                </c:pt>
                <c:pt idx="71">
                  <c:v>266.14179999999999</c:v>
                </c:pt>
                <c:pt idx="72">
                  <c:v>268.49730000000005</c:v>
                </c:pt>
                <c:pt idx="73">
                  <c:v>269.70150000000001</c:v>
                </c:pt>
                <c:pt idx="74">
                  <c:v>270.1266</c:v>
                </c:pt>
                <c:pt idx="75">
                  <c:v>269.82369999999997</c:v>
                </c:pt>
                <c:pt idx="76">
                  <c:v>269.24279999999999</c:v>
                </c:pt>
                <c:pt idx="77">
                  <c:v>271.36770000000001</c:v>
                </c:pt>
                <c:pt idx="78">
                  <c:v>270.15479999999997</c:v>
                </c:pt>
                <c:pt idx="79">
                  <c:v>271.17919999999998</c:v>
                </c:pt>
                <c:pt idx="80">
                  <c:v>270.7466</c:v>
                </c:pt>
                <c:pt idx="81">
                  <c:v>271.19830000000002</c:v>
                </c:pt>
                <c:pt idx="82">
                  <c:v>269.67489999999998</c:v>
                </c:pt>
                <c:pt idx="83">
                  <c:v>268.95980000000003</c:v>
                </c:pt>
                <c:pt idx="84">
                  <c:v>268.76130000000001</c:v>
                </c:pt>
                <c:pt idx="85">
                  <c:v>268.17630000000003</c:v>
                </c:pt>
                <c:pt idx="86">
                  <c:v>267.67019999999997</c:v>
                </c:pt>
                <c:pt idx="87">
                  <c:v>268.9083</c:v>
                </c:pt>
                <c:pt idx="88">
                  <c:v>267.78839999999997</c:v>
                </c:pt>
                <c:pt idx="89">
                  <c:v>264.25299999999999</c:v>
                </c:pt>
                <c:pt idx="90">
                  <c:v>262.11199999999997</c:v>
                </c:pt>
                <c:pt idx="91">
                  <c:v>262.83100000000002</c:v>
                </c:pt>
                <c:pt idx="92">
                  <c:v>263.07260000000002</c:v>
                </c:pt>
                <c:pt idx="93">
                  <c:v>261.94720000000001</c:v>
                </c:pt>
                <c:pt idx="94">
                  <c:v>262.24759999999998</c:v>
                </c:pt>
                <c:pt idx="95">
                  <c:v>260.50460000000004</c:v>
                </c:pt>
                <c:pt idx="96">
                  <c:v>260.52</c:v>
                </c:pt>
                <c:pt idx="97">
                  <c:v>263.81299999999999</c:v>
                </c:pt>
                <c:pt idx="98">
                  <c:v>261.98419999999999</c:v>
                </c:pt>
                <c:pt idx="99">
                  <c:v>264.09829999999999</c:v>
                </c:pt>
                <c:pt idx="100">
                  <c:v>264.08979999999997</c:v>
                </c:pt>
                <c:pt idx="101">
                  <c:v>264.10400000000004</c:v>
                </c:pt>
                <c:pt idx="102">
                  <c:v>264.58359999999999</c:v>
                </c:pt>
                <c:pt idx="103">
                  <c:v>264.42020000000002</c:v>
                </c:pt>
                <c:pt idx="104">
                  <c:v>262.42</c:v>
                </c:pt>
                <c:pt idx="105">
                  <c:v>264.30369999999994</c:v>
                </c:pt>
                <c:pt idx="106">
                  <c:v>265.79559999999998</c:v>
                </c:pt>
                <c:pt idx="107">
                  <c:v>267.99869999999999</c:v>
                </c:pt>
                <c:pt idx="108">
                  <c:v>266.97860000000003</c:v>
                </c:pt>
                <c:pt idx="109">
                  <c:v>267.48770000000002</c:v>
                </c:pt>
                <c:pt idx="110">
                  <c:v>267.20359999999999</c:v>
                </c:pt>
                <c:pt idx="111">
                  <c:v>268.71169999999995</c:v>
                </c:pt>
                <c:pt idx="112">
                  <c:v>268.97039999999998</c:v>
                </c:pt>
                <c:pt idx="113">
                  <c:v>270.52360000000004</c:v>
                </c:pt>
                <c:pt idx="114">
                  <c:v>271.18</c:v>
                </c:pt>
                <c:pt idx="115">
                  <c:v>269.38490000000002</c:v>
                </c:pt>
                <c:pt idx="116">
                  <c:v>266.86019999999996</c:v>
                </c:pt>
                <c:pt idx="117">
                  <c:v>268.10239999999999</c:v>
                </c:pt>
                <c:pt idx="118">
                  <c:v>266.93350000000004</c:v>
                </c:pt>
                <c:pt idx="119">
                  <c:v>266.40210000000002</c:v>
                </c:pt>
                <c:pt idx="120">
                  <c:v>266.67219999999998</c:v>
                </c:pt>
                <c:pt idx="121">
                  <c:v>264.8802</c:v>
                </c:pt>
                <c:pt idx="122">
                  <c:v>268.38730000000004</c:v>
                </c:pt>
                <c:pt idx="123">
                  <c:v>267.84359999999998</c:v>
                </c:pt>
                <c:pt idx="124">
                  <c:v>267.60289999999998</c:v>
                </c:pt>
                <c:pt idx="125">
                  <c:v>267.80509999999998</c:v>
                </c:pt>
                <c:pt idx="126">
                  <c:v>267.63529999999997</c:v>
                </c:pt>
                <c:pt idx="127">
                  <c:v>266.79140000000001</c:v>
                </c:pt>
                <c:pt idx="128">
                  <c:v>269.41969999999998</c:v>
                </c:pt>
                <c:pt idx="129">
                  <c:v>268.0068</c:v>
                </c:pt>
                <c:pt idx="130">
                  <c:v>266.93100000000004</c:v>
                </c:pt>
                <c:pt idx="131">
                  <c:v>267.35419999999999</c:v>
                </c:pt>
                <c:pt idx="132">
                  <c:v>266.85949999999997</c:v>
                </c:pt>
                <c:pt idx="133">
                  <c:v>266.03680000000003</c:v>
                </c:pt>
                <c:pt idx="134">
                  <c:v>269.3177</c:v>
                </c:pt>
                <c:pt idx="135">
                  <c:v>266.62210000000005</c:v>
                </c:pt>
                <c:pt idx="136">
                  <c:v>268.3596</c:v>
                </c:pt>
                <c:pt idx="137">
                  <c:v>267.47019999999998</c:v>
                </c:pt>
                <c:pt idx="138">
                  <c:v>267.26510000000002</c:v>
                </c:pt>
                <c:pt idx="139">
                  <c:v>266.01169999999996</c:v>
                </c:pt>
                <c:pt idx="140">
                  <c:v>264.35900000000004</c:v>
                </c:pt>
                <c:pt idx="141">
                  <c:v>264.92090000000002</c:v>
                </c:pt>
                <c:pt idx="142">
                  <c:v>266.69110000000001</c:v>
                </c:pt>
                <c:pt idx="143">
                  <c:v>263.95840000000004</c:v>
                </c:pt>
                <c:pt idx="144">
                  <c:v>266.10259999999994</c:v>
                </c:pt>
                <c:pt idx="145">
                  <c:v>266.8184</c:v>
                </c:pt>
                <c:pt idx="146">
                  <c:v>267.62039999999996</c:v>
                </c:pt>
                <c:pt idx="147">
                  <c:v>269.73630000000003</c:v>
                </c:pt>
                <c:pt idx="148">
                  <c:v>270.28379999999999</c:v>
                </c:pt>
                <c:pt idx="149">
                  <c:v>270.26079999999996</c:v>
                </c:pt>
                <c:pt idx="150">
                  <c:v>269.16849999999999</c:v>
                </c:pt>
                <c:pt idx="151">
                  <c:v>269.40110000000004</c:v>
                </c:pt>
                <c:pt idx="152">
                  <c:v>268.96199999999999</c:v>
                </c:pt>
                <c:pt idx="153">
                  <c:v>267.70959999999997</c:v>
                </c:pt>
                <c:pt idx="154">
                  <c:v>267.60859999999997</c:v>
                </c:pt>
                <c:pt idx="155">
                  <c:v>266.97210000000001</c:v>
                </c:pt>
                <c:pt idx="156">
                  <c:v>269.55709999999999</c:v>
                </c:pt>
                <c:pt idx="157">
                  <c:v>268.10879999999997</c:v>
                </c:pt>
                <c:pt idx="158">
                  <c:v>269.16180000000003</c:v>
                </c:pt>
                <c:pt idx="159">
                  <c:v>266.32139999999998</c:v>
                </c:pt>
                <c:pt idx="160">
                  <c:v>264.70089999999999</c:v>
                </c:pt>
                <c:pt idx="161">
                  <c:v>263.89850000000001</c:v>
                </c:pt>
                <c:pt idx="162">
                  <c:v>262.63800000000003</c:v>
                </c:pt>
                <c:pt idx="163">
                  <c:v>261.78159999999997</c:v>
                </c:pt>
                <c:pt idx="164">
                  <c:v>261.94499999999994</c:v>
                </c:pt>
                <c:pt idx="165">
                  <c:v>257.72989999999999</c:v>
                </c:pt>
                <c:pt idx="166">
                  <c:v>256.96510000000001</c:v>
                </c:pt>
                <c:pt idx="167">
                  <c:v>262.6388</c:v>
                </c:pt>
                <c:pt idx="168">
                  <c:v>266.77999999999997</c:v>
                </c:pt>
                <c:pt idx="169">
                  <c:v>269.13840000000005</c:v>
                </c:pt>
                <c:pt idx="170">
                  <c:v>266.2747</c:v>
                </c:pt>
                <c:pt idx="171">
                  <c:v>266.4325</c:v>
                </c:pt>
                <c:pt idx="172">
                  <c:v>266.44190000000003</c:v>
                </c:pt>
                <c:pt idx="173">
                  <c:v>262.88080000000002</c:v>
                </c:pt>
                <c:pt idx="174">
                  <c:v>262.0378</c:v>
                </c:pt>
                <c:pt idx="175">
                  <c:v>262.67699999999996</c:v>
                </c:pt>
                <c:pt idx="176">
                  <c:v>263.61349999999999</c:v>
                </c:pt>
                <c:pt idx="177">
                  <c:v>262.32220000000001</c:v>
                </c:pt>
                <c:pt idx="178">
                  <c:v>263.96119999999996</c:v>
                </c:pt>
                <c:pt idx="179">
                  <c:v>263.23379999999997</c:v>
                </c:pt>
                <c:pt idx="180">
                  <c:v>262.83510000000001</c:v>
                </c:pt>
                <c:pt idx="181">
                  <c:v>263.28949999999998</c:v>
                </c:pt>
                <c:pt idx="182">
                  <c:v>265.19870000000003</c:v>
                </c:pt>
                <c:pt idx="183">
                  <c:v>264.36609999999996</c:v>
                </c:pt>
                <c:pt idx="184">
                  <c:v>263.03980000000007</c:v>
                </c:pt>
                <c:pt idx="185">
                  <c:v>261.06970000000001</c:v>
                </c:pt>
                <c:pt idx="186">
                  <c:v>262.78300000000002</c:v>
                </c:pt>
                <c:pt idx="187">
                  <c:v>263.03219999999999</c:v>
                </c:pt>
                <c:pt idx="188">
                  <c:v>263.72929999999997</c:v>
                </c:pt>
                <c:pt idx="189">
                  <c:v>261.63380000000001</c:v>
                </c:pt>
                <c:pt idx="190">
                  <c:v>259.67410000000001</c:v>
                </c:pt>
                <c:pt idx="191">
                  <c:v>260.95320000000004</c:v>
                </c:pt>
                <c:pt idx="192">
                  <c:v>260.97900000000004</c:v>
                </c:pt>
                <c:pt idx="193">
                  <c:v>261.46850000000001</c:v>
                </c:pt>
                <c:pt idx="194">
                  <c:v>262.4812</c:v>
                </c:pt>
                <c:pt idx="195">
                  <c:v>263.20819999999998</c:v>
                </c:pt>
                <c:pt idx="196">
                  <c:v>264.47890000000001</c:v>
                </c:pt>
                <c:pt idx="197">
                  <c:v>263.08230000000003</c:v>
                </c:pt>
                <c:pt idx="198">
                  <c:v>264.10860000000002</c:v>
                </c:pt>
                <c:pt idx="199">
                  <c:v>261.9151</c:v>
                </c:pt>
                <c:pt idx="200">
                  <c:v>261.59780000000001</c:v>
                </c:pt>
                <c:pt idx="201">
                  <c:v>259.81670000000003</c:v>
                </c:pt>
                <c:pt idx="202">
                  <c:v>259.86590000000001</c:v>
                </c:pt>
                <c:pt idx="203">
                  <c:v>260.4701</c:v>
                </c:pt>
                <c:pt idx="204">
                  <c:v>262.3492</c:v>
                </c:pt>
                <c:pt idx="205">
                  <c:v>260.10579999999999</c:v>
                </c:pt>
                <c:pt idx="206">
                  <c:v>262.61850000000004</c:v>
                </c:pt>
                <c:pt idx="207">
                  <c:v>263.274</c:v>
                </c:pt>
                <c:pt idx="208">
                  <c:v>264.65120000000002</c:v>
                </c:pt>
                <c:pt idx="209">
                  <c:v>263.13550000000004</c:v>
                </c:pt>
                <c:pt idx="210">
                  <c:v>262.80239999999998</c:v>
                </c:pt>
                <c:pt idx="211">
                  <c:v>263.98</c:v>
                </c:pt>
                <c:pt idx="212">
                  <c:v>263.98289999999997</c:v>
                </c:pt>
                <c:pt idx="213">
                  <c:v>262.67790000000002</c:v>
                </c:pt>
                <c:pt idx="214">
                  <c:v>260.87989999999996</c:v>
                </c:pt>
                <c:pt idx="215">
                  <c:v>263.28440000000001</c:v>
                </c:pt>
                <c:pt idx="216">
                  <c:v>265.10890000000001</c:v>
                </c:pt>
                <c:pt idx="217">
                  <c:v>265.44889999999998</c:v>
                </c:pt>
                <c:pt idx="218">
                  <c:v>266.34960000000001</c:v>
                </c:pt>
                <c:pt idx="219">
                  <c:v>267.74250000000006</c:v>
                </c:pt>
                <c:pt idx="220">
                  <c:v>268.09180000000003</c:v>
                </c:pt>
                <c:pt idx="221">
                  <c:v>267.73259999999999</c:v>
                </c:pt>
                <c:pt idx="222">
                  <c:v>268.34410000000003</c:v>
                </c:pt>
                <c:pt idx="223">
                  <c:v>267.8732</c:v>
                </c:pt>
                <c:pt idx="224">
                  <c:v>267.08769999999998</c:v>
                </c:pt>
                <c:pt idx="225">
                  <c:v>266.62729999999999</c:v>
                </c:pt>
                <c:pt idx="226">
                  <c:v>267.26599999999996</c:v>
                </c:pt>
                <c:pt idx="227">
                  <c:v>265.63900000000001</c:v>
                </c:pt>
                <c:pt idx="228">
                  <c:v>264.61990000000003</c:v>
                </c:pt>
                <c:pt idx="229">
                  <c:v>263.38249999999999</c:v>
                </c:pt>
                <c:pt idx="230">
                  <c:v>260.24380000000002</c:v>
                </c:pt>
                <c:pt idx="231">
                  <c:v>258.90789999999998</c:v>
                </c:pt>
                <c:pt idx="232">
                  <c:v>257.18310000000002</c:v>
                </c:pt>
                <c:pt idx="233">
                  <c:v>257.86119999999994</c:v>
                </c:pt>
                <c:pt idx="234">
                  <c:v>258.1481</c:v>
                </c:pt>
                <c:pt idx="235">
                  <c:v>257.4735</c:v>
                </c:pt>
                <c:pt idx="236">
                  <c:v>255.39849999999998</c:v>
                </c:pt>
                <c:pt idx="237">
                  <c:v>254.42960000000002</c:v>
                </c:pt>
                <c:pt idx="238">
                  <c:v>254.70240000000004</c:v>
                </c:pt>
                <c:pt idx="239">
                  <c:v>253.76300000000001</c:v>
                </c:pt>
                <c:pt idx="240">
                  <c:v>249.91279999999998</c:v>
                </c:pt>
                <c:pt idx="241">
                  <c:v>249.54109999999997</c:v>
                </c:pt>
                <c:pt idx="242">
                  <c:v>248.38209999999998</c:v>
                </c:pt>
                <c:pt idx="243">
                  <c:v>247.64910000000003</c:v>
                </c:pt>
                <c:pt idx="244">
                  <c:v>252.21150000000003</c:v>
                </c:pt>
                <c:pt idx="245">
                  <c:v>253.06950000000001</c:v>
                </c:pt>
                <c:pt idx="246">
                  <c:v>251.25070000000002</c:v>
                </c:pt>
                <c:pt idx="247">
                  <c:v>251.84549999999999</c:v>
                </c:pt>
                <c:pt idx="248">
                  <c:v>251.07020000000003</c:v>
                </c:pt>
                <c:pt idx="249">
                  <c:v>251.46480000000003</c:v>
                </c:pt>
                <c:pt idx="250">
                  <c:v>250.3425</c:v>
                </c:pt>
                <c:pt idx="251">
                  <c:v>252.3475</c:v>
                </c:pt>
                <c:pt idx="252">
                  <c:v>250.995</c:v>
                </c:pt>
                <c:pt idx="253">
                  <c:v>250.86160000000001</c:v>
                </c:pt>
                <c:pt idx="254">
                  <c:v>251.64590000000001</c:v>
                </c:pt>
                <c:pt idx="255">
                  <c:v>250.82570000000004</c:v>
                </c:pt>
                <c:pt idx="256">
                  <c:v>250.73059999999998</c:v>
                </c:pt>
                <c:pt idx="257">
                  <c:v>250.06329999999997</c:v>
                </c:pt>
                <c:pt idx="258">
                  <c:v>250.62739999999999</c:v>
                </c:pt>
                <c:pt idx="259">
                  <c:v>249.34889999999999</c:v>
                </c:pt>
                <c:pt idx="260">
                  <c:v>244.8246</c:v>
                </c:pt>
                <c:pt idx="261">
                  <c:v>244.75910000000002</c:v>
                </c:pt>
                <c:pt idx="262">
                  <c:v>244.44220000000004</c:v>
                </c:pt>
                <c:pt idx="263">
                  <c:v>244.6276</c:v>
                </c:pt>
                <c:pt idx="264">
                  <c:v>244.99440000000004</c:v>
                </c:pt>
                <c:pt idx="265">
                  <c:v>245.68610000000001</c:v>
                </c:pt>
                <c:pt idx="266">
                  <c:v>245.08510000000001</c:v>
                </c:pt>
                <c:pt idx="267">
                  <c:v>242.92449999999999</c:v>
                </c:pt>
                <c:pt idx="268">
                  <c:v>242.83539999999996</c:v>
                </c:pt>
                <c:pt idx="269">
                  <c:v>243.6662</c:v>
                </c:pt>
                <c:pt idx="270">
                  <c:v>242.31220000000002</c:v>
                </c:pt>
                <c:pt idx="271">
                  <c:v>241.0583</c:v>
                </c:pt>
                <c:pt idx="272">
                  <c:v>240.87710000000001</c:v>
                </c:pt>
                <c:pt idx="273">
                  <c:v>242.1951</c:v>
                </c:pt>
                <c:pt idx="274">
                  <c:v>240.23830000000004</c:v>
                </c:pt>
                <c:pt idx="275">
                  <c:v>239.83819999999997</c:v>
                </c:pt>
                <c:pt idx="276">
                  <c:v>241.67529999999999</c:v>
                </c:pt>
                <c:pt idx="277">
                  <c:v>241.63890000000001</c:v>
                </c:pt>
                <c:pt idx="278">
                  <c:v>242.32849999999999</c:v>
                </c:pt>
                <c:pt idx="279">
                  <c:v>241.89090000000002</c:v>
                </c:pt>
                <c:pt idx="280">
                  <c:v>240.59049999999996</c:v>
                </c:pt>
                <c:pt idx="281">
                  <c:v>242.07830000000001</c:v>
                </c:pt>
                <c:pt idx="282">
                  <c:v>242.5335</c:v>
                </c:pt>
                <c:pt idx="283">
                  <c:v>242.03280000000001</c:v>
                </c:pt>
                <c:pt idx="284">
                  <c:v>238.85170000000002</c:v>
                </c:pt>
                <c:pt idx="285">
                  <c:v>237.50989999999996</c:v>
                </c:pt>
                <c:pt idx="286">
                  <c:v>235.89729999999997</c:v>
                </c:pt>
                <c:pt idx="287">
                  <c:v>238.02370000000002</c:v>
                </c:pt>
                <c:pt idx="288">
                  <c:v>237.73230000000001</c:v>
                </c:pt>
                <c:pt idx="289">
                  <c:v>238.39550000000003</c:v>
                </c:pt>
                <c:pt idx="290">
                  <c:v>239.2655</c:v>
                </c:pt>
                <c:pt idx="291">
                  <c:v>240.78889999999998</c:v>
                </c:pt>
                <c:pt idx="292">
                  <c:v>238.71039999999999</c:v>
                </c:pt>
                <c:pt idx="293">
                  <c:v>239.06549999999999</c:v>
                </c:pt>
                <c:pt idx="294">
                  <c:v>239.16319999999999</c:v>
                </c:pt>
                <c:pt idx="295">
                  <c:v>239.78200000000004</c:v>
                </c:pt>
                <c:pt idx="296">
                  <c:v>240.71569999999997</c:v>
                </c:pt>
                <c:pt idx="297">
                  <c:v>239.75439999999998</c:v>
                </c:pt>
                <c:pt idx="298">
                  <c:v>239.88709999999998</c:v>
                </c:pt>
                <c:pt idx="299">
                  <c:v>236.89</c:v>
                </c:pt>
                <c:pt idx="300">
                  <c:v>236.72180000000003</c:v>
                </c:pt>
                <c:pt idx="301">
                  <c:v>235.28310000000002</c:v>
                </c:pt>
                <c:pt idx="302">
                  <c:v>235.46810000000002</c:v>
                </c:pt>
                <c:pt idx="303">
                  <c:v>234.40859999999998</c:v>
                </c:pt>
                <c:pt idx="304">
                  <c:v>234.43219999999999</c:v>
                </c:pt>
                <c:pt idx="305">
                  <c:v>233.90100000000001</c:v>
                </c:pt>
                <c:pt idx="306">
                  <c:v>237.4691</c:v>
                </c:pt>
                <c:pt idx="307">
                  <c:v>238.4973</c:v>
                </c:pt>
                <c:pt idx="308">
                  <c:v>239.26750000000001</c:v>
                </c:pt>
                <c:pt idx="309">
                  <c:v>237.83789999999999</c:v>
                </c:pt>
                <c:pt idx="310">
                  <c:v>240.08570000000003</c:v>
                </c:pt>
                <c:pt idx="311">
                  <c:v>240.96549999999999</c:v>
                </c:pt>
                <c:pt idx="312">
                  <c:v>241.42429999999999</c:v>
                </c:pt>
                <c:pt idx="313">
                  <c:v>240.97689999999997</c:v>
                </c:pt>
                <c:pt idx="314">
                  <c:v>242.16449999999998</c:v>
                </c:pt>
                <c:pt idx="315">
                  <c:v>240.96549999999999</c:v>
                </c:pt>
                <c:pt idx="316">
                  <c:v>242.35560000000001</c:v>
                </c:pt>
                <c:pt idx="317">
                  <c:v>242.99350000000004</c:v>
                </c:pt>
                <c:pt idx="318">
                  <c:v>242.76499999999999</c:v>
                </c:pt>
                <c:pt idx="319">
                  <c:v>242.7962</c:v>
                </c:pt>
                <c:pt idx="320">
                  <c:v>241.88099999999997</c:v>
                </c:pt>
                <c:pt idx="321">
                  <c:v>241.69380000000001</c:v>
                </c:pt>
                <c:pt idx="322">
                  <c:v>242.18380000000002</c:v>
                </c:pt>
                <c:pt idx="323">
                  <c:v>239.54170000000002</c:v>
                </c:pt>
                <c:pt idx="324">
                  <c:v>238.73220000000001</c:v>
                </c:pt>
                <c:pt idx="325">
                  <c:v>237.69369999999998</c:v>
                </c:pt>
                <c:pt idx="326">
                  <c:v>239.64330000000001</c:v>
                </c:pt>
                <c:pt idx="327">
                  <c:v>235.88719999999998</c:v>
                </c:pt>
                <c:pt idx="328">
                  <c:v>235.67840000000001</c:v>
                </c:pt>
                <c:pt idx="329">
                  <c:v>235.89519999999999</c:v>
                </c:pt>
                <c:pt idx="330">
                  <c:v>236.07140000000001</c:v>
                </c:pt>
                <c:pt idx="331">
                  <c:v>234.8426</c:v>
                </c:pt>
                <c:pt idx="332">
                  <c:v>234.92290000000003</c:v>
                </c:pt>
                <c:pt idx="333">
                  <c:v>233.91859999999997</c:v>
                </c:pt>
                <c:pt idx="334">
                  <c:v>234.3006</c:v>
                </c:pt>
                <c:pt idx="335">
                  <c:v>234.82650000000001</c:v>
                </c:pt>
                <c:pt idx="336">
                  <c:v>232.49339999999998</c:v>
                </c:pt>
                <c:pt idx="337">
                  <c:v>232.07469999999998</c:v>
                </c:pt>
                <c:pt idx="338">
                  <c:v>232.76150000000001</c:v>
                </c:pt>
                <c:pt idx="339">
                  <c:v>233.0086</c:v>
                </c:pt>
                <c:pt idx="340">
                  <c:v>233.77059999999997</c:v>
                </c:pt>
                <c:pt idx="341">
                  <c:v>233.69200000000001</c:v>
                </c:pt>
                <c:pt idx="342">
                  <c:v>233.053</c:v>
                </c:pt>
                <c:pt idx="343">
                  <c:v>233.13949999999997</c:v>
                </c:pt>
                <c:pt idx="344">
                  <c:v>233.96129999999999</c:v>
                </c:pt>
                <c:pt idx="345">
                  <c:v>234.10960000000003</c:v>
                </c:pt>
                <c:pt idx="346">
                  <c:v>231.24279999999996</c:v>
                </c:pt>
                <c:pt idx="347">
                  <c:v>233.44800000000001</c:v>
                </c:pt>
                <c:pt idx="348">
                  <c:v>231.93690000000001</c:v>
                </c:pt>
                <c:pt idx="349">
                  <c:v>230.39550000000003</c:v>
                </c:pt>
                <c:pt idx="350">
                  <c:v>228.5523</c:v>
                </c:pt>
                <c:pt idx="351">
                  <c:v>231.38459999999998</c:v>
                </c:pt>
                <c:pt idx="352">
                  <c:v>229.31829999999999</c:v>
                </c:pt>
                <c:pt idx="353">
                  <c:v>229.39769999999999</c:v>
                </c:pt>
                <c:pt idx="354">
                  <c:v>229.577</c:v>
                </c:pt>
                <c:pt idx="355">
                  <c:v>230.00059999999996</c:v>
                </c:pt>
                <c:pt idx="356">
                  <c:v>230.3312</c:v>
                </c:pt>
                <c:pt idx="357">
                  <c:v>226.50709999999998</c:v>
                </c:pt>
                <c:pt idx="358">
                  <c:v>225.75349999999997</c:v>
                </c:pt>
                <c:pt idx="359">
                  <c:v>225.77179999999996</c:v>
                </c:pt>
                <c:pt idx="360">
                  <c:v>224.54429999999999</c:v>
                </c:pt>
                <c:pt idx="361">
                  <c:v>226.04810000000001</c:v>
                </c:pt>
                <c:pt idx="362">
                  <c:v>227.79929999999999</c:v>
                </c:pt>
                <c:pt idx="363">
                  <c:v>227.38030000000001</c:v>
                </c:pt>
                <c:pt idx="364">
                  <c:v>227.10850000000002</c:v>
                </c:pt>
                <c:pt idx="365">
                  <c:v>227.80040000000002</c:v>
                </c:pt>
                <c:pt idx="366">
                  <c:v>230.7055</c:v>
                </c:pt>
                <c:pt idx="367">
                  <c:v>233.30869999999999</c:v>
                </c:pt>
                <c:pt idx="368">
                  <c:v>236.1062</c:v>
                </c:pt>
                <c:pt idx="369">
                  <c:v>234.62129999999996</c:v>
                </c:pt>
                <c:pt idx="370">
                  <c:v>233.72310000000002</c:v>
                </c:pt>
                <c:pt idx="371">
                  <c:v>235.60569999999998</c:v>
                </c:pt>
                <c:pt idx="372">
                  <c:v>234.92769999999999</c:v>
                </c:pt>
                <c:pt idx="373">
                  <c:v>235.29970000000003</c:v>
                </c:pt>
                <c:pt idx="374">
                  <c:v>230.98809999999997</c:v>
                </c:pt>
                <c:pt idx="375">
                  <c:v>231.36410000000001</c:v>
                </c:pt>
                <c:pt idx="376">
                  <c:v>230.00639999999999</c:v>
                </c:pt>
                <c:pt idx="377">
                  <c:v>228.75139999999999</c:v>
                </c:pt>
                <c:pt idx="378">
                  <c:v>230.62269999999998</c:v>
                </c:pt>
                <c:pt idx="379">
                  <c:v>232.25550000000004</c:v>
                </c:pt>
                <c:pt idx="380">
                  <c:v>235.386</c:v>
                </c:pt>
                <c:pt idx="381">
                  <c:v>234.87840000000003</c:v>
                </c:pt>
                <c:pt idx="382">
                  <c:v>234.65299999999999</c:v>
                </c:pt>
                <c:pt idx="383">
                  <c:v>235.7157</c:v>
                </c:pt>
                <c:pt idx="384">
                  <c:v>235.83930000000004</c:v>
                </c:pt>
                <c:pt idx="385">
                  <c:v>237.7396</c:v>
                </c:pt>
                <c:pt idx="386">
                  <c:v>237.66150000000002</c:v>
                </c:pt>
                <c:pt idx="387">
                  <c:v>239.15190000000001</c:v>
                </c:pt>
                <c:pt idx="388">
                  <c:v>236.74090000000004</c:v>
                </c:pt>
                <c:pt idx="389">
                  <c:v>236.59350000000003</c:v>
                </c:pt>
                <c:pt idx="390">
                  <c:v>238.72989999999996</c:v>
                </c:pt>
                <c:pt idx="391">
                  <c:v>237.90389999999996</c:v>
                </c:pt>
                <c:pt idx="392">
                  <c:v>233.4263</c:v>
                </c:pt>
                <c:pt idx="393">
                  <c:v>233.4308</c:v>
                </c:pt>
                <c:pt idx="394">
                  <c:v>232.59119999999999</c:v>
                </c:pt>
                <c:pt idx="395">
                  <c:v>231.99369999999999</c:v>
                </c:pt>
                <c:pt idx="396">
                  <c:v>230.9034</c:v>
                </c:pt>
                <c:pt idx="397">
                  <c:v>230.5564</c:v>
                </c:pt>
                <c:pt idx="398">
                  <c:v>230.95959999999999</c:v>
                </c:pt>
                <c:pt idx="399">
                  <c:v>231.41059999999999</c:v>
                </c:pt>
                <c:pt idx="400">
                  <c:v>231.7244</c:v>
                </c:pt>
                <c:pt idx="401">
                  <c:v>231.17320000000001</c:v>
                </c:pt>
                <c:pt idx="402">
                  <c:v>231.95810000000003</c:v>
                </c:pt>
                <c:pt idx="403">
                  <c:v>231.55960000000002</c:v>
                </c:pt>
                <c:pt idx="404">
                  <c:v>227.62260000000003</c:v>
                </c:pt>
                <c:pt idx="405">
                  <c:v>227.60039999999998</c:v>
                </c:pt>
                <c:pt idx="406">
                  <c:v>227.08799999999999</c:v>
                </c:pt>
                <c:pt idx="407">
                  <c:v>225.41710000000003</c:v>
                </c:pt>
                <c:pt idx="408">
                  <c:v>224.83810000000003</c:v>
                </c:pt>
                <c:pt idx="409">
                  <c:v>225.32380000000001</c:v>
                </c:pt>
                <c:pt idx="410">
                  <c:v>227.08349999999999</c:v>
                </c:pt>
                <c:pt idx="411">
                  <c:v>228.4999</c:v>
                </c:pt>
                <c:pt idx="412">
                  <c:v>229.49600000000001</c:v>
                </c:pt>
                <c:pt idx="413">
                  <c:v>232.77440000000001</c:v>
                </c:pt>
                <c:pt idx="414">
                  <c:v>233.29320000000004</c:v>
                </c:pt>
                <c:pt idx="415">
                  <c:v>236.1199</c:v>
                </c:pt>
                <c:pt idx="416">
                  <c:v>234.3168</c:v>
                </c:pt>
                <c:pt idx="417">
                  <c:v>232.5761</c:v>
                </c:pt>
                <c:pt idx="418">
                  <c:v>233.34260000000003</c:v>
                </c:pt>
                <c:pt idx="419">
                  <c:v>233.74850000000001</c:v>
                </c:pt>
                <c:pt idx="420">
                  <c:v>232.63159999999999</c:v>
                </c:pt>
                <c:pt idx="421">
                  <c:v>233.13709999999998</c:v>
                </c:pt>
                <c:pt idx="422">
                  <c:v>236.32369999999997</c:v>
                </c:pt>
                <c:pt idx="423">
                  <c:v>237.31929999999997</c:v>
                </c:pt>
                <c:pt idx="424">
                  <c:v>237.15809999999999</c:v>
                </c:pt>
                <c:pt idx="425">
                  <c:v>237.3571</c:v>
                </c:pt>
                <c:pt idx="426">
                  <c:v>236.68649999999997</c:v>
                </c:pt>
                <c:pt idx="427">
                  <c:v>237.0205</c:v>
                </c:pt>
                <c:pt idx="428">
                  <c:v>236.63400000000001</c:v>
                </c:pt>
                <c:pt idx="429">
                  <c:v>236.35310000000001</c:v>
                </c:pt>
                <c:pt idx="430">
                  <c:v>236.09090000000003</c:v>
                </c:pt>
                <c:pt idx="431">
                  <c:v>234.5771</c:v>
                </c:pt>
                <c:pt idx="432">
                  <c:v>229.78899999999999</c:v>
                </c:pt>
                <c:pt idx="433">
                  <c:v>228.17470000000003</c:v>
                </c:pt>
                <c:pt idx="434">
                  <c:v>229.20590000000001</c:v>
                </c:pt>
                <c:pt idx="435">
                  <c:v>229.47649999999999</c:v>
                </c:pt>
                <c:pt idx="436">
                  <c:v>228.59759999999997</c:v>
                </c:pt>
                <c:pt idx="437">
                  <c:v>224.3563</c:v>
                </c:pt>
                <c:pt idx="438">
                  <c:v>223.93960000000001</c:v>
                </c:pt>
                <c:pt idx="439">
                  <c:v>223.44720000000001</c:v>
                </c:pt>
                <c:pt idx="440">
                  <c:v>223.90860000000004</c:v>
                </c:pt>
                <c:pt idx="441">
                  <c:v>228.95409999999998</c:v>
                </c:pt>
                <c:pt idx="442">
                  <c:v>231.21129999999999</c:v>
                </c:pt>
                <c:pt idx="443">
                  <c:v>231.3434</c:v>
                </c:pt>
                <c:pt idx="444">
                  <c:v>231.26490000000004</c:v>
                </c:pt>
                <c:pt idx="445">
                  <c:v>229.46900000000002</c:v>
                </c:pt>
                <c:pt idx="446">
                  <c:v>230.42519999999999</c:v>
                </c:pt>
                <c:pt idx="447">
                  <c:v>228.7713</c:v>
                </c:pt>
                <c:pt idx="448">
                  <c:v>228.42529999999996</c:v>
                </c:pt>
                <c:pt idx="449">
                  <c:v>228.80969999999996</c:v>
                </c:pt>
                <c:pt idx="450">
                  <c:v>230.35519999999997</c:v>
                </c:pt>
                <c:pt idx="451">
                  <c:v>232.18839999999997</c:v>
                </c:pt>
                <c:pt idx="452">
                  <c:v>232.75259999999997</c:v>
                </c:pt>
                <c:pt idx="453">
                  <c:v>233.44769999999997</c:v>
                </c:pt>
                <c:pt idx="454">
                  <c:v>235.16230000000002</c:v>
                </c:pt>
                <c:pt idx="455">
                  <c:v>234.8125</c:v>
                </c:pt>
                <c:pt idx="456">
                  <c:v>234.33130000000003</c:v>
                </c:pt>
                <c:pt idx="457">
                  <c:v>234.16660000000002</c:v>
                </c:pt>
                <c:pt idx="458">
                  <c:v>233.54390000000001</c:v>
                </c:pt>
                <c:pt idx="459">
                  <c:v>233.14340000000001</c:v>
                </c:pt>
                <c:pt idx="460">
                  <c:v>234.13499999999999</c:v>
                </c:pt>
                <c:pt idx="461">
                  <c:v>234.64230000000001</c:v>
                </c:pt>
                <c:pt idx="462">
                  <c:v>234.84970000000001</c:v>
                </c:pt>
                <c:pt idx="463">
                  <c:v>233.93049999999999</c:v>
                </c:pt>
                <c:pt idx="464">
                  <c:v>234.18299999999999</c:v>
                </c:pt>
                <c:pt idx="465">
                  <c:v>230.53499999999997</c:v>
                </c:pt>
                <c:pt idx="466">
                  <c:v>228.98820000000001</c:v>
                </c:pt>
                <c:pt idx="467">
                  <c:v>231.12500000000003</c:v>
                </c:pt>
                <c:pt idx="468">
                  <c:v>233.8159</c:v>
                </c:pt>
                <c:pt idx="469">
                  <c:v>232.45269999999999</c:v>
                </c:pt>
                <c:pt idx="470">
                  <c:v>233.96180000000001</c:v>
                </c:pt>
                <c:pt idx="471">
                  <c:v>237.98949999999999</c:v>
                </c:pt>
                <c:pt idx="472">
                  <c:v>238.31360000000004</c:v>
                </c:pt>
                <c:pt idx="473">
                  <c:v>237.98209999999997</c:v>
                </c:pt>
                <c:pt idx="474">
                  <c:v>237.5994</c:v>
                </c:pt>
                <c:pt idx="475">
                  <c:v>236.60899999999998</c:v>
                </c:pt>
                <c:pt idx="476">
                  <c:v>237.4289</c:v>
                </c:pt>
                <c:pt idx="477">
                  <c:v>238.11460000000002</c:v>
                </c:pt>
                <c:pt idx="478">
                  <c:v>237.38960000000003</c:v>
                </c:pt>
                <c:pt idx="479">
                  <c:v>236.89279999999999</c:v>
                </c:pt>
                <c:pt idx="480">
                  <c:v>236.83539999999999</c:v>
                </c:pt>
                <c:pt idx="481">
                  <c:v>237.4358</c:v>
                </c:pt>
                <c:pt idx="482">
                  <c:v>238.06880000000001</c:v>
                </c:pt>
                <c:pt idx="483">
                  <c:v>235.75850000000003</c:v>
                </c:pt>
                <c:pt idx="484">
                  <c:v>238.12549999999999</c:v>
                </c:pt>
                <c:pt idx="485">
                  <c:v>237.64180000000002</c:v>
                </c:pt>
                <c:pt idx="486">
                  <c:v>240.34389999999996</c:v>
                </c:pt>
                <c:pt idx="487">
                  <c:v>238.98159999999996</c:v>
                </c:pt>
                <c:pt idx="488">
                  <c:v>239.24770000000004</c:v>
                </c:pt>
                <c:pt idx="489">
                  <c:v>240.25729999999999</c:v>
                </c:pt>
                <c:pt idx="490">
                  <c:v>240.81559999999999</c:v>
                </c:pt>
                <c:pt idx="491">
                  <c:v>240.94739999999999</c:v>
                </c:pt>
                <c:pt idx="492">
                  <c:v>240.43440000000001</c:v>
                </c:pt>
                <c:pt idx="493">
                  <c:v>240.29230000000004</c:v>
                </c:pt>
                <c:pt idx="494">
                  <c:v>240.74100000000001</c:v>
                </c:pt>
                <c:pt idx="495">
                  <c:v>239.96339999999998</c:v>
                </c:pt>
                <c:pt idx="496">
                  <c:v>239.68499999999997</c:v>
                </c:pt>
                <c:pt idx="497">
                  <c:v>238.6397</c:v>
                </c:pt>
                <c:pt idx="498">
                  <c:v>237.8167</c:v>
                </c:pt>
                <c:pt idx="499">
                  <c:v>236.73869999999999</c:v>
                </c:pt>
                <c:pt idx="500">
                  <c:v>235.30470000000003</c:v>
                </c:pt>
                <c:pt idx="501">
                  <c:v>232.7611</c:v>
                </c:pt>
                <c:pt idx="502">
                  <c:v>232.42599999999999</c:v>
                </c:pt>
                <c:pt idx="503">
                  <c:v>233.55250000000001</c:v>
                </c:pt>
                <c:pt idx="504">
                  <c:v>232.55530000000002</c:v>
                </c:pt>
                <c:pt idx="505">
                  <c:v>232.22130000000001</c:v>
                </c:pt>
                <c:pt idx="506">
                  <c:v>230.08160000000001</c:v>
                </c:pt>
                <c:pt idx="507">
                  <c:v>227.6129</c:v>
                </c:pt>
                <c:pt idx="508">
                  <c:v>227.53519999999997</c:v>
                </c:pt>
                <c:pt idx="509">
                  <c:v>225.78360000000001</c:v>
                </c:pt>
                <c:pt idx="510">
                  <c:v>228.64360000000002</c:v>
                </c:pt>
                <c:pt idx="511">
                  <c:v>230.21340000000001</c:v>
                </c:pt>
                <c:pt idx="512">
                  <c:v>229.45959999999999</c:v>
                </c:pt>
                <c:pt idx="513">
                  <c:v>225.56409999999997</c:v>
                </c:pt>
                <c:pt idx="514">
                  <c:v>223.7895</c:v>
                </c:pt>
                <c:pt idx="515">
                  <c:v>226.23090000000002</c:v>
                </c:pt>
                <c:pt idx="516">
                  <c:v>224.04660000000001</c:v>
                </c:pt>
                <c:pt idx="517">
                  <c:v>232.46190000000001</c:v>
                </c:pt>
                <c:pt idx="518">
                  <c:v>229.65029999999999</c:v>
                </c:pt>
                <c:pt idx="519">
                  <c:v>235.72920000000002</c:v>
                </c:pt>
                <c:pt idx="520">
                  <c:v>239.75439999999998</c:v>
                </c:pt>
                <c:pt idx="521">
                  <c:v>241.10360000000003</c:v>
                </c:pt>
                <c:pt idx="522">
                  <c:v>241.0412</c:v>
                </c:pt>
                <c:pt idx="523">
                  <c:v>241.51980000000003</c:v>
                </c:pt>
                <c:pt idx="524">
                  <c:v>241.7243</c:v>
                </c:pt>
                <c:pt idx="525">
                  <c:v>241.48360000000002</c:v>
                </c:pt>
                <c:pt idx="526">
                  <c:v>240.27690000000001</c:v>
                </c:pt>
                <c:pt idx="527">
                  <c:v>239.3528</c:v>
                </c:pt>
                <c:pt idx="528">
                  <c:v>240.84190000000004</c:v>
                </c:pt>
                <c:pt idx="529">
                  <c:v>239.06419999999997</c:v>
                </c:pt>
                <c:pt idx="530">
                  <c:v>239.98330000000001</c:v>
                </c:pt>
                <c:pt idx="531">
                  <c:v>239.846</c:v>
                </c:pt>
                <c:pt idx="532">
                  <c:v>241.3424</c:v>
                </c:pt>
                <c:pt idx="533">
                  <c:v>242.75120000000001</c:v>
                </c:pt>
                <c:pt idx="534">
                  <c:v>242.49100000000001</c:v>
                </c:pt>
                <c:pt idx="535">
                  <c:v>242.88159999999999</c:v>
                </c:pt>
                <c:pt idx="536">
                  <c:v>242.14269999999999</c:v>
                </c:pt>
                <c:pt idx="537">
                  <c:v>240.77289999999999</c:v>
                </c:pt>
                <c:pt idx="538">
                  <c:v>240.81109999999998</c:v>
                </c:pt>
                <c:pt idx="539">
                  <c:v>238.98920000000001</c:v>
                </c:pt>
                <c:pt idx="540">
                  <c:v>240.16390000000004</c:v>
                </c:pt>
                <c:pt idx="541">
                  <c:v>239.51029999999997</c:v>
                </c:pt>
                <c:pt idx="542">
                  <c:v>238.79220000000001</c:v>
                </c:pt>
                <c:pt idx="543">
                  <c:v>238.4615</c:v>
                </c:pt>
                <c:pt idx="544">
                  <c:v>240.44550000000001</c:v>
                </c:pt>
                <c:pt idx="545">
                  <c:v>238.40550000000002</c:v>
                </c:pt>
                <c:pt idx="546">
                  <c:v>235.61189999999996</c:v>
                </c:pt>
                <c:pt idx="547">
                  <c:v>235.77089999999998</c:v>
                </c:pt>
                <c:pt idx="548">
                  <c:v>236.29389999999998</c:v>
                </c:pt>
                <c:pt idx="549">
                  <c:v>235.95090000000002</c:v>
                </c:pt>
                <c:pt idx="550">
                  <c:v>235.63960000000003</c:v>
                </c:pt>
                <c:pt idx="551">
                  <c:v>234.98920000000001</c:v>
                </c:pt>
                <c:pt idx="552">
                  <c:v>235.4075</c:v>
                </c:pt>
                <c:pt idx="553">
                  <c:v>235.99250000000001</c:v>
                </c:pt>
                <c:pt idx="554">
                  <c:v>235.44630000000001</c:v>
                </c:pt>
                <c:pt idx="555">
                  <c:v>234.60200000000003</c:v>
                </c:pt>
                <c:pt idx="556">
                  <c:v>237.22069999999999</c:v>
                </c:pt>
                <c:pt idx="557">
                  <c:v>237.8466</c:v>
                </c:pt>
                <c:pt idx="558">
                  <c:v>238.3107</c:v>
                </c:pt>
                <c:pt idx="559">
                  <c:v>237.6754</c:v>
                </c:pt>
                <c:pt idx="560">
                  <c:v>236.19729999999998</c:v>
                </c:pt>
                <c:pt idx="561">
                  <c:v>233.82969999999997</c:v>
                </c:pt>
                <c:pt idx="562">
                  <c:v>232.80260000000004</c:v>
                </c:pt>
                <c:pt idx="563">
                  <c:v>233.74779999999998</c:v>
                </c:pt>
                <c:pt idx="564">
                  <c:v>233.14529999999996</c:v>
                </c:pt>
                <c:pt idx="565">
                  <c:v>231.3784</c:v>
                </c:pt>
                <c:pt idx="566">
                  <c:v>229.9922</c:v>
                </c:pt>
                <c:pt idx="567">
                  <c:v>228.7321</c:v>
                </c:pt>
                <c:pt idx="568">
                  <c:v>225.61619999999999</c:v>
                </c:pt>
                <c:pt idx="569">
                  <c:v>227.40219999999999</c:v>
                </c:pt>
                <c:pt idx="570">
                  <c:v>226.7773</c:v>
                </c:pt>
                <c:pt idx="571">
                  <c:v>226.0643</c:v>
                </c:pt>
                <c:pt idx="572">
                  <c:v>225.82019999999997</c:v>
                </c:pt>
                <c:pt idx="573">
                  <c:v>226.56929999999997</c:v>
                </c:pt>
                <c:pt idx="574">
                  <c:v>222.7792</c:v>
                </c:pt>
                <c:pt idx="575">
                  <c:v>222.7216</c:v>
                </c:pt>
                <c:pt idx="576">
                  <c:v>221.87080000000003</c:v>
                </c:pt>
                <c:pt idx="577">
                  <c:v>224.80840000000001</c:v>
                </c:pt>
                <c:pt idx="578">
                  <c:v>226.80069999999998</c:v>
                </c:pt>
                <c:pt idx="579">
                  <c:v>227.06780000000003</c:v>
                </c:pt>
                <c:pt idx="580">
                  <c:v>225.12689999999998</c:v>
                </c:pt>
                <c:pt idx="581">
                  <c:v>226.08879999999999</c:v>
                </c:pt>
                <c:pt idx="582">
                  <c:v>225.8039</c:v>
                </c:pt>
                <c:pt idx="583">
                  <c:v>226.39899999999997</c:v>
                </c:pt>
                <c:pt idx="584">
                  <c:v>227.54929999999999</c:v>
                </c:pt>
                <c:pt idx="585">
                  <c:v>229.13820000000001</c:v>
                </c:pt>
                <c:pt idx="586">
                  <c:v>228.89490000000001</c:v>
                </c:pt>
                <c:pt idx="587">
                  <c:v>229.01820000000001</c:v>
                </c:pt>
                <c:pt idx="588">
                  <c:v>228.86609999999999</c:v>
                </c:pt>
                <c:pt idx="589">
                  <c:v>227.35409999999999</c:v>
                </c:pt>
                <c:pt idx="590">
                  <c:v>226.59060000000002</c:v>
                </c:pt>
                <c:pt idx="591">
                  <c:v>227.3546</c:v>
                </c:pt>
                <c:pt idx="592">
                  <c:v>226.8211</c:v>
                </c:pt>
                <c:pt idx="593">
                  <c:v>226.45330000000001</c:v>
                </c:pt>
                <c:pt idx="594">
                  <c:v>226.0043</c:v>
                </c:pt>
                <c:pt idx="595">
                  <c:v>224.05369999999999</c:v>
                </c:pt>
                <c:pt idx="596">
                  <c:v>224.03050000000002</c:v>
                </c:pt>
                <c:pt idx="597">
                  <c:v>222.77849999999998</c:v>
                </c:pt>
                <c:pt idx="598">
                  <c:v>222.70780000000002</c:v>
                </c:pt>
                <c:pt idx="599">
                  <c:v>223.81199999999998</c:v>
                </c:pt>
                <c:pt idx="600">
                  <c:v>224.477</c:v>
                </c:pt>
                <c:pt idx="601">
                  <c:v>222.76129999999998</c:v>
                </c:pt>
                <c:pt idx="602">
                  <c:v>223.74629999999999</c:v>
                </c:pt>
                <c:pt idx="603">
                  <c:v>220.13200000000001</c:v>
                </c:pt>
                <c:pt idx="604">
                  <c:v>220.47650000000002</c:v>
                </c:pt>
                <c:pt idx="605">
                  <c:v>220.07469999999998</c:v>
                </c:pt>
                <c:pt idx="606">
                  <c:v>220.55689999999996</c:v>
                </c:pt>
                <c:pt idx="607">
                  <c:v>216.42500000000001</c:v>
                </c:pt>
                <c:pt idx="608">
                  <c:v>215.47879999999998</c:v>
                </c:pt>
                <c:pt idx="609">
                  <c:v>216.51150000000001</c:v>
                </c:pt>
                <c:pt idx="610">
                  <c:v>213.63089999999997</c:v>
                </c:pt>
                <c:pt idx="611">
                  <c:v>212.48849999999999</c:v>
                </c:pt>
                <c:pt idx="612">
                  <c:v>213.45399999999998</c:v>
                </c:pt>
                <c:pt idx="613">
                  <c:v>213.03469999999999</c:v>
                </c:pt>
                <c:pt idx="614">
                  <c:v>211.45100000000002</c:v>
                </c:pt>
                <c:pt idx="615">
                  <c:v>210.55229999999997</c:v>
                </c:pt>
                <c:pt idx="616">
                  <c:v>209.2259</c:v>
                </c:pt>
                <c:pt idx="617">
                  <c:v>208.89860000000002</c:v>
                </c:pt>
                <c:pt idx="618">
                  <c:v>208.1225</c:v>
                </c:pt>
                <c:pt idx="619">
                  <c:v>208.94110000000001</c:v>
                </c:pt>
                <c:pt idx="620">
                  <c:v>208.48170000000002</c:v>
                </c:pt>
                <c:pt idx="621">
                  <c:v>206.07980000000001</c:v>
                </c:pt>
                <c:pt idx="622">
                  <c:v>205.64349999999999</c:v>
                </c:pt>
                <c:pt idx="623">
                  <c:v>204.4384</c:v>
                </c:pt>
                <c:pt idx="624">
                  <c:v>206.4759</c:v>
                </c:pt>
                <c:pt idx="625">
                  <c:v>208.81300000000002</c:v>
                </c:pt>
                <c:pt idx="626">
                  <c:v>210.04209999999998</c:v>
                </c:pt>
                <c:pt idx="627">
                  <c:v>210.71010000000001</c:v>
                </c:pt>
                <c:pt idx="628">
                  <c:v>211.875</c:v>
                </c:pt>
                <c:pt idx="629">
                  <c:v>213.2259</c:v>
                </c:pt>
                <c:pt idx="630">
                  <c:v>207.7533</c:v>
                </c:pt>
                <c:pt idx="631">
                  <c:v>207.18510000000001</c:v>
                </c:pt>
                <c:pt idx="632">
                  <c:v>206.1738</c:v>
                </c:pt>
                <c:pt idx="633">
                  <c:v>210.12500000000003</c:v>
                </c:pt>
                <c:pt idx="634">
                  <c:v>209.5865</c:v>
                </c:pt>
                <c:pt idx="635">
                  <c:v>211.29220000000001</c:v>
                </c:pt>
                <c:pt idx="636">
                  <c:v>211.68990000000002</c:v>
                </c:pt>
                <c:pt idx="637">
                  <c:v>215.88279999999997</c:v>
                </c:pt>
                <c:pt idx="638">
                  <c:v>218.53310000000002</c:v>
                </c:pt>
                <c:pt idx="639">
                  <c:v>217.09280000000001</c:v>
                </c:pt>
                <c:pt idx="640">
                  <c:v>218.69309999999999</c:v>
                </c:pt>
                <c:pt idx="641">
                  <c:v>219.9948</c:v>
                </c:pt>
                <c:pt idx="642">
                  <c:v>219.77349999999998</c:v>
                </c:pt>
                <c:pt idx="643">
                  <c:v>223.03370000000001</c:v>
                </c:pt>
                <c:pt idx="644">
                  <c:v>225.89689999999999</c:v>
                </c:pt>
                <c:pt idx="645">
                  <c:v>222.2276</c:v>
                </c:pt>
                <c:pt idx="646">
                  <c:v>219.42870000000002</c:v>
                </c:pt>
                <c:pt idx="647">
                  <c:v>218.63039999999998</c:v>
                </c:pt>
                <c:pt idx="648">
                  <c:v>220.21259999999998</c:v>
                </c:pt>
                <c:pt idx="649">
                  <c:v>219.55559999999997</c:v>
                </c:pt>
                <c:pt idx="650">
                  <c:v>219.82059999999998</c:v>
                </c:pt>
                <c:pt idx="651">
                  <c:v>215.84969999999996</c:v>
                </c:pt>
                <c:pt idx="652">
                  <c:v>220.25720000000001</c:v>
                </c:pt>
                <c:pt idx="653">
                  <c:v>222.33200000000002</c:v>
                </c:pt>
                <c:pt idx="654">
                  <c:v>224.04190000000003</c:v>
                </c:pt>
                <c:pt idx="655">
                  <c:v>225.5275</c:v>
                </c:pt>
                <c:pt idx="656">
                  <c:v>225.19840000000002</c:v>
                </c:pt>
                <c:pt idx="657">
                  <c:v>225.61419999999995</c:v>
                </c:pt>
                <c:pt idx="658">
                  <c:v>227.15839999999997</c:v>
                </c:pt>
                <c:pt idx="659">
                  <c:v>228.327</c:v>
                </c:pt>
                <c:pt idx="660">
                  <c:v>228.56420000000003</c:v>
                </c:pt>
                <c:pt idx="661">
                  <c:v>227.22410000000002</c:v>
                </c:pt>
                <c:pt idx="662">
                  <c:v>228.31409999999997</c:v>
                </c:pt>
                <c:pt idx="663">
                  <c:v>227.69540000000001</c:v>
                </c:pt>
                <c:pt idx="664">
                  <c:v>227.41100000000003</c:v>
                </c:pt>
                <c:pt idx="665">
                  <c:v>226.38949999999997</c:v>
                </c:pt>
                <c:pt idx="666">
                  <c:v>226.74460000000002</c:v>
                </c:pt>
                <c:pt idx="667">
                  <c:v>225.58160000000004</c:v>
                </c:pt>
                <c:pt idx="668">
                  <c:v>225.76900000000001</c:v>
                </c:pt>
                <c:pt idx="669">
                  <c:v>224.60490000000001</c:v>
                </c:pt>
                <c:pt idx="670">
                  <c:v>224.97689999999997</c:v>
                </c:pt>
                <c:pt idx="671">
                  <c:v>224.3912</c:v>
                </c:pt>
                <c:pt idx="672">
                  <c:v>223.21699999999998</c:v>
                </c:pt>
                <c:pt idx="673">
                  <c:v>223.69880000000001</c:v>
                </c:pt>
                <c:pt idx="674">
                  <c:v>224.07630000000003</c:v>
                </c:pt>
                <c:pt idx="675">
                  <c:v>221.58019999999999</c:v>
                </c:pt>
                <c:pt idx="676">
                  <c:v>221.16069999999999</c:v>
                </c:pt>
                <c:pt idx="677">
                  <c:v>219.99300000000002</c:v>
                </c:pt>
                <c:pt idx="678">
                  <c:v>220.40540000000001</c:v>
                </c:pt>
                <c:pt idx="679">
                  <c:v>219.69469999999998</c:v>
                </c:pt>
                <c:pt idx="680">
                  <c:v>219.32499999999999</c:v>
                </c:pt>
                <c:pt idx="681">
                  <c:v>218.62110000000001</c:v>
                </c:pt>
                <c:pt idx="682">
                  <c:v>219.14069999999998</c:v>
                </c:pt>
                <c:pt idx="683">
                  <c:v>216.84330000000003</c:v>
                </c:pt>
                <c:pt idx="684">
                  <c:v>214.8999</c:v>
                </c:pt>
                <c:pt idx="685">
                  <c:v>211.29319999999998</c:v>
                </c:pt>
                <c:pt idx="686">
                  <c:v>214.60729999999998</c:v>
                </c:pt>
                <c:pt idx="687">
                  <c:v>216.20660000000004</c:v>
                </c:pt>
                <c:pt idx="688">
                  <c:v>215.86689999999999</c:v>
                </c:pt>
                <c:pt idx="689">
                  <c:v>215.99500000000003</c:v>
                </c:pt>
                <c:pt idx="690">
                  <c:v>215.76110000000003</c:v>
                </c:pt>
                <c:pt idx="691">
                  <c:v>213.09130000000002</c:v>
                </c:pt>
                <c:pt idx="692">
                  <c:v>210.53639999999999</c:v>
                </c:pt>
                <c:pt idx="693">
                  <c:v>216.18680000000001</c:v>
                </c:pt>
                <c:pt idx="694">
                  <c:v>214.684</c:v>
                </c:pt>
                <c:pt idx="695">
                  <c:v>214.73139999999998</c:v>
                </c:pt>
                <c:pt idx="696">
                  <c:v>218.97089999999997</c:v>
                </c:pt>
                <c:pt idx="697">
                  <c:v>219.82669999999999</c:v>
                </c:pt>
                <c:pt idx="698">
                  <c:v>218.13739999999999</c:v>
                </c:pt>
                <c:pt idx="699">
                  <c:v>216.5489</c:v>
                </c:pt>
                <c:pt idx="700">
                  <c:v>211.08</c:v>
                </c:pt>
                <c:pt idx="701">
                  <c:v>213.11239999999998</c:v>
                </c:pt>
                <c:pt idx="702">
                  <c:v>214.7843</c:v>
                </c:pt>
                <c:pt idx="703">
                  <c:v>214.16680000000002</c:v>
                </c:pt>
                <c:pt idx="704">
                  <c:v>211.40460000000002</c:v>
                </c:pt>
                <c:pt idx="705">
                  <c:v>211.75040000000001</c:v>
                </c:pt>
                <c:pt idx="706">
                  <c:v>218.44510000000002</c:v>
                </c:pt>
                <c:pt idx="707">
                  <c:v>215.85410000000002</c:v>
                </c:pt>
                <c:pt idx="708">
                  <c:v>216.5111</c:v>
                </c:pt>
                <c:pt idx="709">
                  <c:v>220.24249999999998</c:v>
                </c:pt>
                <c:pt idx="710">
                  <c:v>224.9237</c:v>
                </c:pt>
                <c:pt idx="711">
                  <c:v>228.15639999999999</c:v>
                </c:pt>
                <c:pt idx="712">
                  <c:v>228.44699999999997</c:v>
                </c:pt>
                <c:pt idx="713">
                  <c:v>228.8621</c:v>
                </c:pt>
                <c:pt idx="714">
                  <c:v>226.56440000000001</c:v>
                </c:pt>
                <c:pt idx="715">
                  <c:v>228.3785</c:v>
                </c:pt>
                <c:pt idx="716">
                  <c:v>228.43289999999996</c:v>
                </c:pt>
                <c:pt idx="717">
                  <c:v>227.73990000000001</c:v>
                </c:pt>
                <c:pt idx="718">
                  <c:v>226.99970000000002</c:v>
                </c:pt>
                <c:pt idx="719">
                  <c:v>225.31350000000003</c:v>
                </c:pt>
                <c:pt idx="720">
                  <c:v>224.21109999999999</c:v>
                </c:pt>
                <c:pt idx="721">
                  <c:v>225.4873</c:v>
                </c:pt>
                <c:pt idx="722">
                  <c:v>221.8776</c:v>
                </c:pt>
                <c:pt idx="723">
                  <c:v>219.43819999999999</c:v>
                </c:pt>
                <c:pt idx="724">
                  <c:v>222.90869999999998</c:v>
                </c:pt>
                <c:pt idx="725">
                  <c:v>225.04480000000001</c:v>
                </c:pt>
                <c:pt idx="726">
                  <c:v>223.44290000000001</c:v>
                </c:pt>
                <c:pt idx="727">
                  <c:v>222.28889999999998</c:v>
                </c:pt>
                <c:pt idx="728">
                  <c:v>216.90550000000002</c:v>
                </c:pt>
                <c:pt idx="729">
                  <c:v>219.9786</c:v>
                </c:pt>
                <c:pt idx="730">
                  <c:v>216.91910000000001</c:v>
                </c:pt>
                <c:pt idx="731">
                  <c:v>216.1413</c:v>
                </c:pt>
                <c:pt idx="732">
                  <c:v>221.3168</c:v>
                </c:pt>
                <c:pt idx="733">
                  <c:v>224.68860000000001</c:v>
                </c:pt>
                <c:pt idx="734">
                  <c:v>224.68449999999999</c:v>
                </c:pt>
                <c:pt idx="735">
                  <c:v>226.89120000000003</c:v>
                </c:pt>
                <c:pt idx="736">
                  <c:v>226.80180000000001</c:v>
                </c:pt>
                <c:pt idx="737">
                  <c:v>225.75969999999995</c:v>
                </c:pt>
                <c:pt idx="738">
                  <c:v>223.16539999999998</c:v>
                </c:pt>
                <c:pt idx="739">
                  <c:v>222.30240000000001</c:v>
                </c:pt>
                <c:pt idx="740">
                  <c:v>222.33489999999998</c:v>
                </c:pt>
                <c:pt idx="741">
                  <c:v>226.35719999999998</c:v>
                </c:pt>
                <c:pt idx="742">
                  <c:v>229.46889999999999</c:v>
                </c:pt>
                <c:pt idx="743">
                  <c:v>229.18440000000001</c:v>
                </c:pt>
                <c:pt idx="744">
                  <c:v>228.29060000000001</c:v>
                </c:pt>
                <c:pt idx="745">
                  <c:v>228.9615</c:v>
                </c:pt>
                <c:pt idx="746">
                  <c:v>227.84329999999997</c:v>
                </c:pt>
                <c:pt idx="747">
                  <c:v>227.75569999999999</c:v>
                </c:pt>
                <c:pt idx="748">
                  <c:v>228.95929999999998</c:v>
                </c:pt>
                <c:pt idx="749">
                  <c:v>230.34960000000001</c:v>
                </c:pt>
                <c:pt idx="750">
                  <c:v>227.17039999999997</c:v>
                </c:pt>
                <c:pt idx="751">
                  <c:v>227.8648</c:v>
                </c:pt>
                <c:pt idx="752">
                  <c:v>228.9787</c:v>
                </c:pt>
                <c:pt idx="753">
                  <c:v>227.6028</c:v>
                </c:pt>
                <c:pt idx="754">
                  <c:v>226.85779999999997</c:v>
                </c:pt>
                <c:pt idx="755">
                  <c:v>226.22580000000002</c:v>
                </c:pt>
                <c:pt idx="756">
                  <c:v>227.86660000000003</c:v>
                </c:pt>
                <c:pt idx="757">
                  <c:v>227.2526</c:v>
                </c:pt>
                <c:pt idx="758">
                  <c:v>224.88310000000001</c:v>
                </c:pt>
                <c:pt idx="759">
                  <c:v>224.92789999999999</c:v>
                </c:pt>
                <c:pt idx="760">
                  <c:v>224.41759999999999</c:v>
                </c:pt>
                <c:pt idx="761">
                  <c:v>224.27390000000003</c:v>
                </c:pt>
                <c:pt idx="762">
                  <c:v>224.86740000000003</c:v>
                </c:pt>
                <c:pt idx="763">
                  <c:v>223.82119999999998</c:v>
                </c:pt>
                <c:pt idx="764">
                  <c:v>223.1284</c:v>
                </c:pt>
                <c:pt idx="765">
                  <c:v>222.3083</c:v>
                </c:pt>
                <c:pt idx="766">
                  <c:v>219.62070000000003</c:v>
                </c:pt>
                <c:pt idx="767">
                  <c:v>215.57930000000002</c:v>
                </c:pt>
                <c:pt idx="768">
                  <c:v>216.42830000000001</c:v>
                </c:pt>
                <c:pt idx="769">
                  <c:v>215.0284</c:v>
                </c:pt>
                <c:pt idx="770">
                  <c:v>213.16319999999996</c:v>
                </c:pt>
                <c:pt idx="771">
                  <c:v>214.90330000000003</c:v>
                </c:pt>
                <c:pt idx="772">
                  <c:v>207.80020000000002</c:v>
                </c:pt>
                <c:pt idx="773">
                  <c:v>207.53960000000001</c:v>
                </c:pt>
                <c:pt idx="774">
                  <c:v>208.72390000000001</c:v>
                </c:pt>
                <c:pt idx="775">
                  <c:v>216.21810000000005</c:v>
                </c:pt>
                <c:pt idx="776">
                  <c:v>222.09139999999996</c:v>
                </c:pt>
                <c:pt idx="777">
                  <c:v>219.14259999999999</c:v>
                </c:pt>
                <c:pt idx="778">
                  <c:v>223.32140000000004</c:v>
                </c:pt>
                <c:pt idx="779">
                  <c:v>223.822</c:v>
                </c:pt>
                <c:pt idx="780">
                  <c:v>215.70179999999999</c:v>
                </c:pt>
                <c:pt idx="781">
                  <c:v>223.44999999999996</c:v>
                </c:pt>
                <c:pt idx="782">
                  <c:v>223.59529999999998</c:v>
                </c:pt>
                <c:pt idx="783">
                  <c:v>223.58130000000003</c:v>
                </c:pt>
                <c:pt idx="784">
                  <c:v>224.83320000000001</c:v>
                </c:pt>
                <c:pt idx="785">
                  <c:v>225.76670000000001</c:v>
                </c:pt>
                <c:pt idx="786">
                  <c:v>227.60500000000002</c:v>
                </c:pt>
                <c:pt idx="787">
                  <c:v>227.75600000000003</c:v>
                </c:pt>
                <c:pt idx="788">
                  <c:v>225.4521</c:v>
                </c:pt>
                <c:pt idx="789">
                  <c:v>229.44749999999999</c:v>
                </c:pt>
                <c:pt idx="790">
                  <c:v>230.01390000000001</c:v>
                </c:pt>
                <c:pt idx="791">
                  <c:v>229.23330000000001</c:v>
                </c:pt>
                <c:pt idx="792">
                  <c:v>226.60309999999998</c:v>
                </c:pt>
                <c:pt idx="793">
                  <c:v>226.77760000000001</c:v>
                </c:pt>
                <c:pt idx="794">
                  <c:v>225.26440000000002</c:v>
                </c:pt>
                <c:pt idx="795">
                  <c:v>226.02070000000003</c:v>
                </c:pt>
                <c:pt idx="796">
                  <c:v>227.85210000000001</c:v>
                </c:pt>
                <c:pt idx="797">
                  <c:v>226.5275</c:v>
                </c:pt>
                <c:pt idx="798">
                  <c:v>224.35070000000002</c:v>
                </c:pt>
                <c:pt idx="799">
                  <c:v>223.85669999999999</c:v>
                </c:pt>
                <c:pt idx="800">
                  <c:v>226.4391</c:v>
                </c:pt>
                <c:pt idx="801">
                  <c:v>224.37950000000001</c:v>
                </c:pt>
                <c:pt idx="802">
                  <c:v>221.5309</c:v>
                </c:pt>
                <c:pt idx="803">
                  <c:v>219.37359999999998</c:v>
                </c:pt>
                <c:pt idx="804">
                  <c:v>225.69660000000002</c:v>
                </c:pt>
                <c:pt idx="805">
                  <c:v>228.75829999999996</c:v>
                </c:pt>
                <c:pt idx="806">
                  <c:v>228.68810000000002</c:v>
                </c:pt>
                <c:pt idx="807">
                  <c:v>228.1129</c:v>
                </c:pt>
                <c:pt idx="808">
                  <c:v>229.6936</c:v>
                </c:pt>
                <c:pt idx="809">
                  <c:v>227.76779999999999</c:v>
                </c:pt>
                <c:pt idx="810">
                  <c:v>228.65809999999999</c:v>
                </c:pt>
                <c:pt idx="811">
                  <c:v>228.48220000000001</c:v>
                </c:pt>
                <c:pt idx="812">
                  <c:v>226.93549999999999</c:v>
                </c:pt>
                <c:pt idx="813">
                  <c:v>225.74939999999998</c:v>
                </c:pt>
                <c:pt idx="814">
                  <c:v>227.33939999999996</c:v>
                </c:pt>
                <c:pt idx="815">
                  <c:v>226.60109999999997</c:v>
                </c:pt>
                <c:pt idx="816">
                  <c:v>228.81419999999997</c:v>
                </c:pt>
                <c:pt idx="817">
                  <c:v>228.74309999999997</c:v>
                </c:pt>
                <c:pt idx="818">
                  <c:v>225.09699999999998</c:v>
                </c:pt>
                <c:pt idx="819">
                  <c:v>225.6148</c:v>
                </c:pt>
                <c:pt idx="820">
                  <c:v>225.97050000000002</c:v>
                </c:pt>
                <c:pt idx="821">
                  <c:v>224.34289999999999</c:v>
                </c:pt>
                <c:pt idx="822">
                  <c:v>224.3621</c:v>
                </c:pt>
                <c:pt idx="823">
                  <c:v>223.12050000000002</c:v>
                </c:pt>
                <c:pt idx="824">
                  <c:v>221.57239999999999</c:v>
                </c:pt>
                <c:pt idx="825">
                  <c:v>218.63010000000003</c:v>
                </c:pt>
                <c:pt idx="826">
                  <c:v>220.8272</c:v>
                </c:pt>
                <c:pt idx="827">
                  <c:v>220.35409999999999</c:v>
                </c:pt>
                <c:pt idx="828">
                  <c:v>217.75989999999999</c:v>
                </c:pt>
                <c:pt idx="829">
                  <c:v>219.15550000000002</c:v>
                </c:pt>
                <c:pt idx="830">
                  <c:v>219.64129999999997</c:v>
                </c:pt>
                <c:pt idx="831">
                  <c:v>221.64939999999999</c:v>
                </c:pt>
                <c:pt idx="832">
                  <c:v>222.74459999999999</c:v>
                </c:pt>
                <c:pt idx="833">
                  <c:v>223.27159999999998</c:v>
                </c:pt>
                <c:pt idx="834">
                  <c:v>223.33090000000001</c:v>
                </c:pt>
                <c:pt idx="835">
                  <c:v>220.06220000000002</c:v>
                </c:pt>
                <c:pt idx="836">
                  <c:v>216.94750000000002</c:v>
                </c:pt>
                <c:pt idx="837">
                  <c:v>217.19169999999997</c:v>
                </c:pt>
                <c:pt idx="838">
                  <c:v>218.42059999999998</c:v>
                </c:pt>
                <c:pt idx="839">
                  <c:v>215.0384</c:v>
                </c:pt>
                <c:pt idx="840">
                  <c:v>216.73480000000001</c:v>
                </c:pt>
                <c:pt idx="841">
                  <c:v>214.74519999999998</c:v>
                </c:pt>
                <c:pt idx="842">
                  <c:v>222.5917</c:v>
                </c:pt>
                <c:pt idx="843">
                  <c:v>221.62509999999997</c:v>
                </c:pt>
                <c:pt idx="844">
                  <c:v>221.22320000000002</c:v>
                </c:pt>
                <c:pt idx="845">
                  <c:v>221.35400000000001</c:v>
                </c:pt>
                <c:pt idx="846">
                  <c:v>220.7013</c:v>
                </c:pt>
                <c:pt idx="847">
                  <c:v>221.64489999999998</c:v>
                </c:pt>
                <c:pt idx="848">
                  <c:v>222.17449999999999</c:v>
                </c:pt>
                <c:pt idx="849">
                  <c:v>223.24250000000001</c:v>
                </c:pt>
                <c:pt idx="850">
                  <c:v>224.00700000000003</c:v>
                </c:pt>
                <c:pt idx="851">
                  <c:v>223.78130000000002</c:v>
                </c:pt>
                <c:pt idx="852">
                  <c:v>224.71490000000003</c:v>
                </c:pt>
                <c:pt idx="853">
                  <c:v>223.17049999999998</c:v>
                </c:pt>
                <c:pt idx="854">
                  <c:v>221.45549999999997</c:v>
                </c:pt>
                <c:pt idx="855">
                  <c:v>222.38389999999998</c:v>
                </c:pt>
                <c:pt idx="856">
                  <c:v>222.55169999999998</c:v>
                </c:pt>
                <c:pt idx="857">
                  <c:v>221.74860000000001</c:v>
                </c:pt>
                <c:pt idx="858">
                  <c:v>220.28749999999997</c:v>
                </c:pt>
                <c:pt idx="859">
                  <c:v>220.96879999999999</c:v>
                </c:pt>
                <c:pt idx="860">
                  <c:v>221.41580000000002</c:v>
                </c:pt>
                <c:pt idx="861">
                  <c:v>219.96039999999999</c:v>
                </c:pt>
                <c:pt idx="862">
                  <c:v>220.40689999999995</c:v>
                </c:pt>
                <c:pt idx="863">
                  <c:v>220.4205</c:v>
                </c:pt>
                <c:pt idx="864">
                  <c:v>221.01329999999999</c:v>
                </c:pt>
                <c:pt idx="865">
                  <c:v>219.31539999999998</c:v>
                </c:pt>
                <c:pt idx="866">
                  <c:v>218.83499999999998</c:v>
                </c:pt>
                <c:pt idx="867">
                  <c:v>218.48450000000003</c:v>
                </c:pt>
                <c:pt idx="868">
                  <c:v>219.31640000000004</c:v>
                </c:pt>
                <c:pt idx="869">
                  <c:v>219.33769999999998</c:v>
                </c:pt>
                <c:pt idx="870">
                  <c:v>218.85789999999997</c:v>
                </c:pt>
                <c:pt idx="871">
                  <c:v>219.59270000000001</c:v>
                </c:pt>
                <c:pt idx="872">
                  <c:v>218.73599999999999</c:v>
                </c:pt>
                <c:pt idx="873">
                  <c:v>216.67930000000001</c:v>
                </c:pt>
                <c:pt idx="874">
                  <c:v>216.11180000000002</c:v>
                </c:pt>
                <c:pt idx="875">
                  <c:v>216.5686</c:v>
                </c:pt>
                <c:pt idx="876">
                  <c:v>215.42880000000002</c:v>
                </c:pt>
                <c:pt idx="877">
                  <c:v>215.0093</c:v>
                </c:pt>
                <c:pt idx="878">
                  <c:v>212.642</c:v>
                </c:pt>
                <c:pt idx="879">
                  <c:v>215.2329</c:v>
                </c:pt>
                <c:pt idx="880">
                  <c:v>213.47870000000003</c:v>
                </c:pt>
                <c:pt idx="881">
                  <c:v>214.43029999999999</c:v>
                </c:pt>
                <c:pt idx="882">
                  <c:v>216.02639999999997</c:v>
                </c:pt>
                <c:pt idx="883">
                  <c:v>216.61060000000001</c:v>
                </c:pt>
                <c:pt idx="884">
                  <c:v>214.61990000000003</c:v>
                </c:pt>
                <c:pt idx="885">
                  <c:v>216.34370000000001</c:v>
                </c:pt>
                <c:pt idx="886">
                  <c:v>216.04479999999998</c:v>
                </c:pt>
                <c:pt idx="887">
                  <c:v>217.05790000000002</c:v>
                </c:pt>
                <c:pt idx="888">
                  <c:v>217.05139999999997</c:v>
                </c:pt>
                <c:pt idx="889">
                  <c:v>214.24379999999999</c:v>
                </c:pt>
                <c:pt idx="890">
                  <c:v>212.00459999999998</c:v>
                </c:pt>
                <c:pt idx="891">
                  <c:v>213.9417</c:v>
                </c:pt>
                <c:pt idx="892">
                  <c:v>215.4365</c:v>
                </c:pt>
                <c:pt idx="893">
                  <c:v>214.77960000000002</c:v>
                </c:pt>
                <c:pt idx="894">
                  <c:v>215.684</c:v>
                </c:pt>
                <c:pt idx="895">
                  <c:v>216.68469999999996</c:v>
                </c:pt>
                <c:pt idx="896">
                  <c:v>215.67020000000002</c:v>
                </c:pt>
                <c:pt idx="897">
                  <c:v>215.65050000000002</c:v>
                </c:pt>
                <c:pt idx="898">
                  <c:v>217.4093</c:v>
                </c:pt>
                <c:pt idx="899">
                  <c:v>219.14600000000002</c:v>
                </c:pt>
                <c:pt idx="900">
                  <c:v>220.31970000000004</c:v>
                </c:pt>
                <c:pt idx="901">
                  <c:v>219.04390000000001</c:v>
                </c:pt>
                <c:pt idx="902">
                  <c:v>219.73659999999998</c:v>
                </c:pt>
                <c:pt idx="903">
                  <c:v>219.16250000000002</c:v>
                </c:pt>
                <c:pt idx="904">
                  <c:v>218.17140000000003</c:v>
                </c:pt>
                <c:pt idx="905">
                  <c:v>218.75900000000001</c:v>
                </c:pt>
                <c:pt idx="906">
                  <c:v>217.99619999999999</c:v>
                </c:pt>
                <c:pt idx="907">
                  <c:v>218.51590000000002</c:v>
                </c:pt>
                <c:pt idx="908">
                  <c:v>217.74139999999997</c:v>
                </c:pt>
                <c:pt idx="909">
                  <c:v>217.0667</c:v>
                </c:pt>
                <c:pt idx="910">
                  <c:v>216.55800000000002</c:v>
                </c:pt>
                <c:pt idx="911">
                  <c:v>215.58250000000001</c:v>
                </c:pt>
                <c:pt idx="912">
                  <c:v>218.25530000000001</c:v>
                </c:pt>
                <c:pt idx="913">
                  <c:v>218.29970000000003</c:v>
                </c:pt>
                <c:pt idx="914">
                  <c:v>217.68779999999998</c:v>
                </c:pt>
                <c:pt idx="915">
                  <c:v>219.41259999999997</c:v>
                </c:pt>
                <c:pt idx="916">
                  <c:v>218.73969999999997</c:v>
                </c:pt>
                <c:pt idx="917">
                  <c:v>218.65259999999998</c:v>
                </c:pt>
                <c:pt idx="918">
                  <c:v>216.91320000000002</c:v>
                </c:pt>
                <c:pt idx="919">
                  <c:v>216.0155</c:v>
                </c:pt>
                <c:pt idx="920">
                  <c:v>215.7912</c:v>
                </c:pt>
                <c:pt idx="921">
                  <c:v>215.8424</c:v>
                </c:pt>
                <c:pt idx="922">
                  <c:v>215.38829999999999</c:v>
                </c:pt>
                <c:pt idx="923">
                  <c:v>214.8253</c:v>
                </c:pt>
                <c:pt idx="924">
                  <c:v>214.10460000000003</c:v>
                </c:pt>
                <c:pt idx="925">
                  <c:v>212.47660000000002</c:v>
                </c:pt>
                <c:pt idx="926">
                  <c:v>213.73550000000003</c:v>
                </c:pt>
                <c:pt idx="927">
                  <c:v>212.07679999999999</c:v>
                </c:pt>
                <c:pt idx="928">
                  <c:v>211.35000000000002</c:v>
                </c:pt>
                <c:pt idx="929">
                  <c:v>212.17740000000003</c:v>
                </c:pt>
                <c:pt idx="930">
                  <c:v>212.13160000000002</c:v>
                </c:pt>
                <c:pt idx="931">
                  <c:v>210.3587</c:v>
                </c:pt>
                <c:pt idx="932">
                  <c:v>210.76250000000002</c:v>
                </c:pt>
                <c:pt idx="933">
                  <c:v>207.21970000000002</c:v>
                </c:pt>
                <c:pt idx="934">
                  <c:v>206.00990000000002</c:v>
                </c:pt>
                <c:pt idx="935">
                  <c:v>210.90590000000003</c:v>
                </c:pt>
                <c:pt idx="936">
                  <c:v>211.06389999999999</c:v>
                </c:pt>
                <c:pt idx="937">
                  <c:v>213.37960000000004</c:v>
                </c:pt>
                <c:pt idx="938">
                  <c:v>214.50449999999995</c:v>
                </c:pt>
                <c:pt idx="939">
                  <c:v>214.45869999999999</c:v>
                </c:pt>
                <c:pt idx="940">
                  <c:v>214.4297</c:v>
                </c:pt>
                <c:pt idx="941">
                  <c:v>211.79160000000002</c:v>
                </c:pt>
                <c:pt idx="942">
                  <c:v>215.12770000000003</c:v>
                </c:pt>
                <c:pt idx="943">
                  <c:v>213.82810000000001</c:v>
                </c:pt>
                <c:pt idx="944">
                  <c:v>215.57469999999998</c:v>
                </c:pt>
                <c:pt idx="945">
                  <c:v>214.09820000000002</c:v>
                </c:pt>
                <c:pt idx="946">
                  <c:v>213.91390000000001</c:v>
                </c:pt>
                <c:pt idx="947">
                  <c:v>211.3614</c:v>
                </c:pt>
                <c:pt idx="948">
                  <c:v>212.82699999999997</c:v>
                </c:pt>
                <c:pt idx="949">
                  <c:v>212.45060000000001</c:v>
                </c:pt>
                <c:pt idx="950">
                  <c:v>214.15420000000003</c:v>
                </c:pt>
                <c:pt idx="951">
                  <c:v>213.27660000000003</c:v>
                </c:pt>
                <c:pt idx="952">
                  <c:v>212.50489999999996</c:v>
                </c:pt>
                <c:pt idx="953">
                  <c:v>212.89790000000002</c:v>
                </c:pt>
                <c:pt idx="954">
                  <c:v>211.85039999999998</c:v>
                </c:pt>
                <c:pt idx="955">
                  <c:v>210.541</c:v>
                </c:pt>
                <c:pt idx="956">
                  <c:v>214.18460000000002</c:v>
                </c:pt>
                <c:pt idx="957">
                  <c:v>215.03259999999997</c:v>
                </c:pt>
                <c:pt idx="958">
                  <c:v>214.75540000000001</c:v>
                </c:pt>
                <c:pt idx="959">
                  <c:v>214.3015</c:v>
                </c:pt>
                <c:pt idx="960">
                  <c:v>213.97329999999997</c:v>
                </c:pt>
                <c:pt idx="961">
                  <c:v>212.69419999999997</c:v>
                </c:pt>
                <c:pt idx="962">
                  <c:v>212.72649999999999</c:v>
                </c:pt>
                <c:pt idx="963">
                  <c:v>213.30760000000001</c:v>
                </c:pt>
                <c:pt idx="964">
                  <c:v>212.90789999999998</c:v>
                </c:pt>
                <c:pt idx="965">
                  <c:v>212.56399999999996</c:v>
                </c:pt>
                <c:pt idx="966">
                  <c:v>212.39420000000001</c:v>
                </c:pt>
                <c:pt idx="967">
                  <c:v>213.53319999999999</c:v>
                </c:pt>
                <c:pt idx="968">
                  <c:v>212.77179999999998</c:v>
                </c:pt>
                <c:pt idx="969">
                  <c:v>211.03459999999998</c:v>
                </c:pt>
                <c:pt idx="970">
                  <c:v>210.89640000000003</c:v>
                </c:pt>
                <c:pt idx="971">
                  <c:v>210.93260000000004</c:v>
                </c:pt>
                <c:pt idx="972">
                  <c:v>210.62269999999995</c:v>
                </c:pt>
                <c:pt idx="973">
                  <c:v>211.221</c:v>
                </c:pt>
                <c:pt idx="974">
                  <c:v>210.2424</c:v>
                </c:pt>
                <c:pt idx="975">
                  <c:v>210.26759999999999</c:v>
                </c:pt>
                <c:pt idx="976">
                  <c:v>208.08360000000002</c:v>
                </c:pt>
                <c:pt idx="977">
                  <c:v>210.25569999999999</c:v>
                </c:pt>
                <c:pt idx="978">
                  <c:v>210.01069999999999</c:v>
                </c:pt>
                <c:pt idx="979">
                  <c:v>210.49180000000001</c:v>
                </c:pt>
                <c:pt idx="980">
                  <c:v>208.07890000000003</c:v>
                </c:pt>
                <c:pt idx="981">
                  <c:v>209.04819999999998</c:v>
                </c:pt>
                <c:pt idx="982">
                  <c:v>207.79810000000003</c:v>
                </c:pt>
                <c:pt idx="983">
                  <c:v>212.9273</c:v>
                </c:pt>
                <c:pt idx="984">
                  <c:v>213.20939999999999</c:v>
                </c:pt>
                <c:pt idx="985">
                  <c:v>211.42240000000001</c:v>
                </c:pt>
                <c:pt idx="986">
                  <c:v>210.1722</c:v>
                </c:pt>
                <c:pt idx="987">
                  <c:v>207.3032</c:v>
                </c:pt>
                <c:pt idx="988">
                  <c:v>208.72299999999998</c:v>
                </c:pt>
                <c:pt idx="989">
                  <c:v>208.36620000000005</c:v>
                </c:pt>
                <c:pt idx="990">
                  <c:v>208.39230000000001</c:v>
                </c:pt>
                <c:pt idx="991">
                  <c:v>207.92679999999999</c:v>
                </c:pt>
                <c:pt idx="992">
                  <c:v>208.61229999999998</c:v>
                </c:pt>
                <c:pt idx="993">
                  <c:v>207.64709999999997</c:v>
                </c:pt>
                <c:pt idx="994">
                  <c:v>207.64079999999998</c:v>
                </c:pt>
                <c:pt idx="995">
                  <c:v>206.02369999999999</c:v>
                </c:pt>
                <c:pt idx="996">
                  <c:v>205.20760000000001</c:v>
                </c:pt>
                <c:pt idx="997">
                  <c:v>209.2174</c:v>
                </c:pt>
                <c:pt idx="998">
                  <c:v>209.7467</c:v>
                </c:pt>
                <c:pt idx="999">
                  <c:v>208.80229999999997</c:v>
                </c:pt>
                <c:pt idx="1000">
                  <c:v>207.38460000000001</c:v>
                </c:pt>
                <c:pt idx="1001">
                  <c:v>206.0581</c:v>
                </c:pt>
                <c:pt idx="1002">
                  <c:v>205.77459999999999</c:v>
                </c:pt>
                <c:pt idx="1003">
                  <c:v>206.5916</c:v>
                </c:pt>
                <c:pt idx="1004">
                  <c:v>207.19110000000001</c:v>
                </c:pt>
                <c:pt idx="1005">
                  <c:v>205.49530000000001</c:v>
                </c:pt>
                <c:pt idx="1006">
                  <c:v>203.7328</c:v>
                </c:pt>
                <c:pt idx="1007">
                  <c:v>201.19410000000002</c:v>
                </c:pt>
                <c:pt idx="1008">
                  <c:v>200.18359999999998</c:v>
                </c:pt>
                <c:pt idx="1009">
                  <c:v>201.65980000000002</c:v>
                </c:pt>
                <c:pt idx="1010">
                  <c:v>200.57659999999998</c:v>
                </c:pt>
                <c:pt idx="1011">
                  <c:v>200.76779999999999</c:v>
                </c:pt>
                <c:pt idx="1012">
                  <c:v>198.80939999999998</c:v>
                </c:pt>
                <c:pt idx="1013">
                  <c:v>199.7645</c:v>
                </c:pt>
                <c:pt idx="1014">
                  <c:v>199.28470000000002</c:v>
                </c:pt>
                <c:pt idx="1015">
                  <c:v>200.1576</c:v>
                </c:pt>
                <c:pt idx="1016">
                  <c:v>199.68099999999998</c:v>
                </c:pt>
                <c:pt idx="1017">
                  <c:v>201.62300000000002</c:v>
                </c:pt>
                <c:pt idx="1018">
                  <c:v>201.05589999999998</c:v>
                </c:pt>
                <c:pt idx="1019">
                  <c:v>202.38819999999998</c:v>
                </c:pt>
                <c:pt idx="1020">
                  <c:v>200.67509999999999</c:v>
                </c:pt>
                <c:pt idx="1021">
                  <c:v>200.89319999999998</c:v>
                </c:pt>
                <c:pt idx="1022">
                  <c:v>200.37310000000002</c:v>
                </c:pt>
                <c:pt idx="1023">
                  <c:v>199.54920000000001</c:v>
                </c:pt>
                <c:pt idx="1024">
                  <c:v>199.62109999999998</c:v>
                </c:pt>
                <c:pt idx="1025">
                  <c:v>199.02709999999999</c:v>
                </c:pt>
                <c:pt idx="1026">
                  <c:v>196.50240000000002</c:v>
                </c:pt>
                <c:pt idx="1027">
                  <c:v>197.56319999999999</c:v>
                </c:pt>
                <c:pt idx="1028">
                  <c:v>198.02019999999999</c:v>
                </c:pt>
                <c:pt idx="1029">
                  <c:v>196.1191</c:v>
                </c:pt>
                <c:pt idx="1030">
                  <c:v>195.5872</c:v>
                </c:pt>
                <c:pt idx="1031">
                  <c:v>192.51670000000001</c:v>
                </c:pt>
                <c:pt idx="1032">
                  <c:v>197.00620000000001</c:v>
                </c:pt>
                <c:pt idx="1033">
                  <c:v>197.01130000000001</c:v>
                </c:pt>
                <c:pt idx="1034">
                  <c:v>195.7799</c:v>
                </c:pt>
                <c:pt idx="1035">
                  <c:v>195.3449</c:v>
                </c:pt>
                <c:pt idx="1036">
                  <c:v>195.70780000000002</c:v>
                </c:pt>
                <c:pt idx="1037">
                  <c:v>195.38749999999999</c:v>
                </c:pt>
                <c:pt idx="1038">
                  <c:v>197.68959999999998</c:v>
                </c:pt>
                <c:pt idx="1039">
                  <c:v>199.05339999999998</c:v>
                </c:pt>
                <c:pt idx="1040">
                  <c:v>199.21040000000002</c:v>
                </c:pt>
                <c:pt idx="1041">
                  <c:v>194.63909999999998</c:v>
                </c:pt>
                <c:pt idx="1042">
                  <c:v>193.15980000000002</c:v>
                </c:pt>
                <c:pt idx="1043">
                  <c:v>193.00760000000002</c:v>
                </c:pt>
                <c:pt idx="1044">
                  <c:v>193.38070000000002</c:v>
                </c:pt>
                <c:pt idx="1045">
                  <c:v>193.1216</c:v>
                </c:pt>
                <c:pt idx="1046">
                  <c:v>192.28819999999999</c:v>
                </c:pt>
                <c:pt idx="1047">
                  <c:v>192.09380000000002</c:v>
                </c:pt>
                <c:pt idx="1048">
                  <c:v>192.09010000000001</c:v>
                </c:pt>
                <c:pt idx="1049">
                  <c:v>192.1336</c:v>
                </c:pt>
                <c:pt idx="1050">
                  <c:v>190.4109</c:v>
                </c:pt>
                <c:pt idx="1051">
                  <c:v>188.7509</c:v>
                </c:pt>
                <c:pt idx="1052">
                  <c:v>191.75890000000001</c:v>
                </c:pt>
                <c:pt idx="1053">
                  <c:v>192.58280000000002</c:v>
                </c:pt>
                <c:pt idx="1054">
                  <c:v>194.92869999999999</c:v>
                </c:pt>
                <c:pt idx="1055">
                  <c:v>194.42910000000003</c:v>
                </c:pt>
                <c:pt idx="1056">
                  <c:v>196.19409999999999</c:v>
                </c:pt>
                <c:pt idx="1057">
                  <c:v>197.03569999999999</c:v>
                </c:pt>
                <c:pt idx="1058">
                  <c:v>197.76</c:v>
                </c:pt>
                <c:pt idx="1059">
                  <c:v>196.5993</c:v>
                </c:pt>
                <c:pt idx="1060">
                  <c:v>196.82680000000002</c:v>
                </c:pt>
                <c:pt idx="1061">
                  <c:v>197.10920000000002</c:v>
                </c:pt>
                <c:pt idx="1062">
                  <c:v>198.95760000000001</c:v>
                </c:pt>
                <c:pt idx="1063">
                  <c:v>197.31139999999999</c:v>
                </c:pt>
                <c:pt idx="1064">
                  <c:v>197.68810000000002</c:v>
                </c:pt>
                <c:pt idx="1065">
                  <c:v>198.8098</c:v>
                </c:pt>
                <c:pt idx="1066">
                  <c:v>201.04170000000005</c:v>
                </c:pt>
                <c:pt idx="1067">
                  <c:v>200.52469999999997</c:v>
                </c:pt>
                <c:pt idx="1068">
                  <c:v>200.04369999999997</c:v>
                </c:pt>
                <c:pt idx="1069">
                  <c:v>194.21599999999998</c:v>
                </c:pt>
                <c:pt idx="1070">
                  <c:v>192.93290000000002</c:v>
                </c:pt>
                <c:pt idx="1071">
                  <c:v>190.2978</c:v>
                </c:pt>
                <c:pt idx="1072">
                  <c:v>192.90500000000003</c:v>
                </c:pt>
                <c:pt idx="1073">
                  <c:v>194.3</c:v>
                </c:pt>
                <c:pt idx="1074">
                  <c:v>191.2919</c:v>
                </c:pt>
                <c:pt idx="1075">
                  <c:v>190.67820000000003</c:v>
                </c:pt>
                <c:pt idx="1076">
                  <c:v>189.0429</c:v>
                </c:pt>
                <c:pt idx="1077">
                  <c:v>187.73139999999998</c:v>
                </c:pt>
                <c:pt idx="1078">
                  <c:v>191.12520000000001</c:v>
                </c:pt>
                <c:pt idx="1079">
                  <c:v>191.93219999999999</c:v>
                </c:pt>
                <c:pt idx="1080">
                  <c:v>191.8304</c:v>
                </c:pt>
                <c:pt idx="1081">
                  <c:v>190.0506</c:v>
                </c:pt>
                <c:pt idx="1082">
                  <c:v>190.31600000000003</c:v>
                </c:pt>
                <c:pt idx="1083">
                  <c:v>190.4205</c:v>
                </c:pt>
                <c:pt idx="1084">
                  <c:v>191.89760000000001</c:v>
                </c:pt>
                <c:pt idx="1085">
                  <c:v>191.27090000000001</c:v>
                </c:pt>
                <c:pt idx="1086">
                  <c:v>191.14010000000002</c:v>
                </c:pt>
                <c:pt idx="1087">
                  <c:v>191.1747</c:v>
                </c:pt>
                <c:pt idx="1088">
                  <c:v>191.50939999999997</c:v>
                </c:pt>
                <c:pt idx="1089">
                  <c:v>189.98909999999998</c:v>
                </c:pt>
                <c:pt idx="1090">
                  <c:v>188.828</c:v>
                </c:pt>
                <c:pt idx="1091">
                  <c:v>186.9068</c:v>
                </c:pt>
                <c:pt idx="1092">
                  <c:v>183.21950000000001</c:v>
                </c:pt>
                <c:pt idx="1093">
                  <c:v>185.84710000000001</c:v>
                </c:pt>
                <c:pt idx="1094">
                  <c:v>185.60720000000001</c:v>
                </c:pt>
                <c:pt idx="1095">
                  <c:v>186.42619999999999</c:v>
                </c:pt>
                <c:pt idx="1096">
                  <c:v>187.74590000000001</c:v>
                </c:pt>
                <c:pt idx="1097">
                  <c:v>185.107</c:v>
                </c:pt>
                <c:pt idx="1098">
                  <c:v>185.32560000000001</c:v>
                </c:pt>
                <c:pt idx="1099">
                  <c:v>184.90700000000001</c:v>
                </c:pt>
                <c:pt idx="1100">
                  <c:v>186.38219999999998</c:v>
                </c:pt>
                <c:pt idx="1101">
                  <c:v>185.55459999999999</c:v>
                </c:pt>
                <c:pt idx="1102">
                  <c:v>186.99599999999998</c:v>
                </c:pt>
                <c:pt idx="1103">
                  <c:v>183.93540000000002</c:v>
                </c:pt>
                <c:pt idx="1104">
                  <c:v>184.43860000000001</c:v>
                </c:pt>
                <c:pt idx="1105">
                  <c:v>185.24950000000001</c:v>
                </c:pt>
                <c:pt idx="1106">
                  <c:v>182.7552</c:v>
                </c:pt>
                <c:pt idx="1107">
                  <c:v>179.8372</c:v>
                </c:pt>
                <c:pt idx="1108">
                  <c:v>171.65260000000001</c:v>
                </c:pt>
                <c:pt idx="1109">
                  <c:v>171.53440000000001</c:v>
                </c:pt>
                <c:pt idx="1110">
                  <c:v>170.65960000000001</c:v>
                </c:pt>
                <c:pt idx="1111">
                  <c:v>167.86180000000002</c:v>
                </c:pt>
                <c:pt idx="1112">
                  <c:v>164.23480000000001</c:v>
                </c:pt>
                <c:pt idx="1113">
                  <c:v>162.51839999999999</c:v>
                </c:pt>
                <c:pt idx="1114">
                  <c:v>162.56280000000001</c:v>
                </c:pt>
                <c:pt idx="1115">
                  <c:v>162.6781</c:v>
                </c:pt>
                <c:pt idx="1116">
                  <c:v>166.73770000000002</c:v>
                </c:pt>
                <c:pt idx="1117">
                  <c:v>168.65</c:v>
                </c:pt>
                <c:pt idx="1118">
                  <c:v>170.67619999999999</c:v>
                </c:pt>
                <c:pt idx="1119">
                  <c:v>168.51910000000001</c:v>
                </c:pt>
                <c:pt idx="1120">
                  <c:v>168.08199999999999</c:v>
                </c:pt>
                <c:pt idx="1121">
                  <c:v>170.9025</c:v>
                </c:pt>
                <c:pt idx="1122">
                  <c:v>170.69839999999999</c:v>
                </c:pt>
                <c:pt idx="1123">
                  <c:v>171.41480000000001</c:v>
                </c:pt>
                <c:pt idx="1124">
                  <c:v>169.4196</c:v>
                </c:pt>
                <c:pt idx="1125">
                  <c:v>171.98250000000002</c:v>
                </c:pt>
                <c:pt idx="1126">
                  <c:v>172.66680000000002</c:v>
                </c:pt>
                <c:pt idx="1127">
                  <c:v>173.88390000000001</c:v>
                </c:pt>
                <c:pt idx="1128">
                  <c:v>174.0813</c:v>
                </c:pt>
                <c:pt idx="1129">
                  <c:v>172.9332</c:v>
                </c:pt>
                <c:pt idx="1130">
                  <c:v>171.91320000000002</c:v>
                </c:pt>
                <c:pt idx="1131">
                  <c:v>171.96680000000001</c:v>
                </c:pt>
                <c:pt idx="1132">
                  <c:v>171.398</c:v>
                </c:pt>
                <c:pt idx="1133">
                  <c:v>170.0848</c:v>
                </c:pt>
                <c:pt idx="1134">
                  <c:v>169.54739999999998</c:v>
                </c:pt>
                <c:pt idx="1135">
                  <c:v>168.97480000000002</c:v>
                </c:pt>
                <c:pt idx="1136">
                  <c:v>169.44330000000002</c:v>
                </c:pt>
                <c:pt idx="1137">
                  <c:v>170.50019999999998</c:v>
                </c:pt>
                <c:pt idx="1138">
                  <c:v>167.93179999999998</c:v>
                </c:pt>
                <c:pt idx="1139">
                  <c:v>167.0633</c:v>
                </c:pt>
                <c:pt idx="1140">
                  <c:v>169.1679</c:v>
                </c:pt>
                <c:pt idx="1141">
                  <c:v>167.2465</c:v>
                </c:pt>
                <c:pt idx="1142">
                  <c:v>166.774</c:v>
                </c:pt>
                <c:pt idx="1143">
                  <c:v>172.74009999999998</c:v>
                </c:pt>
                <c:pt idx="1144">
                  <c:v>173.9888</c:v>
                </c:pt>
                <c:pt idx="1145">
                  <c:v>174.72699999999998</c:v>
                </c:pt>
                <c:pt idx="1146">
                  <c:v>175.3997</c:v>
                </c:pt>
                <c:pt idx="1147">
                  <c:v>173.32040000000001</c:v>
                </c:pt>
                <c:pt idx="1148">
                  <c:v>173.23489999999998</c:v>
                </c:pt>
                <c:pt idx="1149">
                  <c:v>172.60390000000001</c:v>
                </c:pt>
                <c:pt idx="1150">
                  <c:v>172.81990000000002</c:v>
                </c:pt>
                <c:pt idx="1151">
                  <c:v>170.96620000000001</c:v>
                </c:pt>
                <c:pt idx="1152">
                  <c:v>171.17870000000002</c:v>
                </c:pt>
                <c:pt idx="1153">
                  <c:v>167.46720000000002</c:v>
                </c:pt>
                <c:pt idx="1154">
                  <c:v>168.86960000000002</c:v>
                </c:pt>
                <c:pt idx="1155">
                  <c:v>171.23400000000001</c:v>
                </c:pt>
                <c:pt idx="1156">
                  <c:v>169.23</c:v>
                </c:pt>
                <c:pt idx="1157">
                  <c:v>171.88509999999999</c:v>
                </c:pt>
                <c:pt idx="1158">
                  <c:v>172.68110000000001</c:v>
                </c:pt>
                <c:pt idx="1159">
                  <c:v>173.67270000000002</c:v>
                </c:pt>
                <c:pt idx="1160">
                  <c:v>173.16829999999999</c:v>
                </c:pt>
                <c:pt idx="1161">
                  <c:v>174.92930000000001</c:v>
                </c:pt>
                <c:pt idx="1162">
                  <c:v>172.35900000000001</c:v>
                </c:pt>
                <c:pt idx="1163">
                  <c:v>172.46950000000001</c:v>
                </c:pt>
                <c:pt idx="1164">
                  <c:v>174.70859999999999</c:v>
                </c:pt>
                <c:pt idx="1165">
                  <c:v>173.95830000000001</c:v>
                </c:pt>
                <c:pt idx="1166">
                  <c:v>175.42300000000003</c:v>
                </c:pt>
                <c:pt idx="1167">
                  <c:v>174.50369999999998</c:v>
                </c:pt>
                <c:pt idx="1168">
                  <c:v>177.0274</c:v>
                </c:pt>
                <c:pt idx="1169">
                  <c:v>178.90459999999999</c:v>
                </c:pt>
                <c:pt idx="1170">
                  <c:v>175.85</c:v>
                </c:pt>
                <c:pt idx="1171">
                  <c:v>172.95259999999999</c:v>
                </c:pt>
                <c:pt idx="1172">
                  <c:v>172.3433</c:v>
                </c:pt>
                <c:pt idx="1173">
                  <c:v>171.95779999999999</c:v>
                </c:pt>
                <c:pt idx="1174">
                  <c:v>173.80020000000002</c:v>
                </c:pt>
                <c:pt idx="1175">
                  <c:v>171.6199</c:v>
                </c:pt>
                <c:pt idx="1176">
                  <c:v>171.2722</c:v>
                </c:pt>
                <c:pt idx="1177">
                  <c:v>167.82170000000002</c:v>
                </c:pt>
                <c:pt idx="1178">
                  <c:v>170.05420000000001</c:v>
                </c:pt>
                <c:pt idx="1179">
                  <c:v>173.68510000000001</c:v>
                </c:pt>
                <c:pt idx="1180">
                  <c:v>173.71270000000001</c:v>
                </c:pt>
                <c:pt idx="1181">
                  <c:v>172.93819999999999</c:v>
                </c:pt>
                <c:pt idx="1182">
                  <c:v>173.55670000000001</c:v>
                </c:pt>
                <c:pt idx="1183">
                  <c:v>175.9442</c:v>
                </c:pt>
                <c:pt idx="1184">
                  <c:v>175.75560000000002</c:v>
                </c:pt>
                <c:pt idx="1185">
                  <c:v>177.2688</c:v>
                </c:pt>
                <c:pt idx="1186">
                  <c:v>176.8681</c:v>
                </c:pt>
                <c:pt idx="1187">
                  <c:v>177.4676</c:v>
                </c:pt>
                <c:pt idx="1188">
                  <c:v>176.50989999999999</c:v>
                </c:pt>
                <c:pt idx="1189">
                  <c:v>177.6403</c:v>
                </c:pt>
                <c:pt idx="1190">
                  <c:v>174.6207</c:v>
                </c:pt>
                <c:pt idx="1191">
                  <c:v>174.92319999999998</c:v>
                </c:pt>
                <c:pt idx="1192">
                  <c:v>172.70340000000002</c:v>
                </c:pt>
                <c:pt idx="1193">
                  <c:v>171.3466</c:v>
                </c:pt>
                <c:pt idx="1194">
                  <c:v>174.03049999999999</c:v>
                </c:pt>
                <c:pt idx="1195">
                  <c:v>175.10750000000002</c:v>
                </c:pt>
                <c:pt idx="1196">
                  <c:v>177.66950000000003</c:v>
                </c:pt>
                <c:pt idx="1197">
                  <c:v>174.25209999999998</c:v>
                </c:pt>
                <c:pt idx="1198">
                  <c:v>176.25239999999999</c:v>
                </c:pt>
                <c:pt idx="1199">
                  <c:v>173.90819999999997</c:v>
                </c:pt>
                <c:pt idx="1200">
                  <c:v>174.06900000000002</c:v>
                </c:pt>
                <c:pt idx="1201">
                  <c:v>175.49790000000002</c:v>
                </c:pt>
                <c:pt idx="1202">
                  <c:v>173.84029999999998</c:v>
                </c:pt>
                <c:pt idx="1203">
                  <c:v>173.58410000000001</c:v>
                </c:pt>
                <c:pt idx="1204">
                  <c:v>173.08880000000002</c:v>
                </c:pt>
                <c:pt idx="1205">
                  <c:v>178.47029999999998</c:v>
                </c:pt>
                <c:pt idx="1206">
                  <c:v>176.5949</c:v>
                </c:pt>
                <c:pt idx="1207">
                  <c:v>177.89179999999999</c:v>
                </c:pt>
                <c:pt idx="1208">
                  <c:v>175.98769999999999</c:v>
                </c:pt>
                <c:pt idx="1209">
                  <c:v>176.71719999999999</c:v>
                </c:pt>
                <c:pt idx="1210">
                  <c:v>176.25299999999999</c:v>
                </c:pt>
                <c:pt idx="1211">
                  <c:v>171.495</c:v>
                </c:pt>
                <c:pt idx="1212">
                  <c:v>172.39779999999999</c:v>
                </c:pt>
                <c:pt idx="1213">
                  <c:v>171.572</c:v>
                </c:pt>
                <c:pt idx="1214">
                  <c:v>178.374</c:v>
                </c:pt>
                <c:pt idx="1215">
                  <c:v>178.78280000000001</c:v>
                </c:pt>
                <c:pt idx="1216">
                  <c:v>182.5881</c:v>
                </c:pt>
                <c:pt idx="1217">
                  <c:v>182.9648</c:v>
                </c:pt>
                <c:pt idx="1218">
                  <c:v>178.899</c:v>
                </c:pt>
                <c:pt idx="1219">
                  <c:v>179.98850000000002</c:v>
                </c:pt>
                <c:pt idx="1220">
                  <c:v>175.43809999999999</c:v>
                </c:pt>
                <c:pt idx="1221">
                  <c:v>173.91120000000001</c:v>
                </c:pt>
                <c:pt idx="1222">
                  <c:v>171.42270000000002</c:v>
                </c:pt>
                <c:pt idx="1223">
                  <c:v>175.17510000000001</c:v>
                </c:pt>
                <c:pt idx="1224">
                  <c:v>173.04559999999998</c:v>
                </c:pt>
                <c:pt idx="1225">
                  <c:v>170.9203</c:v>
                </c:pt>
                <c:pt idx="1226">
                  <c:v>168.2432</c:v>
                </c:pt>
                <c:pt idx="1227">
                  <c:v>168.72820000000002</c:v>
                </c:pt>
                <c:pt idx="1228">
                  <c:v>169.77809999999999</c:v>
                </c:pt>
                <c:pt idx="1229">
                  <c:v>168.19329999999999</c:v>
                </c:pt>
                <c:pt idx="1230">
                  <c:v>169.0829</c:v>
                </c:pt>
                <c:pt idx="1231">
                  <c:v>162.3766</c:v>
                </c:pt>
                <c:pt idx="1232">
                  <c:v>160.5754</c:v>
                </c:pt>
                <c:pt idx="1233">
                  <c:v>164.96770000000001</c:v>
                </c:pt>
                <c:pt idx="1234">
                  <c:v>167.55119999999999</c:v>
                </c:pt>
                <c:pt idx="1235">
                  <c:v>166.46440000000001</c:v>
                </c:pt>
                <c:pt idx="1236">
                  <c:v>166.32660000000001</c:v>
                </c:pt>
                <c:pt idx="1237">
                  <c:v>163.80609999999999</c:v>
                </c:pt>
                <c:pt idx="1238">
                  <c:v>163.86699999999999</c:v>
                </c:pt>
                <c:pt idx="1239">
                  <c:v>161.46379999999999</c:v>
                </c:pt>
                <c:pt idx="1240">
                  <c:v>162.01339999999999</c:v>
                </c:pt>
                <c:pt idx="1241">
                  <c:v>165.72669999999999</c:v>
                </c:pt>
                <c:pt idx="1242">
                  <c:v>171.2234</c:v>
                </c:pt>
                <c:pt idx="1243">
                  <c:v>166.68389999999999</c:v>
                </c:pt>
                <c:pt idx="1244">
                  <c:v>163.5558</c:v>
                </c:pt>
                <c:pt idx="1245">
                  <c:v>160.94469999999998</c:v>
                </c:pt>
                <c:pt idx="1246">
                  <c:v>162.75840000000002</c:v>
                </c:pt>
                <c:pt idx="1247">
                  <c:v>161.01779999999999</c:v>
                </c:pt>
                <c:pt idx="1248">
                  <c:v>157.71719999999999</c:v>
                </c:pt>
                <c:pt idx="1249">
                  <c:v>162.39940000000001</c:v>
                </c:pt>
                <c:pt idx="1250">
                  <c:v>161.8656</c:v>
                </c:pt>
                <c:pt idx="1251">
                  <c:v>157.39709999999999</c:v>
                </c:pt>
                <c:pt idx="1252">
                  <c:v>156.55629999999999</c:v>
                </c:pt>
                <c:pt idx="1253">
                  <c:v>162.27100000000002</c:v>
                </c:pt>
                <c:pt idx="1254">
                  <c:v>163.9494</c:v>
                </c:pt>
                <c:pt idx="1255">
                  <c:v>159.22059999999999</c:v>
                </c:pt>
                <c:pt idx="1256">
                  <c:v>159.28040000000001</c:v>
                </c:pt>
                <c:pt idx="1257">
                  <c:v>155.10069999999999</c:v>
                </c:pt>
                <c:pt idx="1258">
                  <c:v>150.00740000000002</c:v>
                </c:pt>
                <c:pt idx="1259">
                  <c:v>152.04270000000002</c:v>
                </c:pt>
                <c:pt idx="1260">
                  <c:v>151.58179999999999</c:v>
                </c:pt>
                <c:pt idx="1261">
                  <c:v>157.47550000000001</c:v>
                </c:pt>
                <c:pt idx="1262">
                  <c:v>154.11760000000001</c:v>
                </c:pt>
                <c:pt idx="1263">
                  <c:v>153.14109999999999</c:v>
                </c:pt>
                <c:pt idx="1264">
                  <c:v>161.14099999999999</c:v>
                </c:pt>
                <c:pt idx="1265">
                  <c:v>157.07840000000002</c:v>
                </c:pt>
                <c:pt idx="1266">
                  <c:v>150.32550000000001</c:v>
                </c:pt>
                <c:pt idx="1267">
                  <c:v>138.08920000000001</c:v>
                </c:pt>
                <c:pt idx="1268">
                  <c:v>143.61660000000001</c:v>
                </c:pt>
                <c:pt idx="1269">
                  <c:v>141.1523</c:v>
                </c:pt>
                <c:pt idx="1270">
                  <c:v>139.91059999999999</c:v>
                </c:pt>
                <c:pt idx="1271">
                  <c:v>146.48840000000001</c:v>
                </c:pt>
                <c:pt idx="1272">
                  <c:v>144.1816</c:v>
                </c:pt>
                <c:pt idx="1273">
                  <c:v>151.54689999999999</c:v>
                </c:pt>
                <c:pt idx="1274">
                  <c:v>148.90559999999999</c:v>
                </c:pt>
                <c:pt idx="1275">
                  <c:v>166.25149999999999</c:v>
                </c:pt>
                <c:pt idx="1276">
                  <c:v>168.5735</c:v>
                </c:pt>
                <c:pt idx="1277">
                  <c:v>168.6686</c:v>
                </c:pt>
                <c:pt idx="1278">
                  <c:v>182.1267</c:v>
                </c:pt>
                <c:pt idx="1279">
                  <c:v>188.72910000000002</c:v>
                </c:pt>
                <c:pt idx="1280">
                  <c:v>191.6506</c:v>
                </c:pt>
                <c:pt idx="1281">
                  <c:v>189.31319999999999</c:v>
                </c:pt>
                <c:pt idx="1282">
                  <c:v>187.17919999999998</c:v>
                </c:pt>
                <c:pt idx="1283">
                  <c:v>185.50170000000003</c:v>
                </c:pt>
                <c:pt idx="1284">
                  <c:v>191.2764</c:v>
                </c:pt>
                <c:pt idx="1285">
                  <c:v>198.08939999999998</c:v>
                </c:pt>
                <c:pt idx="1286">
                  <c:v>197.76820000000001</c:v>
                </c:pt>
                <c:pt idx="1287">
                  <c:v>201.626</c:v>
                </c:pt>
                <c:pt idx="1288">
                  <c:v>208.41289999999998</c:v>
                </c:pt>
                <c:pt idx="1289">
                  <c:v>209.29440000000002</c:v>
                </c:pt>
                <c:pt idx="1290">
                  <c:v>209.49660000000003</c:v>
                </c:pt>
                <c:pt idx="1291">
                  <c:v>207.50859999999997</c:v>
                </c:pt>
                <c:pt idx="1292">
                  <c:v>208.9324</c:v>
                </c:pt>
                <c:pt idx="1293">
                  <c:v>208.3263</c:v>
                </c:pt>
                <c:pt idx="1294">
                  <c:v>209.0795</c:v>
                </c:pt>
                <c:pt idx="1295">
                  <c:v>210.73820000000003</c:v>
                </c:pt>
                <c:pt idx="1296">
                  <c:v>209.65980000000002</c:v>
                </c:pt>
                <c:pt idx="1297">
                  <c:v>208.2294</c:v>
                </c:pt>
                <c:pt idx="1298">
                  <c:v>208.70860000000002</c:v>
                </c:pt>
                <c:pt idx="1299">
                  <c:v>209.70099999999999</c:v>
                </c:pt>
                <c:pt idx="1300">
                  <c:v>209.08269999999999</c:v>
                </c:pt>
                <c:pt idx="1301">
                  <c:v>207.96320000000003</c:v>
                </c:pt>
                <c:pt idx="1302">
                  <c:v>204.91820000000001</c:v>
                </c:pt>
                <c:pt idx="1303">
                  <c:v>203.97710000000001</c:v>
                </c:pt>
                <c:pt idx="1304">
                  <c:v>206.38259999999997</c:v>
                </c:pt>
                <c:pt idx="1305">
                  <c:v>208.98139999999995</c:v>
                </c:pt>
                <c:pt idx="1306">
                  <c:v>208.84359999999998</c:v>
                </c:pt>
                <c:pt idx="1307">
                  <c:v>207.05410000000001</c:v>
                </c:pt>
                <c:pt idx="1308">
                  <c:v>211.7868</c:v>
                </c:pt>
                <c:pt idx="1309">
                  <c:v>209.63529999999997</c:v>
                </c:pt>
                <c:pt idx="1310">
                  <c:v>211.46109999999999</c:v>
                </c:pt>
                <c:pt idx="1311">
                  <c:v>212.28639999999999</c:v>
                </c:pt>
                <c:pt idx="1312">
                  <c:v>213.4033</c:v>
                </c:pt>
                <c:pt idx="1313">
                  <c:v>214.02460000000002</c:v>
                </c:pt>
                <c:pt idx="1314">
                  <c:v>212.25830000000002</c:v>
                </c:pt>
                <c:pt idx="1315">
                  <c:v>212.93459999999999</c:v>
                </c:pt>
                <c:pt idx="1316">
                  <c:v>212.5145</c:v>
                </c:pt>
                <c:pt idx="1317">
                  <c:v>212.34120000000001</c:v>
                </c:pt>
                <c:pt idx="1318">
                  <c:v>211.38339999999997</c:v>
                </c:pt>
                <c:pt idx="1319">
                  <c:v>211.73770000000002</c:v>
                </c:pt>
                <c:pt idx="1320">
                  <c:v>211.19740000000002</c:v>
                </c:pt>
                <c:pt idx="1321">
                  <c:v>211.49379999999999</c:v>
                </c:pt>
                <c:pt idx="1322">
                  <c:v>211.37269999999998</c:v>
                </c:pt>
                <c:pt idx="1323">
                  <c:v>212.81569999999999</c:v>
                </c:pt>
                <c:pt idx="1324">
                  <c:v>212.61520000000002</c:v>
                </c:pt>
                <c:pt idx="1325">
                  <c:v>210.81870000000001</c:v>
                </c:pt>
                <c:pt idx="1326">
                  <c:v>211.8913</c:v>
                </c:pt>
                <c:pt idx="1327">
                  <c:v>213.38679999999997</c:v>
                </c:pt>
                <c:pt idx="1328">
                  <c:v>212.96939999999998</c:v>
                </c:pt>
                <c:pt idx="1329">
                  <c:v>212.38099999999997</c:v>
                </c:pt>
                <c:pt idx="1330">
                  <c:v>211.16410000000002</c:v>
                </c:pt>
                <c:pt idx="1331">
                  <c:v>210.893</c:v>
                </c:pt>
                <c:pt idx="1332">
                  <c:v>210.13159999999996</c:v>
                </c:pt>
                <c:pt idx="1333">
                  <c:v>209.80029999999999</c:v>
                </c:pt>
                <c:pt idx="1334">
                  <c:v>210.02260000000001</c:v>
                </c:pt>
                <c:pt idx="1335">
                  <c:v>205.55810000000002</c:v>
                </c:pt>
                <c:pt idx="1336">
                  <c:v>202.46500000000003</c:v>
                </c:pt>
                <c:pt idx="1337">
                  <c:v>200.90300000000002</c:v>
                </c:pt>
                <c:pt idx="1338">
                  <c:v>201.05810000000002</c:v>
                </c:pt>
                <c:pt idx="1339">
                  <c:v>201.77129999999997</c:v>
                </c:pt>
                <c:pt idx="1340">
                  <c:v>201.91579999999999</c:v>
                </c:pt>
                <c:pt idx="1341">
                  <c:v>199.2373</c:v>
                </c:pt>
                <c:pt idx="1342">
                  <c:v>200.24180000000001</c:v>
                </c:pt>
                <c:pt idx="1343">
                  <c:v>199.27500000000001</c:v>
                </c:pt>
                <c:pt idx="1344">
                  <c:v>202.49220000000003</c:v>
                </c:pt>
                <c:pt idx="1345">
                  <c:v>204.04559999999998</c:v>
                </c:pt>
                <c:pt idx="1346">
                  <c:v>205.94260000000003</c:v>
                </c:pt>
                <c:pt idx="1347">
                  <c:v>205.90770000000003</c:v>
                </c:pt>
                <c:pt idx="1348">
                  <c:v>205.13979999999998</c:v>
                </c:pt>
                <c:pt idx="1349">
                  <c:v>204.69429999999997</c:v>
                </c:pt>
                <c:pt idx="1350">
                  <c:v>202.7826</c:v>
                </c:pt>
                <c:pt idx="1351">
                  <c:v>200.6088</c:v>
                </c:pt>
                <c:pt idx="1352">
                  <c:v>201.24799999999999</c:v>
                </c:pt>
                <c:pt idx="1353">
                  <c:v>202.70339999999999</c:v>
                </c:pt>
                <c:pt idx="1354">
                  <c:v>202.1788</c:v>
                </c:pt>
                <c:pt idx="1355">
                  <c:v>202.00449999999995</c:v>
                </c:pt>
                <c:pt idx="1356">
                  <c:v>201.45140000000001</c:v>
                </c:pt>
                <c:pt idx="1357">
                  <c:v>202.47970000000001</c:v>
                </c:pt>
                <c:pt idx="1358">
                  <c:v>203.0608</c:v>
                </c:pt>
                <c:pt idx="1359">
                  <c:v>202.21210000000002</c:v>
                </c:pt>
                <c:pt idx="1360">
                  <c:v>202.81669999999997</c:v>
                </c:pt>
                <c:pt idx="1361">
                  <c:v>203.97539999999998</c:v>
                </c:pt>
                <c:pt idx="1362">
                  <c:v>203.22040000000001</c:v>
                </c:pt>
                <c:pt idx="1363">
                  <c:v>203.14290000000003</c:v>
                </c:pt>
                <c:pt idx="1364">
                  <c:v>202.67270000000002</c:v>
                </c:pt>
                <c:pt idx="1365">
                  <c:v>201.01570000000001</c:v>
                </c:pt>
                <c:pt idx="1366">
                  <c:v>199.55259999999998</c:v>
                </c:pt>
                <c:pt idx="1367">
                  <c:v>201.46790000000001</c:v>
                </c:pt>
                <c:pt idx="1368">
                  <c:v>201.0301</c:v>
                </c:pt>
                <c:pt idx="1369">
                  <c:v>201.65949999999998</c:v>
                </c:pt>
                <c:pt idx="1370">
                  <c:v>201.33279999999999</c:v>
                </c:pt>
                <c:pt idx="1371">
                  <c:v>201.50320000000002</c:v>
                </c:pt>
                <c:pt idx="1372">
                  <c:v>199.9708</c:v>
                </c:pt>
                <c:pt idx="1373">
                  <c:v>198.90549999999999</c:v>
                </c:pt>
                <c:pt idx="1374">
                  <c:v>198.04050000000001</c:v>
                </c:pt>
                <c:pt idx="1375">
                  <c:v>197.61850000000001</c:v>
                </c:pt>
                <c:pt idx="1376">
                  <c:v>198.31319999999999</c:v>
                </c:pt>
                <c:pt idx="1377">
                  <c:v>197.85980000000001</c:v>
                </c:pt>
                <c:pt idx="1378">
                  <c:v>198.82750000000001</c:v>
                </c:pt>
                <c:pt idx="1379">
                  <c:v>198.447</c:v>
                </c:pt>
                <c:pt idx="1380">
                  <c:v>199.33179999999999</c:v>
                </c:pt>
                <c:pt idx="1381">
                  <c:v>196.64400000000001</c:v>
                </c:pt>
                <c:pt idx="1382">
                  <c:v>195.8639</c:v>
                </c:pt>
                <c:pt idx="1383">
                  <c:v>195.42489999999998</c:v>
                </c:pt>
                <c:pt idx="1384">
                  <c:v>197.02349999999998</c:v>
                </c:pt>
                <c:pt idx="1385">
                  <c:v>196.1721</c:v>
                </c:pt>
                <c:pt idx="1386">
                  <c:v>194.20850000000002</c:v>
                </c:pt>
                <c:pt idx="1387">
                  <c:v>195.2567</c:v>
                </c:pt>
                <c:pt idx="1388">
                  <c:v>201.2225</c:v>
                </c:pt>
                <c:pt idx="1389">
                  <c:v>202.38240000000002</c:v>
                </c:pt>
                <c:pt idx="1390">
                  <c:v>202.85830000000001</c:v>
                </c:pt>
                <c:pt idx="1391">
                  <c:v>200.87869999999998</c:v>
                </c:pt>
                <c:pt idx="1392">
                  <c:v>199.44239999999999</c:v>
                </c:pt>
                <c:pt idx="1393">
                  <c:v>199.75320000000002</c:v>
                </c:pt>
                <c:pt idx="1394">
                  <c:v>200.7466</c:v>
                </c:pt>
                <c:pt idx="1395">
                  <c:v>201.39810000000003</c:v>
                </c:pt>
                <c:pt idx="1396">
                  <c:v>201.49879999999999</c:v>
                </c:pt>
                <c:pt idx="1397">
                  <c:v>200.46780000000001</c:v>
                </c:pt>
                <c:pt idx="1398">
                  <c:v>200.59030000000001</c:v>
                </c:pt>
                <c:pt idx="1399">
                  <c:v>200.66410000000002</c:v>
                </c:pt>
                <c:pt idx="1400">
                  <c:v>201.8853</c:v>
                </c:pt>
                <c:pt idx="1401">
                  <c:v>200.98380000000003</c:v>
                </c:pt>
                <c:pt idx="1402">
                  <c:v>200.82329999999996</c:v>
                </c:pt>
                <c:pt idx="1403">
                  <c:v>198.83369999999999</c:v>
                </c:pt>
                <c:pt idx="1404">
                  <c:v>198.0204</c:v>
                </c:pt>
                <c:pt idx="1405">
                  <c:v>199.11709999999999</c:v>
                </c:pt>
                <c:pt idx="1406">
                  <c:v>198.74209999999999</c:v>
                </c:pt>
                <c:pt idx="1407">
                  <c:v>199.3493</c:v>
                </c:pt>
                <c:pt idx="1408">
                  <c:v>198.1275</c:v>
                </c:pt>
                <c:pt idx="1409">
                  <c:v>198.4847</c:v>
                </c:pt>
                <c:pt idx="1410">
                  <c:v>196.65449999999998</c:v>
                </c:pt>
                <c:pt idx="1411">
                  <c:v>195.97539999999998</c:v>
                </c:pt>
                <c:pt idx="1412">
                  <c:v>194.2362</c:v>
                </c:pt>
                <c:pt idx="1413">
                  <c:v>193.92489999999998</c:v>
                </c:pt>
                <c:pt idx="1414">
                  <c:v>193.893</c:v>
                </c:pt>
                <c:pt idx="1415">
                  <c:v>194.60720000000001</c:v>
                </c:pt>
                <c:pt idx="1416">
                  <c:v>196.13830000000002</c:v>
                </c:pt>
                <c:pt idx="1417">
                  <c:v>194.04650000000001</c:v>
                </c:pt>
                <c:pt idx="1418">
                  <c:v>195.62139999999999</c:v>
                </c:pt>
                <c:pt idx="1419">
                  <c:v>193.50290000000001</c:v>
                </c:pt>
                <c:pt idx="1420">
                  <c:v>192.10590000000002</c:v>
                </c:pt>
                <c:pt idx="1421">
                  <c:v>193.4708</c:v>
                </c:pt>
                <c:pt idx="1422">
                  <c:v>196.22350000000003</c:v>
                </c:pt>
                <c:pt idx="1423">
                  <c:v>195.54839999999999</c:v>
                </c:pt>
                <c:pt idx="1424">
                  <c:v>196.44049999999999</c:v>
                </c:pt>
                <c:pt idx="1425">
                  <c:v>197.22270000000003</c:v>
                </c:pt>
                <c:pt idx="1426">
                  <c:v>194.16500000000002</c:v>
                </c:pt>
                <c:pt idx="1427">
                  <c:v>193.42199999999997</c:v>
                </c:pt>
                <c:pt idx="1428">
                  <c:v>194.5789</c:v>
                </c:pt>
                <c:pt idx="1429">
                  <c:v>199.2843</c:v>
                </c:pt>
                <c:pt idx="1430">
                  <c:v>203.85759999999999</c:v>
                </c:pt>
                <c:pt idx="1431">
                  <c:v>203.90940000000001</c:v>
                </c:pt>
                <c:pt idx="1432">
                  <c:v>205.42169999999999</c:v>
                </c:pt>
                <c:pt idx="1433">
                  <c:v>206.4812</c:v>
                </c:pt>
                <c:pt idx="1434">
                  <c:v>203.4186</c:v>
                </c:pt>
                <c:pt idx="1435">
                  <c:v>202.03509999999997</c:v>
                </c:pt>
                <c:pt idx="1436">
                  <c:v>202.1414</c:v>
                </c:pt>
                <c:pt idx="1437">
                  <c:v>203.31770000000003</c:v>
                </c:pt>
                <c:pt idx="1438">
                  <c:v>202.22329999999999</c:v>
                </c:pt>
                <c:pt idx="1439">
                  <c:v>202.04089999999999</c:v>
                </c:pt>
                <c:pt idx="1440">
                  <c:v>201.56019999999998</c:v>
                </c:pt>
                <c:pt idx="1441">
                  <c:v>202.63219999999998</c:v>
                </c:pt>
                <c:pt idx="1442">
                  <c:v>203.61419999999998</c:v>
                </c:pt>
                <c:pt idx="1443">
                  <c:v>202.48730000000003</c:v>
                </c:pt>
                <c:pt idx="1444">
                  <c:v>201.8681</c:v>
                </c:pt>
                <c:pt idx="1445">
                  <c:v>201.79720000000003</c:v>
                </c:pt>
                <c:pt idx="1446">
                  <c:v>202.19620000000003</c:v>
                </c:pt>
                <c:pt idx="1447">
                  <c:v>202.39190000000002</c:v>
                </c:pt>
                <c:pt idx="1448">
                  <c:v>202.88180000000003</c:v>
                </c:pt>
                <c:pt idx="1449">
                  <c:v>203.11449999999999</c:v>
                </c:pt>
                <c:pt idx="1450">
                  <c:v>204.46809999999996</c:v>
                </c:pt>
                <c:pt idx="1451">
                  <c:v>204.50829999999999</c:v>
                </c:pt>
                <c:pt idx="1452">
                  <c:v>203.17929999999998</c:v>
                </c:pt>
                <c:pt idx="1453">
                  <c:v>201.80340000000001</c:v>
                </c:pt>
                <c:pt idx="1454">
                  <c:v>199.9161</c:v>
                </c:pt>
                <c:pt idx="1455">
                  <c:v>199.16899999999998</c:v>
                </c:pt>
                <c:pt idx="1456">
                  <c:v>199.23779999999999</c:v>
                </c:pt>
                <c:pt idx="1457">
                  <c:v>199.42400000000001</c:v>
                </c:pt>
                <c:pt idx="1458">
                  <c:v>199.3314</c:v>
                </c:pt>
                <c:pt idx="1459">
                  <c:v>199.19199999999998</c:v>
                </c:pt>
                <c:pt idx="1460">
                  <c:v>199.67019999999999</c:v>
                </c:pt>
                <c:pt idx="1461">
                  <c:v>198.92059999999998</c:v>
                </c:pt>
                <c:pt idx="1462">
                  <c:v>199.8904</c:v>
                </c:pt>
                <c:pt idx="1463">
                  <c:v>197.7406</c:v>
                </c:pt>
                <c:pt idx="1464">
                  <c:v>197.4374</c:v>
                </c:pt>
                <c:pt idx="1465">
                  <c:v>198.0301</c:v>
                </c:pt>
                <c:pt idx="1466">
                  <c:v>197.9829</c:v>
                </c:pt>
                <c:pt idx="1467">
                  <c:v>198.79799999999997</c:v>
                </c:pt>
                <c:pt idx="1468">
                  <c:v>198.2662</c:v>
                </c:pt>
                <c:pt idx="1469">
                  <c:v>197.16390000000001</c:v>
                </c:pt>
                <c:pt idx="1470">
                  <c:v>195.30540000000002</c:v>
                </c:pt>
                <c:pt idx="1471">
                  <c:v>194.29490000000001</c:v>
                </c:pt>
                <c:pt idx="1472">
                  <c:v>194.05939999999998</c:v>
                </c:pt>
                <c:pt idx="1473">
                  <c:v>193.22239999999999</c:v>
                </c:pt>
                <c:pt idx="1474">
                  <c:v>192.86699999999999</c:v>
                </c:pt>
                <c:pt idx="1475">
                  <c:v>194.35679999999999</c:v>
                </c:pt>
                <c:pt idx="1476">
                  <c:v>193.23329999999999</c:v>
                </c:pt>
                <c:pt idx="1477">
                  <c:v>195.50300000000001</c:v>
                </c:pt>
                <c:pt idx="1478">
                  <c:v>195.5634</c:v>
                </c:pt>
                <c:pt idx="1479">
                  <c:v>194.35509999999999</c:v>
                </c:pt>
                <c:pt idx="1480">
                  <c:v>197.0043</c:v>
                </c:pt>
                <c:pt idx="1481">
                  <c:v>197.0814</c:v>
                </c:pt>
                <c:pt idx="1482">
                  <c:v>196.5138</c:v>
                </c:pt>
                <c:pt idx="1483">
                  <c:v>197.613</c:v>
                </c:pt>
                <c:pt idx="1484">
                  <c:v>197.76329999999999</c:v>
                </c:pt>
                <c:pt idx="1485">
                  <c:v>195.72069999999999</c:v>
                </c:pt>
                <c:pt idx="1486">
                  <c:v>194.48690000000002</c:v>
                </c:pt>
                <c:pt idx="1487">
                  <c:v>192.38409999999999</c:v>
                </c:pt>
                <c:pt idx="1488">
                  <c:v>193.6712</c:v>
                </c:pt>
                <c:pt idx="1489">
                  <c:v>193.636</c:v>
                </c:pt>
                <c:pt idx="1490">
                  <c:v>195.22880000000001</c:v>
                </c:pt>
                <c:pt idx="1491">
                  <c:v>194.90020000000001</c:v>
                </c:pt>
                <c:pt idx="1492">
                  <c:v>197.9152</c:v>
                </c:pt>
                <c:pt idx="1493">
                  <c:v>197.2388</c:v>
                </c:pt>
                <c:pt idx="1494">
                  <c:v>198.06619999999998</c:v>
                </c:pt>
                <c:pt idx="1495">
                  <c:v>198.81789999999998</c:v>
                </c:pt>
                <c:pt idx="1496">
                  <c:v>199.42099999999999</c:v>
                </c:pt>
                <c:pt idx="1497">
                  <c:v>199.04999999999998</c:v>
                </c:pt>
                <c:pt idx="1498">
                  <c:v>199.1918</c:v>
                </c:pt>
                <c:pt idx="1499">
                  <c:v>200.05340000000001</c:v>
                </c:pt>
                <c:pt idx="1500">
                  <c:v>200.99840000000003</c:v>
                </c:pt>
                <c:pt idx="1501">
                  <c:v>199.49170000000001</c:v>
                </c:pt>
                <c:pt idx="1502">
                  <c:v>199.64819999999997</c:v>
                </c:pt>
                <c:pt idx="1503">
                  <c:v>199.7209</c:v>
                </c:pt>
                <c:pt idx="1504">
                  <c:v>198.79750000000001</c:v>
                </c:pt>
                <c:pt idx="1505">
                  <c:v>198.6403</c:v>
                </c:pt>
                <c:pt idx="1506">
                  <c:v>198.0478</c:v>
                </c:pt>
                <c:pt idx="1507">
                  <c:v>197.6849</c:v>
                </c:pt>
                <c:pt idx="1508">
                  <c:v>197.6952</c:v>
                </c:pt>
                <c:pt idx="1509">
                  <c:v>198.4016</c:v>
                </c:pt>
                <c:pt idx="1510">
                  <c:v>198.31189999999998</c:v>
                </c:pt>
                <c:pt idx="1511">
                  <c:v>197.29680000000002</c:v>
                </c:pt>
                <c:pt idx="1512">
                  <c:v>197.49549999999999</c:v>
                </c:pt>
                <c:pt idx="1513">
                  <c:v>196.48330000000001</c:v>
                </c:pt>
                <c:pt idx="1514">
                  <c:v>194.7456</c:v>
                </c:pt>
                <c:pt idx="1515">
                  <c:v>193.69640000000001</c:v>
                </c:pt>
                <c:pt idx="1516">
                  <c:v>192.38569999999999</c:v>
                </c:pt>
                <c:pt idx="1517">
                  <c:v>191.36190000000002</c:v>
                </c:pt>
                <c:pt idx="1518">
                  <c:v>191.3707</c:v>
                </c:pt>
                <c:pt idx="1519">
                  <c:v>190.84369999999998</c:v>
                </c:pt>
                <c:pt idx="1520">
                  <c:v>191.85</c:v>
                </c:pt>
                <c:pt idx="1521">
                  <c:v>195.64159999999998</c:v>
                </c:pt>
                <c:pt idx="1522">
                  <c:v>194.15950000000001</c:v>
                </c:pt>
                <c:pt idx="1523">
                  <c:v>195.13670000000002</c:v>
                </c:pt>
                <c:pt idx="1524">
                  <c:v>194.477</c:v>
                </c:pt>
                <c:pt idx="1525">
                  <c:v>192.9348</c:v>
                </c:pt>
                <c:pt idx="1526">
                  <c:v>191.64490000000001</c:v>
                </c:pt>
                <c:pt idx="1527">
                  <c:v>190.8252</c:v>
                </c:pt>
                <c:pt idx="1528">
                  <c:v>190.5677</c:v>
                </c:pt>
                <c:pt idx="1529">
                  <c:v>190.0429</c:v>
                </c:pt>
                <c:pt idx="1530">
                  <c:v>189.39609999999999</c:v>
                </c:pt>
                <c:pt idx="1531">
                  <c:v>190.78300000000002</c:v>
                </c:pt>
                <c:pt idx="1532">
                  <c:v>191.6215</c:v>
                </c:pt>
                <c:pt idx="1533">
                  <c:v>191.48660000000001</c:v>
                </c:pt>
                <c:pt idx="1534">
                  <c:v>190.3639</c:v>
                </c:pt>
                <c:pt idx="1535">
                  <c:v>189.74969999999999</c:v>
                </c:pt>
                <c:pt idx="1536">
                  <c:v>188.66980000000001</c:v>
                </c:pt>
                <c:pt idx="1537">
                  <c:v>189.04080000000002</c:v>
                </c:pt>
                <c:pt idx="1538">
                  <c:v>190.16259999999997</c:v>
                </c:pt>
                <c:pt idx="1539">
                  <c:v>190.834</c:v>
                </c:pt>
                <c:pt idx="1540">
                  <c:v>190.75359999999998</c:v>
                </c:pt>
                <c:pt idx="1541">
                  <c:v>190.44550000000001</c:v>
                </c:pt>
                <c:pt idx="1542">
                  <c:v>191.2704</c:v>
                </c:pt>
                <c:pt idx="1543">
                  <c:v>190.00620000000001</c:v>
                </c:pt>
                <c:pt idx="1544">
                  <c:v>190.97319999999999</c:v>
                </c:pt>
                <c:pt idx="1545">
                  <c:v>191.10759999999999</c:v>
                </c:pt>
                <c:pt idx="1546">
                  <c:v>190.12799999999999</c:v>
                </c:pt>
                <c:pt idx="1547">
                  <c:v>189.65440000000001</c:v>
                </c:pt>
                <c:pt idx="1548">
                  <c:v>188.16800000000001</c:v>
                </c:pt>
                <c:pt idx="1549">
                  <c:v>188.07689999999999</c:v>
                </c:pt>
                <c:pt idx="1550">
                  <c:v>186.54949999999999</c:v>
                </c:pt>
                <c:pt idx="1551">
                  <c:v>187.26400000000001</c:v>
                </c:pt>
                <c:pt idx="1552">
                  <c:v>189.37209999999999</c:v>
                </c:pt>
                <c:pt idx="1553">
                  <c:v>189.36099999999999</c:v>
                </c:pt>
                <c:pt idx="1554">
                  <c:v>186.05019999999999</c:v>
                </c:pt>
                <c:pt idx="1555">
                  <c:v>185.6857</c:v>
                </c:pt>
                <c:pt idx="1556">
                  <c:v>184.41890000000001</c:v>
                </c:pt>
                <c:pt idx="1557">
                  <c:v>183.97140000000002</c:v>
                </c:pt>
                <c:pt idx="1558">
                  <c:v>181.46680000000001</c:v>
                </c:pt>
                <c:pt idx="1559">
                  <c:v>179.3151</c:v>
                </c:pt>
                <c:pt idx="1560">
                  <c:v>180.8484</c:v>
                </c:pt>
                <c:pt idx="1561">
                  <c:v>181.00119999999998</c:v>
                </c:pt>
                <c:pt idx="1562">
                  <c:v>181.46350000000001</c:v>
                </c:pt>
                <c:pt idx="1563">
                  <c:v>182.87720000000002</c:v>
                </c:pt>
                <c:pt idx="1564">
                  <c:v>184.49040000000002</c:v>
                </c:pt>
                <c:pt idx="1565">
                  <c:v>184.41570000000002</c:v>
                </c:pt>
                <c:pt idx="1566">
                  <c:v>181.12560000000002</c:v>
                </c:pt>
                <c:pt idx="1567">
                  <c:v>181.59610000000001</c:v>
                </c:pt>
                <c:pt idx="1568">
                  <c:v>182.2244</c:v>
                </c:pt>
                <c:pt idx="1569">
                  <c:v>181.3528</c:v>
                </c:pt>
                <c:pt idx="1570">
                  <c:v>182.94799999999998</c:v>
                </c:pt>
                <c:pt idx="1571">
                  <c:v>183.29830000000001</c:v>
                </c:pt>
                <c:pt idx="1572">
                  <c:v>182.46189999999999</c:v>
                </c:pt>
                <c:pt idx="1573">
                  <c:v>181.08699999999999</c:v>
                </c:pt>
                <c:pt idx="1574">
                  <c:v>179.63400000000001</c:v>
                </c:pt>
                <c:pt idx="1575">
                  <c:v>179.86620000000002</c:v>
                </c:pt>
                <c:pt idx="1576">
                  <c:v>176.20339999999999</c:v>
                </c:pt>
                <c:pt idx="1577">
                  <c:v>177.32680000000002</c:v>
                </c:pt>
                <c:pt idx="1578">
                  <c:v>177.02279999999999</c:v>
                </c:pt>
                <c:pt idx="1579">
                  <c:v>177.03299999999999</c:v>
                </c:pt>
                <c:pt idx="1580">
                  <c:v>173.21800000000002</c:v>
                </c:pt>
                <c:pt idx="1581">
                  <c:v>175.57089999999999</c:v>
                </c:pt>
                <c:pt idx="1582">
                  <c:v>176.5575</c:v>
                </c:pt>
                <c:pt idx="1583">
                  <c:v>176.3886</c:v>
                </c:pt>
                <c:pt idx="1584">
                  <c:v>177.80410000000001</c:v>
                </c:pt>
                <c:pt idx="1585">
                  <c:v>176.2647</c:v>
                </c:pt>
                <c:pt idx="1586">
                  <c:v>177.68809999999999</c:v>
                </c:pt>
                <c:pt idx="1587">
                  <c:v>179.6317</c:v>
                </c:pt>
                <c:pt idx="1588">
                  <c:v>180.5797</c:v>
                </c:pt>
                <c:pt idx="1589">
                  <c:v>180.87450000000001</c:v>
                </c:pt>
                <c:pt idx="1590">
                  <c:v>178.77009999999999</c:v>
                </c:pt>
                <c:pt idx="1591">
                  <c:v>176.67350000000002</c:v>
                </c:pt>
                <c:pt idx="1592">
                  <c:v>178.52330000000001</c:v>
                </c:pt>
                <c:pt idx="1593">
                  <c:v>176.761</c:v>
                </c:pt>
                <c:pt idx="1594">
                  <c:v>182.2861</c:v>
                </c:pt>
                <c:pt idx="1595">
                  <c:v>184.55629999999999</c:v>
                </c:pt>
                <c:pt idx="1596">
                  <c:v>185.80790000000002</c:v>
                </c:pt>
                <c:pt idx="1597">
                  <c:v>183.89590000000001</c:v>
                </c:pt>
                <c:pt idx="1598">
                  <c:v>185.3399</c:v>
                </c:pt>
                <c:pt idx="1599">
                  <c:v>184.5992</c:v>
                </c:pt>
                <c:pt idx="1600">
                  <c:v>184.88730000000001</c:v>
                </c:pt>
                <c:pt idx="1601">
                  <c:v>185.39449999999999</c:v>
                </c:pt>
                <c:pt idx="1602">
                  <c:v>183.30769999999998</c:v>
                </c:pt>
                <c:pt idx="1603">
                  <c:v>183.4736</c:v>
                </c:pt>
                <c:pt idx="1604">
                  <c:v>185.27029999999999</c:v>
                </c:pt>
                <c:pt idx="1605">
                  <c:v>182.73220000000001</c:v>
                </c:pt>
                <c:pt idx="1606">
                  <c:v>184.18879999999999</c:v>
                </c:pt>
                <c:pt idx="1607">
                  <c:v>184.55949999999999</c:v>
                </c:pt>
                <c:pt idx="1608">
                  <c:v>185.2338</c:v>
                </c:pt>
                <c:pt idx="1609">
                  <c:v>185.12639999999999</c:v>
                </c:pt>
                <c:pt idx="1610">
                  <c:v>185.68290000000002</c:v>
                </c:pt>
                <c:pt idx="1611">
                  <c:v>185.41639999999998</c:v>
                </c:pt>
                <c:pt idx="1612">
                  <c:v>187.01300000000001</c:v>
                </c:pt>
                <c:pt idx="1613">
                  <c:v>188.04829999999998</c:v>
                </c:pt>
                <c:pt idx="1614">
                  <c:v>187.22210000000001</c:v>
                </c:pt>
                <c:pt idx="1615">
                  <c:v>185.36870000000002</c:v>
                </c:pt>
                <c:pt idx="1616">
                  <c:v>186.79730000000001</c:v>
                </c:pt>
                <c:pt idx="1617">
                  <c:v>186.99179999999998</c:v>
                </c:pt>
                <c:pt idx="1618">
                  <c:v>187.12539999999998</c:v>
                </c:pt>
                <c:pt idx="1619">
                  <c:v>186.9443</c:v>
                </c:pt>
                <c:pt idx="1620">
                  <c:v>184.57169999999999</c:v>
                </c:pt>
                <c:pt idx="1621">
                  <c:v>184.20250000000001</c:v>
                </c:pt>
                <c:pt idx="1622">
                  <c:v>181.97309999999999</c:v>
                </c:pt>
                <c:pt idx="1623">
                  <c:v>183.71169999999998</c:v>
                </c:pt>
                <c:pt idx="1624">
                  <c:v>182.67</c:v>
                </c:pt>
                <c:pt idx="1625">
                  <c:v>182.3914</c:v>
                </c:pt>
                <c:pt idx="1626">
                  <c:v>184.97979999999998</c:v>
                </c:pt>
                <c:pt idx="1627">
                  <c:v>185.19280000000001</c:v>
                </c:pt>
                <c:pt idx="1628">
                  <c:v>185.0076</c:v>
                </c:pt>
                <c:pt idx="1629">
                  <c:v>185.60919999999999</c:v>
                </c:pt>
                <c:pt idx="1630">
                  <c:v>185.9375</c:v>
                </c:pt>
                <c:pt idx="1631">
                  <c:v>184.7028</c:v>
                </c:pt>
                <c:pt idx="1632">
                  <c:v>184.26680000000002</c:v>
                </c:pt>
                <c:pt idx="1633">
                  <c:v>184.19110000000001</c:v>
                </c:pt>
                <c:pt idx="1634">
                  <c:v>187.74779999999998</c:v>
                </c:pt>
                <c:pt idx="1635">
                  <c:v>190.2235</c:v>
                </c:pt>
                <c:pt idx="1636">
                  <c:v>190.30100000000002</c:v>
                </c:pt>
                <c:pt idx="1637">
                  <c:v>192.5926</c:v>
                </c:pt>
                <c:pt idx="1638">
                  <c:v>194.9965</c:v>
                </c:pt>
                <c:pt idx="1639">
                  <c:v>197.16330000000002</c:v>
                </c:pt>
                <c:pt idx="1640">
                  <c:v>196.36369999999999</c:v>
                </c:pt>
                <c:pt idx="1641">
                  <c:v>197.0224</c:v>
                </c:pt>
                <c:pt idx="1642">
                  <c:v>197.18049999999999</c:v>
                </c:pt>
                <c:pt idx="1643">
                  <c:v>198.0394</c:v>
                </c:pt>
                <c:pt idx="1644">
                  <c:v>197.38129999999998</c:v>
                </c:pt>
                <c:pt idx="1645">
                  <c:v>197.33350000000002</c:v>
                </c:pt>
                <c:pt idx="1646">
                  <c:v>196.32390000000001</c:v>
                </c:pt>
                <c:pt idx="1647">
                  <c:v>197.1773</c:v>
                </c:pt>
                <c:pt idx="1648">
                  <c:v>194.48180000000002</c:v>
                </c:pt>
                <c:pt idx="1649">
                  <c:v>193.61240000000001</c:v>
                </c:pt>
                <c:pt idx="1650">
                  <c:v>192.8655</c:v>
                </c:pt>
                <c:pt idx="1651">
                  <c:v>192.77</c:v>
                </c:pt>
                <c:pt idx="1652">
                  <c:v>192.8235</c:v>
                </c:pt>
                <c:pt idx="1653">
                  <c:v>192.13879999999997</c:v>
                </c:pt>
                <c:pt idx="1654">
                  <c:v>192.9923</c:v>
                </c:pt>
                <c:pt idx="1655">
                  <c:v>191.89709999999999</c:v>
                </c:pt>
                <c:pt idx="1656">
                  <c:v>192.08089999999999</c:v>
                </c:pt>
                <c:pt idx="1657">
                  <c:v>192.02699999999999</c:v>
                </c:pt>
                <c:pt idx="1658">
                  <c:v>192.99809999999999</c:v>
                </c:pt>
                <c:pt idx="1659">
                  <c:v>194.37799999999999</c:v>
                </c:pt>
                <c:pt idx="1660">
                  <c:v>196.22129999999999</c:v>
                </c:pt>
                <c:pt idx="1661">
                  <c:v>197.44159999999999</c:v>
                </c:pt>
                <c:pt idx="1662">
                  <c:v>195.88160000000002</c:v>
                </c:pt>
                <c:pt idx="1663">
                  <c:v>197.67100000000002</c:v>
                </c:pt>
                <c:pt idx="1664">
                  <c:v>198.7227</c:v>
                </c:pt>
                <c:pt idx="1665">
                  <c:v>200.041</c:v>
                </c:pt>
                <c:pt idx="1666">
                  <c:v>198.9264</c:v>
                </c:pt>
                <c:pt idx="1667">
                  <c:v>198.56910000000002</c:v>
                </c:pt>
                <c:pt idx="1668">
                  <c:v>198.66970000000001</c:v>
                </c:pt>
                <c:pt idx="1669">
                  <c:v>198.50140000000002</c:v>
                </c:pt>
                <c:pt idx="1670">
                  <c:v>198.84800000000001</c:v>
                </c:pt>
                <c:pt idx="1671">
                  <c:v>198.00190000000001</c:v>
                </c:pt>
                <c:pt idx="1672">
                  <c:v>197.96710000000002</c:v>
                </c:pt>
                <c:pt idx="1673">
                  <c:v>196.1275</c:v>
                </c:pt>
                <c:pt idx="1674">
                  <c:v>198.8751</c:v>
                </c:pt>
                <c:pt idx="1675">
                  <c:v>199.64300000000003</c:v>
                </c:pt>
                <c:pt idx="1676">
                  <c:v>200.33430000000001</c:v>
                </c:pt>
                <c:pt idx="1677">
                  <c:v>202.13849999999999</c:v>
                </c:pt>
                <c:pt idx="1678">
                  <c:v>201.96290000000002</c:v>
                </c:pt>
                <c:pt idx="1679">
                  <c:v>200.56630000000001</c:v>
                </c:pt>
                <c:pt idx="1680">
                  <c:v>199.36769999999999</c:v>
                </c:pt>
                <c:pt idx="1681">
                  <c:v>199.2483</c:v>
                </c:pt>
                <c:pt idx="1682">
                  <c:v>197.34620000000001</c:v>
                </c:pt>
                <c:pt idx="1683">
                  <c:v>199.31030000000001</c:v>
                </c:pt>
                <c:pt idx="1684">
                  <c:v>201.42619999999999</c:v>
                </c:pt>
                <c:pt idx="1685">
                  <c:v>200.42320000000001</c:v>
                </c:pt>
                <c:pt idx="1686">
                  <c:v>200.44729999999998</c:v>
                </c:pt>
                <c:pt idx="1687">
                  <c:v>199.47459999999998</c:v>
                </c:pt>
                <c:pt idx="1688">
                  <c:v>199.2637</c:v>
                </c:pt>
                <c:pt idx="1689">
                  <c:v>200.51430000000005</c:v>
                </c:pt>
                <c:pt idx="1690">
                  <c:v>199.23380000000003</c:v>
                </c:pt>
                <c:pt idx="1691">
                  <c:v>199.9794</c:v>
                </c:pt>
                <c:pt idx="1692">
                  <c:v>200.0566</c:v>
                </c:pt>
                <c:pt idx="1693">
                  <c:v>200.02050000000003</c:v>
                </c:pt>
                <c:pt idx="1694">
                  <c:v>198.79449999999997</c:v>
                </c:pt>
                <c:pt idx="1695">
                  <c:v>198.12099999999998</c:v>
                </c:pt>
                <c:pt idx="1696">
                  <c:v>199.435</c:v>
                </c:pt>
                <c:pt idx="1697">
                  <c:v>199.14619999999999</c:v>
                </c:pt>
                <c:pt idx="1698">
                  <c:v>197.67150000000001</c:v>
                </c:pt>
                <c:pt idx="1699">
                  <c:v>200.14319999999998</c:v>
                </c:pt>
                <c:pt idx="1700">
                  <c:v>199.99030000000002</c:v>
                </c:pt>
                <c:pt idx="1701">
                  <c:v>198.18980000000002</c:v>
                </c:pt>
                <c:pt idx="1702">
                  <c:v>197.88489999999999</c:v>
                </c:pt>
                <c:pt idx="1703">
                  <c:v>197.273</c:v>
                </c:pt>
                <c:pt idx="1704">
                  <c:v>197.70509999999999</c:v>
                </c:pt>
                <c:pt idx="1705">
                  <c:v>196.6413</c:v>
                </c:pt>
                <c:pt idx="1706">
                  <c:v>198.86020000000002</c:v>
                </c:pt>
                <c:pt idx="1707">
                  <c:v>198.21430000000001</c:v>
                </c:pt>
                <c:pt idx="1708">
                  <c:v>198.47749999999999</c:v>
                </c:pt>
                <c:pt idx="1709">
                  <c:v>196.59019999999998</c:v>
                </c:pt>
                <c:pt idx="1710">
                  <c:v>196.03929999999997</c:v>
                </c:pt>
                <c:pt idx="1711">
                  <c:v>200.05220000000003</c:v>
                </c:pt>
                <c:pt idx="1712">
                  <c:v>196.95760000000001</c:v>
                </c:pt>
                <c:pt idx="1713">
                  <c:v>198.70589999999999</c:v>
                </c:pt>
                <c:pt idx="1714">
                  <c:v>198.08099999999999</c:v>
                </c:pt>
                <c:pt idx="1715">
                  <c:v>198.93139999999997</c:v>
                </c:pt>
                <c:pt idx="1716">
                  <c:v>199.0027</c:v>
                </c:pt>
                <c:pt idx="1717">
                  <c:v>202.25299999999999</c:v>
                </c:pt>
                <c:pt idx="1718">
                  <c:v>200.70139999999998</c:v>
                </c:pt>
                <c:pt idx="1719">
                  <c:v>200.73590000000002</c:v>
                </c:pt>
                <c:pt idx="1720">
                  <c:v>201.53249999999997</c:v>
                </c:pt>
                <c:pt idx="1721">
                  <c:v>200.09950000000001</c:v>
                </c:pt>
                <c:pt idx="1722">
                  <c:v>200.59560000000002</c:v>
                </c:pt>
                <c:pt idx="1723">
                  <c:v>200.5421</c:v>
                </c:pt>
                <c:pt idx="1724">
                  <c:v>199.7843</c:v>
                </c:pt>
                <c:pt idx="1725">
                  <c:v>201.01779999999997</c:v>
                </c:pt>
                <c:pt idx="1726">
                  <c:v>199.9631</c:v>
                </c:pt>
                <c:pt idx="1727">
                  <c:v>199.2388</c:v>
                </c:pt>
                <c:pt idx="1728">
                  <c:v>199.32390000000001</c:v>
                </c:pt>
                <c:pt idx="1729">
                  <c:v>198.04259999999999</c:v>
                </c:pt>
                <c:pt idx="1730">
                  <c:v>200.67880000000002</c:v>
                </c:pt>
                <c:pt idx="1731">
                  <c:v>200.18409999999997</c:v>
                </c:pt>
                <c:pt idx="1732">
                  <c:v>201.6788</c:v>
                </c:pt>
                <c:pt idx="1733">
                  <c:v>203.85339999999999</c:v>
                </c:pt>
                <c:pt idx="1734">
                  <c:v>203.39570000000001</c:v>
                </c:pt>
                <c:pt idx="1735">
                  <c:v>201.46810000000005</c:v>
                </c:pt>
                <c:pt idx="1736">
                  <c:v>201.6934</c:v>
                </c:pt>
                <c:pt idx="1737">
                  <c:v>200.12430000000001</c:v>
                </c:pt>
                <c:pt idx="1738">
                  <c:v>199.79930000000002</c:v>
                </c:pt>
                <c:pt idx="1739">
                  <c:v>199.56140000000002</c:v>
                </c:pt>
                <c:pt idx="1740">
                  <c:v>199.80680000000001</c:v>
                </c:pt>
                <c:pt idx="1741">
                  <c:v>199.1653</c:v>
                </c:pt>
                <c:pt idx="1742">
                  <c:v>197.83770000000001</c:v>
                </c:pt>
                <c:pt idx="1743">
                  <c:v>195.66500000000002</c:v>
                </c:pt>
                <c:pt idx="1744">
                  <c:v>195.3963</c:v>
                </c:pt>
                <c:pt idx="1745">
                  <c:v>193.9623</c:v>
                </c:pt>
                <c:pt idx="1746">
                  <c:v>194.9264</c:v>
                </c:pt>
                <c:pt idx="1747">
                  <c:v>194.19669999999999</c:v>
                </c:pt>
                <c:pt idx="1748">
                  <c:v>193.8383</c:v>
                </c:pt>
                <c:pt idx="1749">
                  <c:v>193.6618</c:v>
                </c:pt>
                <c:pt idx="1750">
                  <c:v>191.76500000000001</c:v>
                </c:pt>
                <c:pt idx="1751">
                  <c:v>190.52680000000001</c:v>
                </c:pt>
                <c:pt idx="1752">
                  <c:v>191.7953</c:v>
                </c:pt>
                <c:pt idx="1753">
                  <c:v>191.4194</c:v>
                </c:pt>
                <c:pt idx="1754">
                  <c:v>190.63800000000001</c:v>
                </c:pt>
                <c:pt idx="1755">
                  <c:v>189.6995</c:v>
                </c:pt>
                <c:pt idx="1756">
                  <c:v>188.96369999999999</c:v>
                </c:pt>
                <c:pt idx="1757">
                  <c:v>186.74180000000001</c:v>
                </c:pt>
                <c:pt idx="1758">
                  <c:v>186.0617</c:v>
                </c:pt>
                <c:pt idx="1759">
                  <c:v>187.53009999999998</c:v>
                </c:pt>
                <c:pt idx="1760">
                  <c:v>187.3056</c:v>
                </c:pt>
                <c:pt idx="1761">
                  <c:v>186.97319999999999</c:v>
                </c:pt>
                <c:pt idx="1762">
                  <c:v>187.161</c:v>
                </c:pt>
                <c:pt idx="1763">
                  <c:v>185.33339999999998</c:v>
                </c:pt>
                <c:pt idx="1764">
                  <c:v>185.1755</c:v>
                </c:pt>
                <c:pt idx="1765">
                  <c:v>185.54130000000001</c:v>
                </c:pt>
                <c:pt idx="1766">
                  <c:v>181.38559999999998</c:v>
                </c:pt>
                <c:pt idx="1767">
                  <c:v>181.59190000000001</c:v>
                </c:pt>
                <c:pt idx="1768">
                  <c:v>182.2063</c:v>
                </c:pt>
                <c:pt idx="1769">
                  <c:v>181.6919</c:v>
                </c:pt>
                <c:pt idx="1770">
                  <c:v>180.8441</c:v>
                </c:pt>
                <c:pt idx="1771">
                  <c:v>178.2149</c:v>
                </c:pt>
                <c:pt idx="1772">
                  <c:v>179.124</c:v>
                </c:pt>
                <c:pt idx="1773">
                  <c:v>179.90170000000001</c:v>
                </c:pt>
                <c:pt idx="1774">
                  <c:v>182.0018</c:v>
                </c:pt>
                <c:pt idx="1775">
                  <c:v>182.5821</c:v>
                </c:pt>
                <c:pt idx="1776">
                  <c:v>182.15129999999999</c:v>
                </c:pt>
                <c:pt idx="1777">
                  <c:v>184.8879</c:v>
                </c:pt>
                <c:pt idx="1778">
                  <c:v>184.42440000000002</c:v>
                </c:pt>
                <c:pt idx="1779">
                  <c:v>184.197</c:v>
                </c:pt>
                <c:pt idx="1780">
                  <c:v>184.42720000000003</c:v>
                </c:pt>
                <c:pt idx="1781">
                  <c:v>186.41140000000001</c:v>
                </c:pt>
                <c:pt idx="1782">
                  <c:v>186.5239</c:v>
                </c:pt>
                <c:pt idx="1783">
                  <c:v>185.8845</c:v>
                </c:pt>
                <c:pt idx="1784">
                  <c:v>184.43379999999999</c:v>
                </c:pt>
                <c:pt idx="1785">
                  <c:v>184.10389999999998</c:v>
                </c:pt>
                <c:pt idx="1786">
                  <c:v>183.2407</c:v>
                </c:pt>
                <c:pt idx="1787">
                  <c:v>181.9562</c:v>
                </c:pt>
                <c:pt idx="1788">
                  <c:v>184.45619999999997</c:v>
                </c:pt>
                <c:pt idx="1789">
                  <c:v>185.5925</c:v>
                </c:pt>
                <c:pt idx="1790">
                  <c:v>186.98669999999998</c:v>
                </c:pt>
                <c:pt idx="1791">
                  <c:v>187.04410000000001</c:v>
                </c:pt>
                <c:pt idx="1792">
                  <c:v>186.05350000000001</c:v>
                </c:pt>
                <c:pt idx="1793">
                  <c:v>186.09550000000002</c:v>
                </c:pt>
                <c:pt idx="1794">
                  <c:v>186.36490000000001</c:v>
                </c:pt>
                <c:pt idx="1795">
                  <c:v>185.64269999999999</c:v>
                </c:pt>
                <c:pt idx="1796">
                  <c:v>185.47669999999999</c:v>
                </c:pt>
                <c:pt idx="1797">
                  <c:v>186.59050000000002</c:v>
                </c:pt>
                <c:pt idx="1798">
                  <c:v>185.03810000000001</c:v>
                </c:pt>
                <c:pt idx="1799">
                  <c:v>183.8931</c:v>
                </c:pt>
                <c:pt idx="1800">
                  <c:v>182.70179999999999</c:v>
                </c:pt>
                <c:pt idx="1801">
                  <c:v>183.01300000000001</c:v>
                </c:pt>
                <c:pt idx="1802">
                  <c:v>180.9924</c:v>
                </c:pt>
                <c:pt idx="1803">
                  <c:v>182.7732</c:v>
                </c:pt>
                <c:pt idx="1804">
                  <c:v>185.59739999999999</c:v>
                </c:pt>
                <c:pt idx="1805">
                  <c:v>182.0009</c:v>
                </c:pt>
                <c:pt idx="1806">
                  <c:v>186.7534</c:v>
                </c:pt>
                <c:pt idx="1807">
                  <c:v>189.50219999999999</c:v>
                </c:pt>
                <c:pt idx="1808">
                  <c:v>190.8595</c:v>
                </c:pt>
                <c:pt idx="1809">
                  <c:v>191.8546</c:v>
                </c:pt>
                <c:pt idx="1810">
                  <c:v>193.126</c:v>
                </c:pt>
                <c:pt idx="1811">
                  <c:v>195.23250000000002</c:v>
                </c:pt>
                <c:pt idx="1812">
                  <c:v>195.18200000000002</c:v>
                </c:pt>
                <c:pt idx="1813">
                  <c:v>194.0515</c:v>
                </c:pt>
                <c:pt idx="1814">
                  <c:v>194.6249</c:v>
                </c:pt>
                <c:pt idx="1815">
                  <c:v>196.66079999999999</c:v>
                </c:pt>
                <c:pt idx="1816">
                  <c:v>196.2885</c:v>
                </c:pt>
                <c:pt idx="1817">
                  <c:v>196.61070000000001</c:v>
                </c:pt>
                <c:pt idx="1818">
                  <c:v>196.0247</c:v>
                </c:pt>
                <c:pt idx="1819">
                  <c:v>196.6301</c:v>
                </c:pt>
                <c:pt idx="1820">
                  <c:v>197.45189999999999</c:v>
                </c:pt>
                <c:pt idx="1821">
                  <c:v>197.654</c:v>
                </c:pt>
                <c:pt idx="1822">
                  <c:v>197.86019999999999</c:v>
                </c:pt>
                <c:pt idx="1823">
                  <c:v>197.3597</c:v>
                </c:pt>
                <c:pt idx="1824">
                  <c:v>197.06010000000001</c:v>
                </c:pt>
                <c:pt idx="1825">
                  <c:v>196.88490000000002</c:v>
                </c:pt>
                <c:pt idx="1826">
                  <c:v>196.13730000000001</c:v>
                </c:pt>
                <c:pt idx="1827">
                  <c:v>196.8038</c:v>
                </c:pt>
                <c:pt idx="1828">
                  <c:v>196.02100000000002</c:v>
                </c:pt>
                <c:pt idx="1829">
                  <c:v>195.3449</c:v>
                </c:pt>
                <c:pt idx="1830">
                  <c:v>194.74620000000002</c:v>
                </c:pt>
                <c:pt idx="1831">
                  <c:v>195.64010000000002</c:v>
                </c:pt>
                <c:pt idx="1832">
                  <c:v>194.18089999999998</c:v>
                </c:pt>
                <c:pt idx="1833">
                  <c:v>193.97379999999998</c:v>
                </c:pt>
                <c:pt idx="1834">
                  <c:v>193.1268</c:v>
                </c:pt>
                <c:pt idx="1835">
                  <c:v>193.25639999999999</c:v>
                </c:pt>
                <c:pt idx="1836">
                  <c:v>191.48749999999998</c:v>
                </c:pt>
                <c:pt idx="1837">
                  <c:v>191.86679999999998</c:v>
                </c:pt>
                <c:pt idx="1838">
                  <c:v>191.56390000000002</c:v>
                </c:pt>
                <c:pt idx="1839">
                  <c:v>190.27430000000001</c:v>
                </c:pt>
                <c:pt idx="1840">
                  <c:v>189.3305</c:v>
                </c:pt>
                <c:pt idx="1841">
                  <c:v>190.38910000000001</c:v>
                </c:pt>
                <c:pt idx="1842">
                  <c:v>190.48769999999999</c:v>
                </c:pt>
                <c:pt idx="1843">
                  <c:v>189.4922</c:v>
                </c:pt>
                <c:pt idx="1844">
                  <c:v>188.15550000000002</c:v>
                </c:pt>
                <c:pt idx="1845">
                  <c:v>186.37799999999999</c:v>
                </c:pt>
                <c:pt idx="1846">
                  <c:v>186.90899999999999</c:v>
                </c:pt>
                <c:pt idx="1847">
                  <c:v>186.59469999999999</c:v>
                </c:pt>
                <c:pt idx="1848">
                  <c:v>186.93949999999998</c:v>
                </c:pt>
                <c:pt idx="1849">
                  <c:v>186.0309</c:v>
                </c:pt>
                <c:pt idx="1850">
                  <c:v>186.72379999999998</c:v>
                </c:pt>
                <c:pt idx="1851">
                  <c:v>188.20160000000001</c:v>
                </c:pt>
                <c:pt idx="1852">
                  <c:v>189.50700000000001</c:v>
                </c:pt>
                <c:pt idx="1853">
                  <c:v>187.70690000000002</c:v>
                </c:pt>
                <c:pt idx="1854">
                  <c:v>188.35339999999999</c:v>
                </c:pt>
                <c:pt idx="1855">
                  <c:v>188.59539999999998</c:v>
                </c:pt>
                <c:pt idx="1856">
                  <c:v>188.50299999999999</c:v>
                </c:pt>
                <c:pt idx="1857">
                  <c:v>188.21119999999999</c:v>
                </c:pt>
                <c:pt idx="1858">
                  <c:v>187.6378</c:v>
                </c:pt>
                <c:pt idx="1859">
                  <c:v>187.34790000000001</c:v>
                </c:pt>
                <c:pt idx="1860">
                  <c:v>187.56149999999997</c:v>
                </c:pt>
                <c:pt idx="1861">
                  <c:v>186.7167</c:v>
                </c:pt>
                <c:pt idx="1862">
                  <c:v>187.84629999999999</c:v>
                </c:pt>
                <c:pt idx="1863">
                  <c:v>187.8015</c:v>
                </c:pt>
                <c:pt idx="1864">
                  <c:v>188.5369</c:v>
                </c:pt>
                <c:pt idx="1865">
                  <c:v>189.66050000000001</c:v>
                </c:pt>
                <c:pt idx="1866">
                  <c:v>190.80500000000001</c:v>
                </c:pt>
                <c:pt idx="1867">
                  <c:v>190.48080000000002</c:v>
                </c:pt>
                <c:pt idx="1868">
                  <c:v>191.67700000000002</c:v>
                </c:pt>
                <c:pt idx="1869">
                  <c:v>191.70189999999997</c:v>
                </c:pt>
                <c:pt idx="1870">
                  <c:v>191.4598</c:v>
                </c:pt>
                <c:pt idx="1871">
                  <c:v>189.9546</c:v>
                </c:pt>
                <c:pt idx="1872">
                  <c:v>189.8476</c:v>
                </c:pt>
                <c:pt idx="1873">
                  <c:v>189.7208</c:v>
                </c:pt>
                <c:pt idx="1874">
                  <c:v>189.96379999999999</c:v>
                </c:pt>
                <c:pt idx="1875">
                  <c:v>189.55759999999998</c:v>
                </c:pt>
                <c:pt idx="1876">
                  <c:v>188.57409999999999</c:v>
                </c:pt>
                <c:pt idx="1877">
                  <c:v>190.26800000000003</c:v>
                </c:pt>
                <c:pt idx="1878">
                  <c:v>190.24639999999999</c:v>
                </c:pt>
                <c:pt idx="1879">
                  <c:v>190.26800000000003</c:v>
                </c:pt>
                <c:pt idx="1880">
                  <c:v>190.2353</c:v>
                </c:pt>
                <c:pt idx="1881">
                  <c:v>190.8022</c:v>
                </c:pt>
                <c:pt idx="1882">
                  <c:v>190.0575</c:v>
                </c:pt>
                <c:pt idx="1883">
                  <c:v>190.434</c:v>
                </c:pt>
                <c:pt idx="1884">
                  <c:v>190.6386</c:v>
                </c:pt>
                <c:pt idx="1885">
                  <c:v>191.0497</c:v>
                </c:pt>
                <c:pt idx="1886">
                  <c:v>190.29859999999999</c:v>
                </c:pt>
                <c:pt idx="1887">
                  <c:v>190.35060000000001</c:v>
                </c:pt>
                <c:pt idx="1888">
                  <c:v>189.6576</c:v>
                </c:pt>
                <c:pt idx="1889">
                  <c:v>190.0693</c:v>
                </c:pt>
                <c:pt idx="1890">
                  <c:v>189.63</c:v>
                </c:pt>
                <c:pt idx="1891">
                  <c:v>188.60559999999998</c:v>
                </c:pt>
                <c:pt idx="1892">
                  <c:v>188.61249999999998</c:v>
                </c:pt>
                <c:pt idx="1893">
                  <c:v>187.89919999999998</c:v>
                </c:pt>
                <c:pt idx="1894">
                  <c:v>186.37779999999998</c:v>
                </c:pt>
                <c:pt idx="1895">
                  <c:v>185.0377</c:v>
                </c:pt>
                <c:pt idx="1896">
                  <c:v>184.62529999999998</c:v>
                </c:pt>
                <c:pt idx="1897">
                  <c:v>183.92680000000001</c:v>
                </c:pt>
                <c:pt idx="1898">
                  <c:v>184.35980000000001</c:v>
                </c:pt>
                <c:pt idx="1899">
                  <c:v>184.45089999999999</c:v>
                </c:pt>
                <c:pt idx="1900">
                  <c:v>183.3554</c:v>
                </c:pt>
                <c:pt idx="1901">
                  <c:v>183.66979999999998</c:v>
                </c:pt>
                <c:pt idx="1902">
                  <c:v>183.7355</c:v>
                </c:pt>
                <c:pt idx="1903">
                  <c:v>183.14770000000001</c:v>
                </c:pt>
                <c:pt idx="1904">
                  <c:v>182.26730000000001</c:v>
                </c:pt>
                <c:pt idx="1905">
                  <c:v>184.13210000000001</c:v>
                </c:pt>
                <c:pt idx="1906">
                  <c:v>185.96039999999999</c:v>
                </c:pt>
                <c:pt idx="1907">
                  <c:v>186.4999</c:v>
                </c:pt>
                <c:pt idx="1908">
                  <c:v>186.82330000000002</c:v>
                </c:pt>
                <c:pt idx="1909">
                  <c:v>185.96870000000001</c:v>
                </c:pt>
                <c:pt idx="1910">
                  <c:v>186.49029999999999</c:v>
                </c:pt>
                <c:pt idx="1911">
                  <c:v>185.42189999999999</c:v>
                </c:pt>
                <c:pt idx="1912">
                  <c:v>185.89530000000002</c:v>
                </c:pt>
                <c:pt idx="1913">
                  <c:v>186.63669999999999</c:v>
                </c:pt>
                <c:pt idx="1914">
                  <c:v>187.327</c:v>
                </c:pt>
                <c:pt idx="1915">
                  <c:v>187.19969999999998</c:v>
                </c:pt>
                <c:pt idx="1916">
                  <c:v>185.49969999999999</c:v>
                </c:pt>
                <c:pt idx="1917">
                  <c:v>184.78739999999999</c:v>
                </c:pt>
                <c:pt idx="1918">
                  <c:v>186.31350000000003</c:v>
                </c:pt>
                <c:pt idx="1919">
                  <c:v>186.48850000000002</c:v>
                </c:pt>
                <c:pt idx="1920">
                  <c:v>185.98339999999999</c:v>
                </c:pt>
                <c:pt idx="1921">
                  <c:v>185.97559999999999</c:v>
                </c:pt>
                <c:pt idx="1922">
                  <c:v>184.53650000000002</c:v>
                </c:pt>
                <c:pt idx="1923">
                  <c:v>184.59019999999998</c:v>
                </c:pt>
                <c:pt idx="1924">
                  <c:v>186.1386</c:v>
                </c:pt>
                <c:pt idx="1925">
                  <c:v>187.00130000000001</c:v>
                </c:pt>
                <c:pt idx="1926">
                  <c:v>185.7396</c:v>
                </c:pt>
                <c:pt idx="1927">
                  <c:v>185.12200000000001</c:v>
                </c:pt>
                <c:pt idx="1928">
                  <c:v>183.99700000000001</c:v>
                </c:pt>
                <c:pt idx="1929">
                  <c:v>185.85890000000001</c:v>
                </c:pt>
                <c:pt idx="1930">
                  <c:v>187.50230000000002</c:v>
                </c:pt>
                <c:pt idx="1931">
                  <c:v>188.50979999999998</c:v>
                </c:pt>
                <c:pt idx="1932">
                  <c:v>188.33349999999999</c:v>
                </c:pt>
                <c:pt idx="1933">
                  <c:v>187.89510000000001</c:v>
                </c:pt>
                <c:pt idx="1934">
                  <c:v>187.04060000000001</c:v>
                </c:pt>
                <c:pt idx="1935">
                  <c:v>185.4836</c:v>
                </c:pt>
                <c:pt idx="1936">
                  <c:v>185.75189999999998</c:v>
                </c:pt>
                <c:pt idx="1937">
                  <c:v>184.60579999999999</c:v>
                </c:pt>
                <c:pt idx="1938">
                  <c:v>184.4151</c:v>
                </c:pt>
                <c:pt idx="1939">
                  <c:v>186.14010000000002</c:v>
                </c:pt>
                <c:pt idx="1940">
                  <c:v>186.06159999999997</c:v>
                </c:pt>
                <c:pt idx="1941">
                  <c:v>185.55070000000001</c:v>
                </c:pt>
                <c:pt idx="1942">
                  <c:v>184.38500000000002</c:v>
                </c:pt>
                <c:pt idx="1943">
                  <c:v>186.0693</c:v>
                </c:pt>
                <c:pt idx="1944">
                  <c:v>186.774</c:v>
                </c:pt>
                <c:pt idx="1945">
                  <c:v>185.51479999999998</c:v>
                </c:pt>
                <c:pt idx="1946">
                  <c:v>184.54570000000001</c:v>
                </c:pt>
                <c:pt idx="1947">
                  <c:v>184.6592</c:v>
                </c:pt>
                <c:pt idx="1948">
                  <c:v>183.95959999999997</c:v>
                </c:pt>
                <c:pt idx="1949">
                  <c:v>184.66930000000002</c:v>
                </c:pt>
                <c:pt idx="1950">
                  <c:v>184.4914</c:v>
                </c:pt>
                <c:pt idx="1951">
                  <c:v>182.63069999999999</c:v>
                </c:pt>
                <c:pt idx="1952">
                  <c:v>183.68510000000001</c:v>
                </c:pt>
                <c:pt idx="1953">
                  <c:v>183.37180000000001</c:v>
                </c:pt>
                <c:pt idx="1954">
                  <c:v>183.05159999999998</c:v>
                </c:pt>
                <c:pt idx="1955">
                  <c:v>183.73439999999999</c:v>
                </c:pt>
                <c:pt idx="1956">
                  <c:v>183.27020000000002</c:v>
                </c:pt>
                <c:pt idx="1957">
                  <c:v>183.7294</c:v>
                </c:pt>
                <c:pt idx="1958">
                  <c:v>182.47460000000001</c:v>
                </c:pt>
                <c:pt idx="1959">
                  <c:v>183.22369999999998</c:v>
                </c:pt>
                <c:pt idx="1960">
                  <c:v>184.1062</c:v>
                </c:pt>
                <c:pt idx="1961">
                  <c:v>185.16140000000001</c:v>
                </c:pt>
                <c:pt idx="1962">
                  <c:v>185.6627</c:v>
                </c:pt>
                <c:pt idx="1963">
                  <c:v>185.21379999999999</c:v>
                </c:pt>
                <c:pt idx="1964">
                  <c:v>185.4631</c:v>
                </c:pt>
                <c:pt idx="1965">
                  <c:v>185.59819999999999</c:v>
                </c:pt>
                <c:pt idx="1966">
                  <c:v>186.26390000000001</c:v>
                </c:pt>
                <c:pt idx="1967">
                  <c:v>187.43539999999999</c:v>
                </c:pt>
                <c:pt idx="1968">
                  <c:v>186.13590000000002</c:v>
                </c:pt>
                <c:pt idx="1969">
                  <c:v>184.79220000000001</c:v>
                </c:pt>
                <c:pt idx="1970">
                  <c:v>186.53960000000001</c:v>
                </c:pt>
                <c:pt idx="1971">
                  <c:v>186.88400000000001</c:v>
                </c:pt>
                <c:pt idx="1972">
                  <c:v>186.82249999999999</c:v>
                </c:pt>
                <c:pt idx="1973">
                  <c:v>187.2739</c:v>
                </c:pt>
                <c:pt idx="1974">
                  <c:v>185.6806</c:v>
                </c:pt>
                <c:pt idx="1975">
                  <c:v>185.9</c:v>
                </c:pt>
                <c:pt idx="1976">
                  <c:v>186.762</c:v>
                </c:pt>
                <c:pt idx="1977">
                  <c:v>187.1472</c:v>
                </c:pt>
                <c:pt idx="1978">
                  <c:v>187.81719999999999</c:v>
                </c:pt>
                <c:pt idx="1979">
                  <c:v>187.75129999999999</c:v>
                </c:pt>
                <c:pt idx="1980">
                  <c:v>187.11590000000001</c:v>
                </c:pt>
                <c:pt idx="1981">
                  <c:v>187.27499999999998</c:v>
                </c:pt>
                <c:pt idx="1982">
                  <c:v>187.75550000000001</c:v>
                </c:pt>
                <c:pt idx="1983">
                  <c:v>187.0522</c:v>
                </c:pt>
                <c:pt idx="1984">
                  <c:v>186.91</c:v>
                </c:pt>
                <c:pt idx="1985">
                  <c:v>186.25200000000001</c:v>
                </c:pt>
                <c:pt idx="1986">
                  <c:v>186.4538</c:v>
                </c:pt>
                <c:pt idx="1987">
                  <c:v>185.75889999999998</c:v>
                </c:pt>
                <c:pt idx="1988">
                  <c:v>184.86180000000002</c:v>
                </c:pt>
                <c:pt idx="1989">
                  <c:v>185.94680000000002</c:v>
                </c:pt>
                <c:pt idx="1990">
                  <c:v>186.4864</c:v>
                </c:pt>
                <c:pt idx="1991">
                  <c:v>184.9503</c:v>
                </c:pt>
                <c:pt idx="1992">
                  <c:v>184.58440000000002</c:v>
                </c:pt>
                <c:pt idx="1993">
                  <c:v>183.65450000000001</c:v>
                </c:pt>
                <c:pt idx="1994">
                  <c:v>183.49060000000003</c:v>
                </c:pt>
                <c:pt idx="1995">
                  <c:v>182.50720000000001</c:v>
                </c:pt>
                <c:pt idx="1996">
                  <c:v>181.52079999999998</c:v>
                </c:pt>
                <c:pt idx="1997">
                  <c:v>181.39720000000003</c:v>
                </c:pt>
                <c:pt idx="1998">
                  <c:v>180.3623</c:v>
                </c:pt>
                <c:pt idx="1999">
                  <c:v>180.01599999999999</c:v>
                </c:pt>
                <c:pt idx="2000">
                  <c:v>180.54680000000002</c:v>
                </c:pt>
                <c:pt idx="2001">
                  <c:v>179.29480000000001</c:v>
                </c:pt>
                <c:pt idx="2002">
                  <c:v>179.9667</c:v>
                </c:pt>
                <c:pt idx="2003">
                  <c:v>180.9341</c:v>
                </c:pt>
                <c:pt idx="2004">
                  <c:v>180.49639999999999</c:v>
                </c:pt>
                <c:pt idx="2005">
                  <c:v>180.2867</c:v>
                </c:pt>
                <c:pt idx="2006">
                  <c:v>176.89660000000001</c:v>
                </c:pt>
                <c:pt idx="2007">
                  <c:v>177.00149999999999</c:v>
                </c:pt>
                <c:pt idx="2008">
                  <c:v>176.87810000000002</c:v>
                </c:pt>
                <c:pt idx="2009">
                  <c:v>177.3494</c:v>
                </c:pt>
                <c:pt idx="2010">
                  <c:v>181.29730000000001</c:v>
                </c:pt>
                <c:pt idx="2011">
                  <c:v>181.4734</c:v>
                </c:pt>
                <c:pt idx="2012">
                  <c:v>181.5917</c:v>
                </c:pt>
                <c:pt idx="2013">
                  <c:v>181.18890000000002</c:v>
                </c:pt>
                <c:pt idx="2014">
                  <c:v>181.11929999999998</c:v>
                </c:pt>
                <c:pt idx="2015">
                  <c:v>180.03270000000001</c:v>
                </c:pt>
                <c:pt idx="2016">
                  <c:v>180.25130000000001</c:v>
                </c:pt>
                <c:pt idx="2017">
                  <c:v>179.9699</c:v>
                </c:pt>
                <c:pt idx="2018">
                  <c:v>179.0985</c:v>
                </c:pt>
                <c:pt idx="2019">
                  <c:v>179.9563</c:v>
                </c:pt>
                <c:pt idx="2020">
                  <c:v>180.90389999999999</c:v>
                </c:pt>
                <c:pt idx="2021">
                  <c:v>180.82819999999998</c:v>
                </c:pt>
                <c:pt idx="2022">
                  <c:v>180.16970000000001</c:v>
                </c:pt>
                <c:pt idx="2023">
                  <c:v>179.06720000000001</c:v>
                </c:pt>
                <c:pt idx="2024">
                  <c:v>180.07230000000001</c:v>
                </c:pt>
                <c:pt idx="2025">
                  <c:v>180.167</c:v>
                </c:pt>
                <c:pt idx="2026">
                  <c:v>179.55840000000001</c:v>
                </c:pt>
                <c:pt idx="2027">
                  <c:v>180.8887</c:v>
                </c:pt>
                <c:pt idx="2028">
                  <c:v>182.1772</c:v>
                </c:pt>
                <c:pt idx="2029">
                  <c:v>181.9983</c:v>
                </c:pt>
                <c:pt idx="2030">
                  <c:v>181.68959999999998</c:v>
                </c:pt>
                <c:pt idx="2031">
                  <c:v>180.43210000000002</c:v>
                </c:pt>
                <c:pt idx="2032">
                  <c:v>180.18629999999999</c:v>
                </c:pt>
                <c:pt idx="2033">
                  <c:v>180.49240000000003</c:v>
                </c:pt>
                <c:pt idx="2034">
                  <c:v>179.9032</c:v>
                </c:pt>
                <c:pt idx="2035">
                  <c:v>179.22929999999999</c:v>
                </c:pt>
                <c:pt idx="2036">
                  <c:v>179.5814</c:v>
                </c:pt>
                <c:pt idx="2037">
                  <c:v>179.59040000000002</c:v>
                </c:pt>
                <c:pt idx="2038">
                  <c:v>179.79189999999997</c:v>
                </c:pt>
                <c:pt idx="2039">
                  <c:v>180.2687</c:v>
                </c:pt>
                <c:pt idx="2040">
                  <c:v>180.53050000000002</c:v>
                </c:pt>
                <c:pt idx="2041">
                  <c:v>180.53120000000001</c:v>
                </c:pt>
                <c:pt idx="2042">
                  <c:v>177.7747</c:v>
                </c:pt>
                <c:pt idx="2043">
                  <c:v>177.45320000000001</c:v>
                </c:pt>
                <c:pt idx="2044">
                  <c:v>177.13390000000001</c:v>
                </c:pt>
                <c:pt idx="2045">
                  <c:v>177.78280000000001</c:v>
                </c:pt>
                <c:pt idx="2046">
                  <c:v>177.95239999999998</c:v>
                </c:pt>
                <c:pt idx="2047">
                  <c:v>177.5735</c:v>
                </c:pt>
                <c:pt idx="2048">
                  <c:v>178.0188</c:v>
                </c:pt>
                <c:pt idx="2049">
                  <c:v>177.95959999999999</c:v>
                </c:pt>
                <c:pt idx="2050">
                  <c:v>177.53</c:v>
                </c:pt>
                <c:pt idx="2051">
                  <c:v>177.65470000000002</c:v>
                </c:pt>
                <c:pt idx="2052">
                  <c:v>176.89099999999999</c:v>
                </c:pt>
                <c:pt idx="2053">
                  <c:v>177.05100000000002</c:v>
                </c:pt>
                <c:pt idx="2054">
                  <c:v>176.56780000000001</c:v>
                </c:pt>
                <c:pt idx="2055">
                  <c:v>175.83619999999999</c:v>
                </c:pt>
                <c:pt idx="2056">
                  <c:v>174.9598</c:v>
                </c:pt>
                <c:pt idx="2057">
                  <c:v>174.84220000000002</c:v>
                </c:pt>
                <c:pt idx="2058">
                  <c:v>174.26309999999998</c:v>
                </c:pt>
                <c:pt idx="2059">
                  <c:v>174.62009999999998</c:v>
                </c:pt>
                <c:pt idx="2060">
                  <c:v>173.42340000000002</c:v>
                </c:pt>
                <c:pt idx="2061">
                  <c:v>172.73080000000002</c:v>
                </c:pt>
                <c:pt idx="2062">
                  <c:v>172.40020000000001</c:v>
                </c:pt>
                <c:pt idx="2063">
                  <c:v>172.6781</c:v>
                </c:pt>
                <c:pt idx="2064">
                  <c:v>174.15309999999999</c:v>
                </c:pt>
                <c:pt idx="2065">
                  <c:v>173.64280000000002</c:v>
                </c:pt>
                <c:pt idx="2066">
                  <c:v>173.6842</c:v>
                </c:pt>
                <c:pt idx="2067">
                  <c:v>173.3451</c:v>
                </c:pt>
                <c:pt idx="2068">
                  <c:v>173.38800000000001</c:v>
                </c:pt>
                <c:pt idx="2069">
                  <c:v>174.37990000000002</c:v>
                </c:pt>
                <c:pt idx="2070">
                  <c:v>174.6798</c:v>
                </c:pt>
                <c:pt idx="2071">
                  <c:v>175.52199999999999</c:v>
                </c:pt>
                <c:pt idx="2072">
                  <c:v>174.91400000000002</c:v>
                </c:pt>
                <c:pt idx="2073">
                  <c:v>177.1104</c:v>
                </c:pt>
                <c:pt idx="2074">
                  <c:v>177.40560000000002</c:v>
                </c:pt>
                <c:pt idx="2075">
                  <c:v>176.39160000000001</c:v>
                </c:pt>
                <c:pt idx="2076">
                  <c:v>176.51059999999998</c:v>
                </c:pt>
                <c:pt idx="2077">
                  <c:v>176.21980000000002</c:v>
                </c:pt>
                <c:pt idx="2078">
                  <c:v>175.43549999999999</c:v>
                </c:pt>
                <c:pt idx="2079">
                  <c:v>174.79990000000001</c:v>
                </c:pt>
                <c:pt idx="2080">
                  <c:v>174.42829999999998</c:v>
                </c:pt>
                <c:pt idx="2081">
                  <c:v>174.05420000000001</c:v>
                </c:pt>
                <c:pt idx="2082">
                  <c:v>173.79650000000001</c:v>
                </c:pt>
                <c:pt idx="2083">
                  <c:v>172.97830000000002</c:v>
                </c:pt>
                <c:pt idx="2084">
                  <c:v>172.4348</c:v>
                </c:pt>
                <c:pt idx="2085">
                  <c:v>172.0943</c:v>
                </c:pt>
                <c:pt idx="2086">
                  <c:v>171.1728</c:v>
                </c:pt>
                <c:pt idx="2087">
                  <c:v>171.05710000000002</c:v>
                </c:pt>
                <c:pt idx="2088">
                  <c:v>170.37109999999998</c:v>
                </c:pt>
                <c:pt idx="2089">
                  <c:v>170.4555</c:v>
                </c:pt>
                <c:pt idx="2090">
                  <c:v>169.93940000000001</c:v>
                </c:pt>
                <c:pt idx="2091">
                  <c:v>169.81969999999998</c:v>
                </c:pt>
                <c:pt idx="2092">
                  <c:v>169.5402</c:v>
                </c:pt>
                <c:pt idx="2093">
                  <c:v>168.3888</c:v>
                </c:pt>
                <c:pt idx="2094">
                  <c:v>168.81370000000001</c:v>
                </c:pt>
                <c:pt idx="2095">
                  <c:v>167.1679</c:v>
                </c:pt>
                <c:pt idx="2096">
                  <c:v>168.54590000000002</c:v>
                </c:pt>
                <c:pt idx="2097">
                  <c:v>167.99010000000001</c:v>
                </c:pt>
                <c:pt idx="2098">
                  <c:v>167.26949999999999</c:v>
                </c:pt>
                <c:pt idx="2099">
                  <c:v>164.57599999999999</c:v>
                </c:pt>
                <c:pt idx="2100">
                  <c:v>163.94230000000002</c:v>
                </c:pt>
                <c:pt idx="2101">
                  <c:v>163.5505</c:v>
                </c:pt>
                <c:pt idx="2102">
                  <c:v>164.0873</c:v>
                </c:pt>
                <c:pt idx="2103">
                  <c:v>164.72639999999998</c:v>
                </c:pt>
                <c:pt idx="2104">
                  <c:v>164.47660000000002</c:v>
                </c:pt>
                <c:pt idx="2105">
                  <c:v>164.98339999999999</c:v>
                </c:pt>
                <c:pt idx="2106">
                  <c:v>165.9256</c:v>
                </c:pt>
                <c:pt idx="2107">
                  <c:v>165.678</c:v>
                </c:pt>
                <c:pt idx="2108">
                  <c:v>165.34230000000002</c:v>
                </c:pt>
                <c:pt idx="2109">
                  <c:v>165.4648</c:v>
                </c:pt>
                <c:pt idx="2110">
                  <c:v>164.38489999999999</c:v>
                </c:pt>
                <c:pt idx="2111">
                  <c:v>164.56319999999999</c:v>
                </c:pt>
                <c:pt idx="2112">
                  <c:v>164.83859999999999</c:v>
                </c:pt>
                <c:pt idx="2113">
                  <c:v>163.6909</c:v>
                </c:pt>
                <c:pt idx="2114">
                  <c:v>164.69290000000001</c:v>
                </c:pt>
                <c:pt idx="2115">
                  <c:v>163.74699999999999</c:v>
                </c:pt>
                <c:pt idx="2116">
                  <c:v>163.23869999999999</c:v>
                </c:pt>
                <c:pt idx="2117">
                  <c:v>165.50409999999999</c:v>
                </c:pt>
                <c:pt idx="2118">
                  <c:v>166.63640000000001</c:v>
                </c:pt>
                <c:pt idx="2119">
                  <c:v>165.09690000000001</c:v>
                </c:pt>
                <c:pt idx="2120">
                  <c:v>164.42429999999999</c:v>
                </c:pt>
                <c:pt idx="2121">
                  <c:v>161.90190000000001</c:v>
                </c:pt>
                <c:pt idx="2122">
                  <c:v>164.31580000000002</c:v>
                </c:pt>
                <c:pt idx="2123">
                  <c:v>165.1558</c:v>
                </c:pt>
                <c:pt idx="2124">
                  <c:v>166.67359999999996</c:v>
                </c:pt>
                <c:pt idx="2125">
                  <c:v>167.4281</c:v>
                </c:pt>
                <c:pt idx="2126">
                  <c:v>168.41270000000003</c:v>
                </c:pt>
                <c:pt idx="2127">
                  <c:v>168.1337</c:v>
                </c:pt>
                <c:pt idx="2128">
                  <c:v>167.63650000000001</c:v>
                </c:pt>
                <c:pt idx="2129">
                  <c:v>169.03020000000001</c:v>
                </c:pt>
                <c:pt idx="2130">
                  <c:v>168.50209999999998</c:v>
                </c:pt>
                <c:pt idx="2131">
                  <c:v>169.2714</c:v>
                </c:pt>
                <c:pt idx="2132">
                  <c:v>169.41079999999999</c:v>
                </c:pt>
                <c:pt idx="2133">
                  <c:v>169.27589999999998</c:v>
                </c:pt>
                <c:pt idx="2134">
                  <c:v>168.78829999999999</c:v>
                </c:pt>
                <c:pt idx="2135">
                  <c:v>167.44400000000002</c:v>
                </c:pt>
                <c:pt idx="2136">
                  <c:v>169.03989999999999</c:v>
                </c:pt>
                <c:pt idx="2137">
                  <c:v>168.15299999999999</c:v>
                </c:pt>
                <c:pt idx="2138">
                  <c:v>169.18790000000001</c:v>
                </c:pt>
                <c:pt idx="2139">
                  <c:v>170.29820000000001</c:v>
                </c:pt>
                <c:pt idx="2140">
                  <c:v>170.68370000000002</c:v>
                </c:pt>
                <c:pt idx="2141">
                  <c:v>169.66559999999998</c:v>
                </c:pt>
                <c:pt idx="2142">
                  <c:v>168.94830000000002</c:v>
                </c:pt>
                <c:pt idx="2143">
                  <c:v>169.6438</c:v>
                </c:pt>
                <c:pt idx="2144">
                  <c:v>170.64440000000002</c:v>
                </c:pt>
                <c:pt idx="2145">
                  <c:v>168.67069999999998</c:v>
                </c:pt>
                <c:pt idx="2146">
                  <c:v>166.48770000000002</c:v>
                </c:pt>
                <c:pt idx="2147">
                  <c:v>166.8818</c:v>
                </c:pt>
                <c:pt idx="2148">
                  <c:v>165.36360000000002</c:v>
                </c:pt>
                <c:pt idx="2149">
                  <c:v>164.30769999999998</c:v>
                </c:pt>
                <c:pt idx="2150">
                  <c:v>164.63969999999998</c:v>
                </c:pt>
                <c:pt idx="2151">
                  <c:v>166.7465</c:v>
                </c:pt>
                <c:pt idx="2152">
                  <c:v>166.89230000000001</c:v>
                </c:pt>
                <c:pt idx="2153">
                  <c:v>165.26760000000002</c:v>
                </c:pt>
                <c:pt idx="2154">
                  <c:v>165.11160000000001</c:v>
                </c:pt>
                <c:pt idx="2155">
                  <c:v>164.75530000000001</c:v>
                </c:pt>
                <c:pt idx="2156">
                  <c:v>162.68340000000001</c:v>
                </c:pt>
                <c:pt idx="2157">
                  <c:v>162.86419999999998</c:v>
                </c:pt>
                <c:pt idx="2158">
                  <c:v>161.5532</c:v>
                </c:pt>
                <c:pt idx="2159">
                  <c:v>161.44729999999998</c:v>
                </c:pt>
                <c:pt idx="2160">
                  <c:v>162.2449</c:v>
                </c:pt>
                <c:pt idx="2161">
                  <c:v>164.01609999999999</c:v>
                </c:pt>
                <c:pt idx="2162">
                  <c:v>166.08450000000002</c:v>
                </c:pt>
                <c:pt idx="2163">
                  <c:v>165.56530000000001</c:v>
                </c:pt>
                <c:pt idx="2164">
                  <c:v>165.0608</c:v>
                </c:pt>
                <c:pt idx="2165">
                  <c:v>166.13440000000003</c:v>
                </c:pt>
                <c:pt idx="2166">
                  <c:v>166.38649999999998</c:v>
                </c:pt>
                <c:pt idx="2167">
                  <c:v>163.2518</c:v>
                </c:pt>
                <c:pt idx="2168">
                  <c:v>163.71009999999998</c:v>
                </c:pt>
                <c:pt idx="2169">
                  <c:v>164.64530000000002</c:v>
                </c:pt>
                <c:pt idx="2170">
                  <c:v>165.10579999999999</c:v>
                </c:pt>
                <c:pt idx="2171">
                  <c:v>164.6103</c:v>
                </c:pt>
                <c:pt idx="2172">
                  <c:v>165.14250000000001</c:v>
                </c:pt>
                <c:pt idx="2173">
                  <c:v>165.7037</c:v>
                </c:pt>
                <c:pt idx="2174">
                  <c:v>164.7826</c:v>
                </c:pt>
                <c:pt idx="2175">
                  <c:v>165.3664</c:v>
                </c:pt>
                <c:pt idx="2176">
                  <c:v>165.5599</c:v>
                </c:pt>
                <c:pt idx="2177">
                  <c:v>165.0198</c:v>
                </c:pt>
                <c:pt idx="2178">
                  <c:v>165.77369999999999</c:v>
                </c:pt>
                <c:pt idx="2179">
                  <c:v>166.88230000000001</c:v>
                </c:pt>
                <c:pt idx="2180">
                  <c:v>166.3561</c:v>
                </c:pt>
                <c:pt idx="2181">
                  <c:v>166.14779999999999</c:v>
                </c:pt>
                <c:pt idx="2182">
                  <c:v>164.32250000000002</c:v>
                </c:pt>
                <c:pt idx="2183">
                  <c:v>163.9905</c:v>
                </c:pt>
                <c:pt idx="2184">
                  <c:v>162.93610000000001</c:v>
                </c:pt>
                <c:pt idx="2185">
                  <c:v>162.4923</c:v>
                </c:pt>
                <c:pt idx="2186">
                  <c:v>161.09709999999998</c:v>
                </c:pt>
                <c:pt idx="2187">
                  <c:v>158.46589999999998</c:v>
                </c:pt>
                <c:pt idx="2188">
                  <c:v>158.7724</c:v>
                </c:pt>
                <c:pt idx="2189">
                  <c:v>159.8527</c:v>
                </c:pt>
                <c:pt idx="2190">
                  <c:v>160.65870000000001</c:v>
                </c:pt>
                <c:pt idx="2191">
                  <c:v>160.54</c:v>
                </c:pt>
                <c:pt idx="2192">
                  <c:v>161.04949999999999</c:v>
                </c:pt>
                <c:pt idx="2193">
                  <c:v>160.19459999999998</c:v>
                </c:pt>
                <c:pt idx="2194">
                  <c:v>159.95319999999998</c:v>
                </c:pt>
                <c:pt idx="2195">
                  <c:v>160.16379999999998</c:v>
                </c:pt>
                <c:pt idx="2196">
                  <c:v>159.6944</c:v>
                </c:pt>
                <c:pt idx="2197">
                  <c:v>160.17199999999997</c:v>
                </c:pt>
                <c:pt idx="2198">
                  <c:v>159.37690000000001</c:v>
                </c:pt>
                <c:pt idx="2199">
                  <c:v>159.2569</c:v>
                </c:pt>
                <c:pt idx="2200">
                  <c:v>158.53120000000001</c:v>
                </c:pt>
                <c:pt idx="2201">
                  <c:v>158.33599999999998</c:v>
                </c:pt>
                <c:pt idx="2202">
                  <c:v>158.56200000000001</c:v>
                </c:pt>
                <c:pt idx="2203">
                  <c:v>158.8279</c:v>
                </c:pt>
                <c:pt idx="2204">
                  <c:v>158.71189999999999</c:v>
                </c:pt>
                <c:pt idx="2205">
                  <c:v>156.03739999999999</c:v>
                </c:pt>
                <c:pt idx="2206">
                  <c:v>154.49690000000001</c:v>
                </c:pt>
                <c:pt idx="2207">
                  <c:v>152.72209999999998</c:v>
                </c:pt>
                <c:pt idx="2208">
                  <c:v>154.4212</c:v>
                </c:pt>
                <c:pt idx="2209">
                  <c:v>154.619</c:v>
                </c:pt>
                <c:pt idx="2210">
                  <c:v>156.22229999999999</c:v>
                </c:pt>
                <c:pt idx="2211">
                  <c:v>154.46469999999999</c:v>
                </c:pt>
                <c:pt idx="2212">
                  <c:v>151.17680000000001</c:v>
                </c:pt>
                <c:pt idx="2213">
                  <c:v>146.1053</c:v>
                </c:pt>
                <c:pt idx="2214">
                  <c:v>142.20750000000001</c:v>
                </c:pt>
                <c:pt idx="2215">
                  <c:v>147.0848</c:v>
                </c:pt>
                <c:pt idx="2216">
                  <c:v>152.93380000000002</c:v>
                </c:pt>
                <c:pt idx="2217">
                  <c:v>150.91649999999998</c:v>
                </c:pt>
                <c:pt idx="2218">
                  <c:v>150.13749999999999</c:v>
                </c:pt>
                <c:pt idx="2219">
                  <c:v>149.68349999999998</c:v>
                </c:pt>
                <c:pt idx="2220">
                  <c:v>145.30939999999998</c:v>
                </c:pt>
                <c:pt idx="2221">
                  <c:v>143.29140000000001</c:v>
                </c:pt>
                <c:pt idx="2222">
                  <c:v>144.0496</c:v>
                </c:pt>
                <c:pt idx="2223">
                  <c:v>143.09829999999999</c:v>
                </c:pt>
                <c:pt idx="2224">
                  <c:v>146.00479999999999</c:v>
                </c:pt>
                <c:pt idx="2225">
                  <c:v>147.80289999999999</c:v>
                </c:pt>
                <c:pt idx="2226">
                  <c:v>150.50050000000002</c:v>
                </c:pt>
                <c:pt idx="2227">
                  <c:v>151.75389999999999</c:v>
                </c:pt>
                <c:pt idx="2228">
                  <c:v>151.4221</c:v>
                </c:pt>
                <c:pt idx="2229">
                  <c:v>151.17829999999998</c:v>
                </c:pt>
                <c:pt idx="2230">
                  <c:v>149.75659999999999</c:v>
                </c:pt>
                <c:pt idx="2231">
                  <c:v>149.31610000000001</c:v>
                </c:pt>
                <c:pt idx="2232">
                  <c:v>149.28569999999999</c:v>
                </c:pt>
                <c:pt idx="2233">
                  <c:v>150.24329999999998</c:v>
                </c:pt>
                <c:pt idx="2234">
                  <c:v>151.0616</c:v>
                </c:pt>
                <c:pt idx="2235">
                  <c:v>150.9008</c:v>
                </c:pt>
                <c:pt idx="2236">
                  <c:v>150.86269999999999</c:v>
                </c:pt>
                <c:pt idx="2237">
                  <c:v>149.86070000000001</c:v>
                </c:pt>
                <c:pt idx="2238">
                  <c:v>148.11849999999998</c:v>
                </c:pt>
                <c:pt idx="2239">
                  <c:v>148.34059999999999</c:v>
                </c:pt>
                <c:pt idx="2240">
                  <c:v>146.0444</c:v>
                </c:pt>
                <c:pt idx="2241">
                  <c:v>148.11849999999998</c:v>
                </c:pt>
                <c:pt idx="2242">
                  <c:v>148.1233</c:v>
                </c:pt>
                <c:pt idx="2243">
                  <c:v>147.57900000000001</c:v>
                </c:pt>
                <c:pt idx="2244">
                  <c:v>147.25129999999999</c:v>
                </c:pt>
                <c:pt idx="2245">
                  <c:v>146.60339999999999</c:v>
                </c:pt>
                <c:pt idx="2246">
                  <c:v>147.67699999999999</c:v>
                </c:pt>
                <c:pt idx="2247">
                  <c:v>147.5539</c:v>
                </c:pt>
                <c:pt idx="2248">
                  <c:v>146.68099999999998</c:v>
                </c:pt>
                <c:pt idx="2249">
                  <c:v>146.83030000000002</c:v>
                </c:pt>
                <c:pt idx="2250">
                  <c:v>146.69060000000002</c:v>
                </c:pt>
                <c:pt idx="2251">
                  <c:v>146.44900000000001</c:v>
                </c:pt>
                <c:pt idx="2252">
                  <c:v>147.9873</c:v>
                </c:pt>
                <c:pt idx="2253">
                  <c:v>149.19639999999998</c:v>
                </c:pt>
                <c:pt idx="2254">
                  <c:v>151.1455</c:v>
                </c:pt>
                <c:pt idx="2255">
                  <c:v>150.971</c:v>
                </c:pt>
                <c:pt idx="2256">
                  <c:v>150.07939999999999</c:v>
                </c:pt>
                <c:pt idx="2257">
                  <c:v>149.6712</c:v>
                </c:pt>
                <c:pt idx="2258">
                  <c:v>150.50800000000001</c:v>
                </c:pt>
                <c:pt idx="2259">
                  <c:v>152.0376</c:v>
                </c:pt>
                <c:pt idx="2260">
                  <c:v>152.536</c:v>
                </c:pt>
                <c:pt idx="2261">
                  <c:v>152.47239999999999</c:v>
                </c:pt>
                <c:pt idx="2262">
                  <c:v>151.23310000000001</c:v>
                </c:pt>
                <c:pt idx="2263">
                  <c:v>151.0908</c:v>
                </c:pt>
                <c:pt idx="2264">
                  <c:v>151.6327</c:v>
                </c:pt>
                <c:pt idx="2265">
                  <c:v>151.58429999999998</c:v>
                </c:pt>
                <c:pt idx="2266">
                  <c:v>148.86670000000001</c:v>
                </c:pt>
                <c:pt idx="2267">
                  <c:v>148.01660000000001</c:v>
                </c:pt>
                <c:pt idx="2268">
                  <c:v>148.16449999999998</c:v>
                </c:pt>
                <c:pt idx="2269">
                  <c:v>146.66820000000001</c:v>
                </c:pt>
                <c:pt idx="2270">
                  <c:v>147.17699999999999</c:v>
                </c:pt>
                <c:pt idx="2271">
                  <c:v>145.58550000000002</c:v>
                </c:pt>
                <c:pt idx="2272">
                  <c:v>147.1866</c:v>
                </c:pt>
                <c:pt idx="2273">
                  <c:v>146.83160000000001</c:v>
                </c:pt>
                <c:pt idx="2274">
                  <c:v>147.51939999999999</c:v>
                </c:pt>
                <c:pt idx="2275">
                  <c:v>148.0633</c:v>
                </c:pt>
                <c:pt idx="2276">
                  <c:v>145.87289999999999</c:v>
                </c:pt>
                <c:pt idx="2277">
                  <c:v>145.7456</c:v>
                </c:pt>
                <c:pt idx="2278">
                  <c:v>147.7372</c:v>
                </c:pt>
                <c:pt idx="2279">
                  <c:v>147.67779999999999</c:v>
                </c:pt>
                <c:pt idx="2280">
                  <c:v>147.44820000000001</c:v>
                </c:pt>
                <c:pt idx="2281">
                  <c:v>147.62010000000001</c:v>
                </c:pt>
                <c:pt idx="2282">
                  <c:v>147.7312</c:v>
                </c:pt>
                <c:pt idx="2283">
                  <c:v>146.9222</c:v>
                </c:pt>
                <c:pt idx="2284">
                  <c:v>146.05289999999999</c:v>
                </c:pt>
                <c:pt idx="2285">
                  <c:v>146.8091</c:v>
                </c:pt>
                <c:pt idx="2286">
                  <c:v>146.00560000000002</c:v>
                </c:pt>
                <c:pt idx="2287">
                  <c:v>143.69389999999999</c:v>
                </c:pt>
                <c:pt idx="2288">
                  <c:v>145.98850000000002</c:v>
                </c:pt>
                <c:pt idx="2289">
                  <c:v>145.67869999999999</c:v>
                </c:pt>
                <c:pt idx="2290">
                  <c:v>147.0607</c:v>
                </c:pt>
                <c:pt idx="2291">
                  <c:v>147.51939999999999</c:v>
                </c:pt>
                <c:pt idx="2292">
                  <c:v>145.89750000000001</c:v>
                </c:pt>
                <c:pt idx="2293">
                  <c:v>145.8827</c:v>
                </c:pt>
                <c:pt idx="2294">
                  <c:v>146.04480000000001</c:v>
                </c:pt>
                <c:pt idx="2295">
                  <c:v>144.68950000000001</c:v>
                </c:pt>
                <c:pt idx="2296">
                  <c:v>144.6095</c:v>
                </c:pt>
                <c:pt idx="2297">
                  <c:v>142.73320000000001</c:v>
                </c:pt>
                <c:pt idx="2298">
                  <c:v>139.40449999999998</c:v>
                </c:pt>
                <c:pt idx="2299">
                  <c:v>141.4006</c:v>
                </c:pt>
                <c:pt idx="2300">
                  <c:v>142.92619999999999</c:v>
                </c:pt>
                <c:pt idx="2301">
                  <c:v>141.02170000000001</c:v>
                </c:pt>
                <c:pt idx="2302">
                  <c:v>141.465</c:v>
                </c:pt>
                <c:pt idx="2303">
                  <c:v>142.09899999999999</c:v>
                </c:pt>
                <c:pt idx="2304">
                  <c:v>138.22160000000002</c:v>
                </c:pt>
                <c:pt idx="2305">
                  <c:v>137.52450000000002</c:v>
                </c:pt>
                <c:pt idx="2306">
                  <c:v>134.8331</c:v>
                </c:pt>
                <c:pt idx="2307">
                  <c:v>131.25290000000001</c:v>
                </c:pt>
                <c:pt idx="2308">
                  <c:v>134.2491</c:v>
                </c:pt>
                <c:pt idx="2309">
                  <c:v>133.16229999999999</c:v>
                </c:pt>
                <c:pt idx="2310">
                  <c:v>134.59479999999999</c:v>
                </c:pt>
                <c:pt idx="2311">
                  <c:v>138.3895</c:v>
                </c:pt>
                <c:pt idx="2312">
                  <c:v>139.46350000000001</c:v>
                </c:pt>
                <c:pt idx="2313">
                  <c:v>138.07</c:v>
                </c:pt>
                <c:pt idx="2314">
                  <c:v>140.15880000000001</c:v>
                </c:pt>
                <c:pt idx="2315">
                  <c:v>143.07929999999999</c:v>
                </c:pt>
                <c:pt idx="2316">
                  <c:v>143.52510000000001</c:v>
                </c:pt>
                <c:pt idx="2317">
                  <c:v>140.18510000000001</c:v>
                </c:pt>
                <c:pt idx="2318">
                  <c:v>141.39340000000001</c:v>
                </c:pt>
                <c:pt idx="2319">
                  <c:v>139.74949999999998</c:v>
                </c:pt>
                <c:pt idx="2320">
                  <c:v>139.0711</c:v>
                </c:pt>
                <c:pt idx="2321">
                  <c:v>139.45439999999999</c:v>
                </c:pt>
                <c:pt idx="2322">
                  <c:v>136.56470000000002</c:v>
                </c:pt>
                <c:pt idx="2323">
                  <c:v>134.3271</c:v>
                </c:pt>
                <c:pt idx="2324">
                  <c:v>138.9761</c:v>
                </c:pt>
                <c:pt idx="2325">
                  <c:v>136.92850000000001</c:v>
                </c:pt>
                <c:pt idx="2326">
                  <c:v>137.72030000000001</c:v>
                </c:pt>
                <c:pt idx="2327">
                  <c:v>140.31270000000001</c:v>
                </c:pt>
                <c:pt idx="2328">
                  <c:v>141.5942</c:v>
                </c:pt>
                <c:pt idx="2329">
                  <c:v>140.95949999999999</c:v>
                </c:pt>
                <c:pt idx="2330">
                  <c:v>139.83620000000002</c:v>
                </c:pt>
                <c:pt idx="2331">
                  <c:v>140.7346</c:v>
                </c:pt>
                <c:pt idx="2332">
                  <c:v>141.62430000000001</c:v>
                </c:pt>
                <c:pt idx="2333">
                  <c:v>144.2928</c:v>
                </c:pt>
                <c:pt idx="2334">
                  <c:v>145.72919999999999</c:v>
                </c:pt>
                <c:pt idx="2335">
                  <c:v>144.78379999999999</c:v>
                </c:pt>
                <c:pt idx="2336">
                  <c:v>148.08750000000001</c:v>
                </c:pt>
                <c:pt idx="2337">
                  <c:v>148.7945</c:v>
                </c:pt>
                <c:pt idx="2338">
                  <c:v>149.6294</c:v>
                </c:pt>
                <c:pt idx="2339">
                  <c:v>148.25919999999999</c:v>
                </c:pt>
                <c:pt idx="2340">
                  <c:v>147.90969999999999</c:v>
                </c:pt>
                <c:pt idx="2341">
                  <c:v>144.6053</c:v>
                </c:pt>
                <c:pt idx="2342">
                  <c:v>143.54059999999998</c:v>
                </c:pt>
                <c:pt idx="2343">
                  <c:v>143.90770000000001</c:v>
                </c:pt>
                <c:pt idx="2344">
                  <c:v>144.9246</c:v>
                </c:pt>
                <c:pt idx="2345">
                  <c:v>143.95580000000001</c:v>
                </c:pt>
                <c:pt idx="2346">
                  <c:v>143.0052</c:v>
                </c:pt>
                <c:pt idx="2347">
                  <c:v>139.94629999999998</c:v>
                </c:pt>
                <c:pt idx="2348">
                  <c:v>141.60249999999999</c:v>
                </c:pt>
                <c:pt idx="2349">
                  <c:v>144.48990000000001</c:v>
                </c:pt>
                <c:pt idx="2350">
                  <c:v>145.29310000000001</c:v>
                </c:pt>
                <c:pt idx="2351">
                  <c:v>145.52549999999999</c:v>
                </c:pt>
                <c:pt idx="2352">
                  <c:v>147.4461</c:v>
                </c:pt>
                <c:pt idx="2353">
                  <c:v>147.7389</c:v>
                </c:pt>
                <c:pt idx="2354">
                  <c:v>148.48520000000002</c:v>
                </c:pt>
                <c:pt idx="2355">
                  <c:v>151.43700000000001</c:v>
                </c:pt>
                <c:pt idx="2356">
                  <c:v>150.89500000000001</c:v>
                </c:pt>
                <c:pt idx="2357">
                  <c:v>149.99039999999999</c:v>
                </c:pt>
                <c:pt idx="2358">
                  <c:v>150.10900000000001</c:v>
                </c:pt>
                <c:pt idx="2359">
                  <c:v>150.38770000000002</c:v>
                </c:pt>
                <c:pt idx="2360">
                  <c:v>149.1121</c:v>
                </c:pt>
                <c:pt idx="2361">
                  <c:v>147.73049999999998</c:v>
                </c:pt>
                <c:pt idx="2362">
                  <c:v>148.48869999999999</c:v>
                </c:pt>
                <c:pt idx="2363">
                  <c:v>149.1902</c:v>
                </c:pt>
                <c:pt idx="2364">
                  <c:v>149.01850000000002</c:v>
                </c:pt>
                <c:pt idx="2365">
                  <c:v>147.83459999999999</c:v>
                </c:pt>
                <c:pt idx="2366">
                  <c:v>147.63550000000001</c:v>
                </c:pt>
                <c:pt idx="2367">
                  <c:v>144.9599</c:v>
                </c:pt>
                <c:pt idx="2368">
                  <c:v>144.34179999999998</c:v>
                </c:pt>
                <c:pt idx="2369">
                  <c:v>145.64529999999999</c:v>
                </c:pt>
                <c:pt idx="2370">
                  <c:v>148.0009</c:v>
                </c:pt>
                <c:pt idx="2371">
                  <c:v>147.51009999999999</c:v>
                </c:pt>
                <c:pt idx="2372">
                  <c:v>148.0043</c:v>
                </c:pt>
                <c:pt idx="2373">
                  <c:v>149.18849999999998</c:v>
                </c:pt>
                <c:pt idx="2374">
                  <c:v>149.32300000000001</c:v>
                </c:pt>
                <c:pt idx="2375">
                  <c:v>150.22229999999999</c:v>
                </c:pt>
                <c:pt idx="2376">
                  <c:v>149.68049999999999</c:v>
                </c:pt>
                <c:pt idx="2377">
                  <c:v>149.23070000000001</c:v>
                </c:pt>
                <c:pt idx="2378">
                  <c:v>149.1276</c:v>
                </c:pt>
                <c:pt idx="2379">
                  <c:v>149.78059999999999</c:v>
                </c:pt>
                <c:pt idx="2380">
                  <c:v>150.58009999999999</c:v>
                </c:pt>
                <c:pt idx="2381">
                  <c:v>149.06730000000002</c:v>
                </c:pt>
                <c:pt idx="2382">
                  <c:v>150.26440000000002</c:v>
                </c:pt>
                <c:pt idx="2383">
                  <c:v>150.85820000000001</c:v>
                </c:pt>
                <c:pt idx="2384">
                  <c:v>149.26319999999998</c:v>
                </c:pt>
                <c:pt idx="2385">
                  <c:v>148.54940000000002</c:v>
                </c:pt>
                <c:pt idx="2386">
                  <c:v>148.422</c:v>
                </c:pt>
                <c:pt idx="2387">
                  <c:v>148.46690000000001</c:v>
                </c:pt>
                <c:pt idx="2388">
                  <c:v>148.9212</c:v>
                </c:pt>
                <c:pt idx="2389">
                  <c:v>148.27719999999999</c:v>
                </c:pt>
                <c:pt idx="2390">
                  <c:v>146.75739999999999</c:v>
                </c:pt>
                <c:pt idx="2391">
                  <c:v>148.26159999999999</c:v>
                </c:pt>
                <c:pt idx="2392">
                  <c:v>148.9513</c:v>
                </c:pt>
                <c:pt idx="2393">
                  <c:v>149.9316</c:v>
                </c:pt>
                <c:pt idx="2394">
                  <c:v>149.0154</c:v>
                </c:pt>
                <c:pt idx="2395">
                  <c:v>148.27119999999999</c:v>
                </c:pt>
                <c:pt idx="2396">
                  <c:v>148.21009999999998</c:v>
                </c:pt>
                <c:pt idx="2397">
                  <c:v>147.6454</c:v>
                </c:pt>
                <c:pt idx="2398">
                  <c:v>143.97460000000001</c:v>
                </c:pt>
                <c:pt idx="2399">
                  <c:v>142.84180000000001</c:v>
                </c:pt>
                <c:pt idx="2400">
                  <c:v>142.4453</c:v>
                </c:pt>
                <c:pt idx="2401">
                  <c:v>139.22309999999999</c:v>
                </c:pt>
                <c:pt idx="2402">
                  <c:v>140.4255</c:v>
                </c:pt>
                <c:pt idx="2403">
                  <c:v>143.53450000000001</c:v>
                </c:pt>
                <c:pt idx="2404">
                  <c:v>140.32730000000001</c:v>
                </c:pt>
                <c:pt idx="2405">
                  <c:v>141.88049999999998</c:v>
                </c:pt>
                <c:pt idx="2406">
                  <c:v>139.87609999999998</c:v>
                </c:pt>
                <c:pt idx="2407">
                  <c:v>143.6848</c:v>
                </c:pt>
                <c:pt idx="2408">
                  <c:v>143.69200000000001</c:v>
                </c:pt>
                <c:pt idx="2409">
                  <c:v>145.39330000000001</c:v>
                </c:pt>
                <c:pt idx="2410">
                  <c:v>146.18820000000002</c:v>
                </c:pt>
                <c:pt idx="2411">
                  <c:v>144.3262</c:v>
                </c:pt>
                <c:pt idx="2412">
                  <c:v>143.28670000000002</c:v>
                </c:pt>
                <c:pt idx="2413">
                  <c:v>143.98169999999999</c:v>
                </c:pt>
                <c:pt idx="2414">
                  <c:v>144.76240000000001</c:v>
                </c:pt>
                <c:pt idx="2415">
                  <c:v>146.2587</c:v>
                </c:pt>
                <c:pt idx="2416">
                  <c:v>144.45859999999999</c:v>
                </c:pt>
                <c:pt idx="2417">
                  <c:v>142.87090000000001</c:v>
                </c:pt>
                <c:pt idx="2418">
                  <c:v>142.2353</c:v>
                </c:pt>
                <c:pt idx="2419">
                  <c:v>145.4973</c:v>
                </c:pt>
                <c:pt idx="2420">
                  <c:v>143.06550000000001</c:v>
                </c:pt>
                <c:pt idx="2421">
                  <c:v>142.51830000000001</c:v>
                </c:pt>
                <c:pt idx="2422">
                  <c:v>146.47719999999998</c:v>
                </c:pt>
                <c:pt idx="2423">
                  <c:v>145.1292</c:v>
                </c:pt>
                <c:pt idx="2424">
                  <c:v>140.57119999999998</c:v>
                </c:pt>
                <c:pt idx="2425">
                  <c:v>142.65630000000002</c:v>
                </c:pt>
                <c:pt idx="2426">
                  <c:v>138.38250000000002</c:v>
                </c:pt>
                <c:pt idx="2427">
                  <c:v>144.9452</c:v>
                </c:pt>
                <c:pt idx="2428">
                  <c:v>148.89760000000001</c:v>
                </c:pt>
                <c:pt idx="2429">
                  <c:v>149.71039999999999</c:v>
                </c:pt>
                <c:pt idx="2430">
                  <c:v>152.35379999999998</c:v>
                </c:pt>
                <c:pt idx="2431">
                  <c:v>152.79429999999999</c:v>
                </c:pt>
                <c:pt idx="2432">
                  <c:v>152.81600000000003</c:v>
                </c:pt>
                <c:pt idx="2433">
                  <c:v>153.1027</c:v>
                </c:pt>
                <c:pt idx="2434">
                  <c:v>152.21869999999998</c:v>
                </c:pt>
                <c:pt idx="2435">
                  <c:v>154.32210000000001</c:v>
                </c:pt>
                <c:pt idx="2436">
                  <c:v>155.80089999999998</c:v>
                </c:pt>
                <c:pt idx="2437">
                  <c:v>155.30599999999998</c:v>
                </c:pt>
                <c:pt idx="2438">
                  <c:v>155.96879999999999</c:v>
                </c:pt>
                <c:pt idx="2439">
                  <c:v>155.90820000000002</c:v>
                </c:pt>
                <c:pt idx="2440">
                  <c:v>154.6181</c:v>
                </c:pt>
                <c:pt idx="2441">
                  <c:v>154.55000000000001</c:v>
                </c:pt>
                <c:pt idx="2442">
                  <c:v>154.7045</c:v>
                </c:pt>
                <c:pt idx="2443">
                  <c:v>153.96290000000002</c:v>
                </c:pt>
                <c:pt idx="2444">
                  <c:v>153.24379999999999</c:v>
                </c:pt>
                <c:pt idx="2445">
                  <c:v>151.6172</c:v>
                </c:pt>
                <c:pt idx="2446">
                  <c:v>150.53469999999999</c:v>
                </c:pt>
                <c:pt idx="2447">
                  <c:v>152.28929999999997</c:v>
                </c:pt>
                <c:pt idx="2448">
                  <c:v>153.87700000000001</c:v>
                </c:pt>
                <c:pt idx="2449">
                  <c:v>154.08870000000002</c:v>
                </c:pt>
                <c:pt idx="2450">
                  <c:v>156.13869999999997</c:v>
                </c:pt>
                <c:pt idx="2451">
                  <c:v>156.54219999999998</c:v>
                </c:pt>
                <c:pt idx="2452">
                  <c:v>156.25050000000002</c:v>
                </c:pt>
                <c:pt idx="2453">
                  <c:v>156.6497</c:v>
                </c:pt>
                <c:pt idx="2454">
                  <c:v>155.64619999999999</c:v>
                </c:pt>
                <c:pt idx="2455">
                  <c:v>155.64840000000001</c:v>
                </c:pt>
                <c:pt idx="2456">
                  <c:v>155.44899999999998</c:v>
                </c:pt>
                <c:pt idx="2457">
                  <c:v>153.9143</c:v>
                </c:pt>
                <c:pt idx="2458">
                  <c:v>151.9093</c:v>
                </c:pt>
                <c:pt idx="2459">
                  <c:v>149.9178</c:v>
                </c:pt>
                <c:pt idx="2460">
                  <c:v>148.99250000000001</c:v>
                </c:pt>
                <c:pt idx="2461">
                  <c:v>151.2825</c:v>
                </c:pt>
                <c:pt idx="2462">
                  <c:v>152.48840000000001</c:v>
                </c:pt>
                <c:pt idx="2463">
                  <c:v>153.42090000000002</c:v>
                </c:pt>
                <c:pt idx="2464">
                  <c:v>152.99879999999999</c:v>
                </c:pt>
                <c:pt idx="2465">
                  <c:v>151.08790000000002</c:v>
                </c:pt>
                <c:pt idx="2466">
                  <c:v>152.93489999999997</c:v>
                </c:pt>
                <c:pt idx="2467">
                  <c:v>155.88039999999998</c:v>
                </c:pt>
                <c:pt idx="2468">
                  <c:v>157.05629999999999</c:v>
                </c:pt>
                <c:pt idx="2469">
                  <c:v>157.68270000000001</c:v>
                </c:pt>
                <c:pt idx="2470">
                  <c:v>157.59340000000003</c:v>
                </c:pt>
                <c:pt idx="2471">
                  <c:v>157.28459999999998</c:v>
                </c:pt>
                <c:pt idx="2472">
                  <c:v>154.82599999999999</c:v>
                </c:pt>
                <c:pt idx="2473">
                  <c:v>154.76130000000001</c:v>
                </c:pt>
                <c:pt idx="2474">
                  <c:v>154.27550000000002</c:v>
                </c:pt>
                <c:pt idx="2475">
                  <c:v>154.83430000000001</c:v>
                </c:pt>
                <c:pt idx="2476">
                  <c:v>154.8372</c:v>
                </c:pt>
                <c:pt idx="2477">
                  <c:v>156.57550000000001</c:v>
                </c:pt>
                <c:pt idx="2478">
                  <c:v>157.94380000000001</c:v>
                </c:pt>
                <c:pt idx="2479">
                  <c:v>157.3734</c:v>
                </c:pt>
                <c:pt idx="2480">
                  <c:v>155.68599999999998</c:v>
                </c:pt>
                <c:pt idx="2481">
                  <c:v>156.4308</c:v>
                </c:pt>
                <c:pt idx="2482">
                  <c:v>156.7861</c:v>
                </c:pt>
                <c:pt idx="2483">
                  <c:v>158.02359999999999</c:v>
                </c:pt>
                <c:pt idx="2484">
                  <c:v>159.86259999999999</c:v>
                </c:pt>
                <c:pt idx="2485">
                  <c:v>159.38470000000001</c:v>
                </c:pt>
                <c:pt idx="2486">
                  <c:v>159.84270000000001</c:v>
                </c:pt>
                <c:pt idx="2487">
                  <c:v>160.29650000000001</c:v>
                </c:pt>
                <c:pt idx="2488">
                  <c:v>161.45960000000002</c:v>
                </c:pt>
                <c:pt idx="2489">
                  <c:v>161.23539999999997</c:v>
                </c:pt>
                <c:pt idx="2490">
                  <c:v>159.47030000000001</c:v>
                </c:pt>
                <c:pt idx="2491">
                  <c:v>161.1387</c:v>
                </c:pt>
                <c:pt idx="2492">
                  <c:v>160.7269</c:v>
                </c:pt>
                <c:pt idx="2493">
                  <c:v>160.4667</c:v>
                </c:pt>
                <c:pt idx="2494">
                  <c:v>160.2867</c:v>
                </c:pt>
                <c:pt idx="2495">
                  <c:v>159.56269999999998</c:v>
                </c:pt>
                <c:pt idx="2496">
                  <c:v>159.3784</c:v>
                </c:pt>
                <c:pt idx="2497">
                  <c:v>159.48509999999999</c:v>
                </c:pt>
                <c:pt idx="2498">
                  <c:v>158.69740000000002</c:v>
                </c:pt>
                <c:pt idx="2499">
                  <c:v>158.13999999999999</c:v>
                </c:pt>
                <c:pt idx="2500">
                  <c:v>160.20400000000001</c:v>
                </c:pt>
                <c:pt idx="2501">
                  <c:v>160.58170000000001</c:v>
                </c:pt>
                <c:pt idx="2502">
                  <c:v>156.86860000000001</c:v>
                </c:pt>
                <c:pt idx="2503">
                  <c:v>157.57679999999999</c:v>
                </c:pt>
                <c:pt idx="2504">
                  <c:v>157.5078</c:v>
                </c:pt>
                <c:pt idx="2505">
                  <c:v>158.5967</c:v>
                </c:pt>
                <c:pt idx="2506">
                  <c:v>158.14709999999999</c:v>
                </c:pt>
                <c:pt idx="2507">
                  <c:v>157.77079999999998</c:v>
                </c:pt>
                <c:pt idx="2508">
                  <c:v>159.59520000000001</c:v>
                </c:pt>
                <c:pt idx="2509">
                  <c:v>161.15699999999998</c:v>
                </c:pt>
                <c:pt idx="2510">
                  <c:v>160.44039999999998</c:v>
                </c:pt>
                <c:pt idx="2511">
                  <c:v>160.0538</c:v>
                </c:pt>
                <c:pt idx="2512">
                  <c:v>159.3708</c:v>
                </c:pt>
                <c:pt idx="2513">
                  <c:v>160.12840000000003</c:v>
                </c:pt>
                <c:pt idx="2514">
                  <c:v>159.76259999999999</c:v>
                </c:pt>
                <c:pt idx="2515">
                  <c:v>158.65740000000002</c:v>
                </c:pt>
                <c:pt idx="2516">
                  <c:v>160.1258</c:v>
                </c:pt>
                <c:pt idx="2517">
                  <c:v>160.89410000000001</c:v>
                </c:pt>
                <c:pt idx="2518">
                  <c:v>160.46600000000001</c:v>
                </c:pt>
                <c:pt idx="2519">
                  <c:v>160.21809999999999</c:v>
                </c:pt>
                <c:pt idx="2520">
                  <c:v>160.74760000000001</c:v>
                </c:pt>
                <c:pt idx="2521">
                  <c:v>159.14340000000001</c:v>
                </c:pt>
                <c:pt idx="2522">
                  <c:v>157.41499999999999</c:v>
                </c:pt>
                <c:pt idx="2523">
                  <c:v>157.72979999999998</c:v>
                </c:pt>
                <c:pt idx="2524">
                  <c:v>154.98570000000001</c:v>
                </c:pt>
                <c:pt idx="2525">
                  <c:v>154.25819999999999</c:v>
                </c:pt>
                <c:pt idx="2526">
                  <c:v>153.55110000000002</c:v>
                </c:pt>
                <c:pt idx="2527">
                  <c:v>155.89189999999999</c:v>
                </c:pt>
                <c:pt idx="2528">
                  <c:v>155.14540000000002</c:v>
                </c:pt>
                <c:pt idx="2529">
                  <c:v>156.0256</c:v>
                </c:pt>
                <c:pt idx="2530">
                  <c:v>158.0643</c:v>
                </c:pt>
                <c:pt idx="2531">
                  <c:v>158.70389999999998</c:v>
                </c:pt>
                <c:pt idx="2532">
                  <c:v>158.98490000000001</c:v>
                </c:pt>
                <c:pt idx="2533">
                  <c:v>158.67710000000002</c:v>
                </c:pt>
                <c:pt idx="2534">
                  <c:v>157.4134</c:v>
                </c:pt>
                <c:pt idx="2535">
                  <c:v>156.7758</c:v>
                </c:pt>
                <c:pt idx="2536">
                  <c:v>154.55890000000002</c:v>
                </c:pt>
                <c:pt idx="2537">
                  <c:v>153.93509999999998</c:v>
                </c:pt>
                <c:pt idx="2538">
                  <c:v>152.62809999999999</c:v>
                </c:pt>
                <c:pt idx="2539">
                  <c:v>152.92270000000002</c:v>
                </c:pt>
                <c:pt idx="2540">
                  <c:v>151.8724</c:v>
                </c:pt>
                <c:pt idx="2541">
                  <c:v>151.49090000000001</c:v>
                </c:pt>
                <c:pt idx="2542">
                  <c:v>155.01400000000001</c:v>
                </c:pt>
                <c:pt idx="2543">
                  <c:v>155.80250000000001</c:v>
                </c:pt>
                <c:pt idx="2544">
                  <c:v>156.7655</c:v>
                </c:pt>
                <c:pt idx="2545">
                  <c:v>155.45309999999998</c:v>
                </c:pt>
                <c:pt idx="2546">
                  <c:v>154.91709999999998</c:v>
                </c:pt>
                <c:pt idx="2547">
                  <c:v>155.99609999999998</c:v>
                </c:pt>
                <c:pt idx="2548">
                  <c:v>156.16040000000001</c:v>
                </c:pt>
                <c:pt idx="2549">
                  <c:v>156.17290000000003</c:v>
                </c:pt>
                <c:pt idx="2550">
                  <c:v>155.77680000000001</c:v>
                </c:pt>
                <c:pt idx="2551">
                  <c:v>156.03820000000002</c:v>
                </c:pt>
                <c:pt idx="2552">
                  <c:v>155.29899999999998</c:v>
                </c:pt>
                <c:pt idx="2553">
                  <c:v>155.28230000000002</c:v>
                </c:pt>
                <c:pt idx="2554">
                  <c:v>154.69149999999999</c:v>
                </c:pt>
                <c:pt idx="2555">
                  <c:v>154.58959999999999</c:v>
                </c:pt>
                <c:pt idx="2556">
                  <c:v>154.42049999999998</c:v>
                </c:pt>
                <c:pt idx="2557">
                  <c:v>153.64770000000001</c:v>
                </c:pt>
                <c:pt idx="2558">
                  <c:v>153.91499999999999</c:v>
                </c:pt>
                <c:pt idx="2559">
                  <c:v>153.00360000000001</c:v>
                </c:pt>
                <c:pt idx="2560">
                  <c:v>152.32900000000001</c:v>
                </c:pt>
                <c:pt idx="2561">
                  <c:v>152.55239999999998</c:v>
                </c:pt>
                <c:pt idx="2562">
                  <c:v>152.58279999999999</c:v>
                </c:pt>
                <c:pt idx="2563">
                  <c:v>153.0488</c:v>
                </c:pt>
                <c:pt idx="2564">
                  <c:v>153.2816</c:v>
                </c:pt>
                <c:pt idx="2565">
                  <c:v>152.96949999999998</c:v>
                </c:pt>
                <c:pt idx="2566">
                  <c:v>153.17570000000001</c:v>
                </c:pt>
                <c:pt idx="2567">
                  <c:v>151.22839999999999</c:v>
                </c:pt>
                <c:pt idx="2568">
                  <c:v>150.54329999999999</c:v>
                </c:pt>
                <c:pt idx="2569">
                  <c:v>151.72590000000002</c:v>
                </c:pt>
                <c:pt idx="2570">
                  <c:v>152.11130000000003</c:v>
                </c:pt>
                <c:pt idx="2571">
                  <c:v>151.7406</c:v>
                </c:pt>
                <c:pt idx="2572">
                  <c:v>152.66250000000002</c:v>
                </c:pt>
                <c:pt idx="2573">
                  <c:v>152.30629999999999</c:v>
                </c:pt>
                <c:pt idx="2574">
                  <c:v>151.49870000000001</c:v>
                </c:pt>
                <c:pt idx="2575">
                  <c:v>150.01679999999999</c:v>
                </c:pt>
                <c:pt idx="2576">
                  <c:v>147.86689999999999</c:v>
                </c:pt>
                <c:pt idx="2577">
                  <c:v>147.13309999999998</c:v>
                </c:pt>
                <c:pt idx="2578">
                  <c:v>146.2713</c:v>
                </c:pt>
                <c:pt idx="2579">
                  <c:v>145.33019999999999</c:v>
                </c:pt>
                <c:pt idx="2580">
                  <c:v>143.18450000000001</c:v>
                </c:pt>
                <c:pt idx="2581">
                  <c:v>146.32149999999999</c:v>
                </c:pt>
                <c:pt idx="2582">
                  <c:v>145.36789999999999</c:v>
                </c:pt>
                <c:pt idx="2583">
                  <c:v>145.4675</c:v>
                </c:pt>
                <c:pt idx="2584">
                  <c:v>146.83770000000001</c:v>
                </c:pt>
                <c:pt idx="2585">
                  <c:v>143.71890000000002</c:v>
                </c:pt>
                <c:pt idx="2586">
                  <c:v>142.6371</c:v>
                </c:pt>
                <c:pt idx="2587">
                  <c:v>143.78579999999999</c:v>
                </c:pt>
                <c:pt idx="2588">
                  <c:v>146.34810000000002</c:v>
                </c:pt>
                <c:pt idx="2589">
                  <c:v>146.69639999999998</c:v>
                </c:pt>
                <c:pt idx="2590">
                  <c:v>146.21800000000002</c:v>
                </c:pt>
                <c:pt idx="2591">
                  <c:v>147.86569999999998</c:v>
                </c:pt>
                <c:pt idx="2592">
                  <c:v>147.47059999999999</c:v>
                </c:pt>
                <c:pt idx="2593">
                  <c:v>147.24019999999999</c:v>
                </c:pt>
                <c:pt idx="2594">
                  <c:v>146.691</c:v>
                </c:pt>
                <c:pt idx="2595">
                  <c:v>145.959</c:v>
                </c:pt>
                <c:pt idx="2596">
                  <c:v>144.26600000000002</c:v>
                </c:pt>
                <c:pt idx="2597">
                  <c:v>141.428</c:v>
                </c:pt>
                <c:pt idx="2598">
                  <c:v>141.31100000000001</c:v>
                </c:pt>
                <c:pt idx="2599">
                  <c:v>138.31560000000002</c:v>
                </c:pt>
                <c:pt idx="2600">
                  <c:v>140.6995</c:v>
                </c:pt>
                <c:pt idx="2601">
                  <c:v>144.0789</c:v>
                </c:pt>
                <c:pt idx="2602">
                  <c:v>144.8768</c:v>
                </c:pt>
                <c:pt idx="2603">
                  <c:v>145.369</c:v>
                </c:pt>
                <c:pt idx="2604">
                  <c:v>148.3329</c:v>
                </c:pt>
                <c:pt idx="2605">
                  <c:v>149.7003</c:v>
                </c:pt>
                <c:pt idx="2606">
                  <c:v>148.29840000000002</c:v>
                </c:pt>
                <c:pt idx="2607">
                  <c:v>148.88990000000001</c:v>
                </c:pt>
                <c:pt idx="2608">
                  <c:v>149.4068</c:v>
                </c:pt>
                <c:pt idx="2609">
                  <c:v>147.65639999999999</c:v>
                </c:pt>
                <c:pt idx="2610">
                  <c:v>149.08279999999999</c:v>
                </c:pt>
                <c:pt idx="2611">
                  <c:v>149.13669999999999</c:v>
                </c:pt>
                <c:pt idx="2612">
                  <c:v>149.06309999999999</c:v>
                </c:pt>
                <c:pt idx="2613">
                  <c:v>149.15809999999999</c:v>
                </c:pt>
                <c:pt idx="2614">
                  <c:v>148.95400000000001</c:v>
                </c:pt>
                <c:pt idx="2615">
                  <c:v>149.29079999999999</c:v>
                </c:pt>
                <c:pt idx="2616">
                  <c:v>147.84020000000001</c:v>
                </c:pt>
                <c:pt idx="2617">
                  <c:v>148.03310000000002</c:v>
                </c:pt>
                <c:pt idx="2618">
                  <c:v>148.41139999999999</c:v>
                </c:pt>
                <c:pt idx="2619">
                  <c:v>147.6626</c:v>
                </c:pt>
                <c:pt idx="2620">
                  <c:v>147.3546</c:v>
                </c:pt>
                <c:pt idx="2621">
                  <c:v>146.99160000000001</c:v>
                </c:pt>
                <c:pt idx="2622">
                  <c:v>146.35419999999999</c:v>
                </c:pt>
                <c:pt idx="2623">
                  <c:v>146.69319999999999</c:v>
                </c:pt>
                <c:pt idx="2624">
                  <c:v>146.35919999999999</c:v>
                </c:pt>
                <c:pt idx="2625">
                  <c:v>145.34569999999999</c:v>
                </c:pt>
                <c:pt idx="2626">
                  <c:v>145.1284</c:v>
                </c:pt>
                <c:pt idx="2627">
                  <c:v>144.73340000000002</c:v>
                </c:pt>
                <c:pt idx="2628">
                  <c:v>142.98500000000001</c:v>
                </c:pt>
                <c:pt idx="2629">
                  <c:v>143.7122</c:v>
                </c:pt>
                <c:pt idx="2630">
                  <c:v>144.84209999999999</c:v>
                </c:pt>
                <c:pt idx="2631">
                  <c:v>143.00030000000001</c:v>
                </c:pt>
                <c:pt idx="2632">
                  <c:v>142.7132</c:v>
                </c:pt>
                <c:pt idx="2633">
                  <c:v>141.5926</c:v>
                </c:pt>
                <c:pt idx="2634">
                  <c:v>140.76010000000002</c:v>
                </c:pt>
                <c:pt idx="2635">
                  <c:v>141.29</c:v>
                </c:pt>
                <c:pt idx="2636">
                  <c:v>141.89439999999999</c:v>
                </c:pt>
                <c:pt idx="2637">
                  <c:v>141.43360000000001</c:v>
                </c:pt>
                <c:pt idx="2638">
                  <c:v>140.7133</c:v>
                </c:pt>
                <c:pt idx="2639">
                  <c:v>138.3929</c:v>
                </c:pt>
                <c:pt idx="2640">
                  <c:v>139.15440000000001</c:v>
                </c:pt>
                <c:pt idx="2641">
                  <c:v>136.6386</c:v>
                </c:pt>
                <c:pt idx="2642">
                  <c:v>136.86410000000001</c:v>
                </c:pt>
                <c:pt idx="2643">
                  <c:v>140.5147</c:v>
                </c:pt>
                <c:pt idx="2644">
                  <c:v>139.8528</c:v>
                </c:pt>
                <c:pt idx="2645">
                  <c:v>139.5642</c:v>
                </c:pt>
                <c:pt idx="2646">
                  <c:v>141.53290000000001</c:v>
                </c:pt>
                <c:pt idx="2647">
                  <c:v>142.59289999999999</c:v>
                </c:pt>
                <c:pt idx="2648">
                  <c:v>143.1114</c:v>
                </c:pt>
                <c:pt idx="2649">
                  <c:v>144.62049999999999</c:v>
                </c:pt>
                <c:pt idx="2650">
                  <c:v>143.89109999999999</c:v>
                </c:pt>
                <c:pt idx="2651">
                  <c:v>142.0848</c:v>
                </c:pt>
                <c:pt idx="2652">
                  <c:v>144.42770000000002</c:v>
                </c:pt>
                <c:pt idx="2653">
                  <c:v>145.84389999999999</c:v>
                </c:pt>
                <c:pt idx="2654">
                  <c:v>146.2971</c:v>
                </c:pt>
                <c:pt idx="2655">
                  <c:v>146.33789999999999</c:v>
                </c:pt>
                <c:pt idx="2656">
                  <c:v>146.24260000000001</c:v>
                </c:pt>
                <c:pt idx="2657">
                  <c:v>147.60819999999998</c:v>
                </c:pt>
                <c:pt idx="2658">
                  <c:v>147.0085</c:v>
                </c:pt>
                <c:pt idx="2659">
                  <c:v>149.08090000000001</c:v>
                </c:pt>
                <c:pt idx="2660">
                  <c:v>150.42930000000001</c:v>
                </c:pt>
                <c:pt idx="2661">
                  <c:v>149.87520000000001</c:v>
                </c:pt>
                <c:pt idx="2662">
                  <c:v>148.97199999999998</c:v>
                </c:pt>
                <c:pt idx="2663">
                  <c:v>149.18899999999999</c:v>
                </c:pt>
                <c:pt idx="2664">
                  <c:v>149.5104</c:v>
                </c:pt>
                <c:pt idx="2665">
                  <c:v>149.6634</c:v>
                </c:pt>
                <c:pt idx="2666">
                  <c:v>149.3878</c:v>
                </c:pt>
                <c:pt idx="2667">
                  <c:v>150.02889999999999</c:v>
                </c:pt>
                <c:pt idx="2668">
                  <c:v>150.1464</c:v>
                </c:pt>
                <c:pt idx="2669">
                  <c:v>150.22760000000002</c:v>
                </c:pt>
                <c:pt idx="2670">
                  <c:v>150.81660000000002</c:v>
                </c:pt>
                <c:pt idx="2671">
                  <c:v>151.33090000000001</c:v>
                </c:pt>
                <c:pt idx="2672">
                  <c:v>151.26</c:v>
                </c:pt>
                <c:pt idx="2673">
                  <c:v>150.31560000000002</c:v>
                </c:pt>
                <c:pt idx="2674">
                  <c:v>150.23070000000001</c:v>
                </c:pt>
                <c:pt idx="2675">
                  <c:v>150.02330000000001</c:v>
                </c:pt>
                <c:pt idx="2676">
                  <c:v>149.80449999999999</c:v>
                </c:pt>
                <c:pt idx="2677">
                  <c:v>150.42230000000001</c:v>
                </c:pt>
                <c:pt idx="2678">
                  <c:v>150.16289999999998</c:v>
                </c:pt>
                <c:pt idx="2679">
                  <c:v>149.12790000000001</c:v>
                </c:pt>
                <c:pt idx="2680">
                  <c:v>149.10769999999999</c:v>
                </c:pt>
                <c:pt idx="2681">
                  <c:v>148.59020000000001</c:v>
                </c:pt>
                <c:pt idx="2682">
                  <c:v>149.01010000000002</c:v>
                </c:pt>
                <c:pt idx="2683">
                  <c:v>148.16</c:v>
                </c:pt>
                <c:pt idx="2684">
                  <c:v>147.0284</c:v>
                </c:pt>
                <c:pt idx="2685">
                  <c:v>146.96379999999999</c:v>
                </c:pt>
                <c:pt idx="2686">
                  <c:v>146.2244</c:v>
                </c:pt>
                <c:pt idx="2687">
                  <c:v>145.2706</c:v>
                </c:pt>
                <c:pt idx="2688">
                  <c:v>145.2612</c:v>
                </c:pt>
                <c:pt idx="2689">
                  <c:v>143.75659999999999</c:v>
                </c:pt>
                <c:pt idx="2690">
                  <c:v>144.3048</c:v>
                </c:pt>
                <c:pt idx="2691">
                  <c:v>145.03390000000002</c:v>
                </c:pt>
                <c:pt idx="2692">
                  <c:v>145.74549999999999</c:v>
                </c:pt>
                <c:pt idx="2693">
                  <c:v>145.67339999999999</c:v>
                </c:pt>
                <c:pt idx="2694">
                  <c:v>145.7508</c:v>
                </c:pt>
                <c:pt idx="2695">
                  <c:v>146.84020000000001</c:v>
                </c:pt>
                <c:pt idx="2696">
                  <c:v>147.81479999999999</c:v>
                </c:pt>
                <c:pt idx="2697">
                  <c:v>148.5025</c:v>
                </c:pt>
                <c:pt idx="2698">
                  <c:v>148.03980000000001</c:v>
                </c:pt>
                <c:pt idx="2699">
                  <c:v>148.21299999999999</c:v>
                </c:pt>
                <c:pt idx="2700">
                  <c:v>148.8313</c:v>
                </c:pt>
                <c:pt idx="2701">
                  <c:v>148.37110000000001</c:v>
                </c:pt>
                <c:pt idx="2702">
                  <c:v>148.15979999999999</c:v>
                </c:pt>
                <c:pt idx="2703">
                  <c:v>146.7216</c:v>
                </c:pt>
                <c:pt idx="2704">
                  <c:v>147.20920000000001</c:v>
                </c:pt>
                <c:pt idx="2705">
                  <c:v>147.02090000000001</c:v>
                </c:pt>
                <c:pt idx="2706">
                  <c:v>147.9289</c:v>
                </c:pt>
                <c:pt idx="2707">
                  <c:v>146.32840000000002</c:v>
                </c:pt>
                <c:pt idx="2708">
                  <c:v>147.1686</c:v>
                </c:pt>
                <c:pt idx="2709">
                  <c:v>145.98340000000002</c:v>
                </c:pt>
                <c:pt idx="2710">
                  <c:v>145.6617</c:v>
                </c:pt>
                <c:pt idx="2711">
                  <c:v>146.65209999999999</c:v>
                </c:pt>
                <c:pt idx="2712">
                  <c:v>147.15959999999998</c:v>
                </c:pt>
                <c:pt idx="2713">
                  <c:v>149.0539</c:v>
                </c:pt>
                <c:pt idx="2714">
                  <c:v>150.03149999999999</c:v>
                </c:pt>
                <c:pt idx="2715">
                  <c:v>149.9836</c:v>
                </c:pt>
                <c:pt idx="2716">
                  <c:v>148.88159999999999</c:v>
                </c:pt>
                <c:pt idx="2717">
                  <c:v>148.5196</c:v>
                </c:pt>
                <c:pt idx="2718">
                  <c:v>147.28489999999999</c:v>
                </c:pt>
                <c:pt idx="2719">
                  <c:v>147.45669999999998</c:v>
                </c:pt>
                <c:pt idx="2720">
                  <c:v>146.9871</c:v>
                </c:pt>
                <c:pt idx="2721">
                  <c:v>146.68099999999998</c:v>
                </c:pt>
                <c:pt idx="2722">
                  <c:v>147.762</c:v>
                </c:pt>
                <c:pt idx="2723">
                  <c:v>148.2062</c:v>
                </c:pt>
                <c:pt idx="2724">
                  <c:v>148.81809999999999</c:v>
                </c:pt>
                <c:pt idx="2725">
                  <c:v>148.34480000000002</c:v>
                </c:pt>
                <c:pt idx="2726">
                  <c:v>147.7235</c:v>
                </c:pt>
                <c:pt idx="2727">
                  <c:v>147.41200000000001</c:v>
                </c:pt>
                <c:pt idx="2728">
                  <c:v>147.39599999999999</c:v>
                </c:pt>
                <c:pt idx="2729">
                  <c:v>147.9735</c:v>
                </c:pt>
                <c:pt idx="2730">
                  <c:v>149.6104</c:v>
                </c:pt>
                <c:pt idx="2731">
                  <c:v>149.49509999999998</c:v>
                </c:pt>
                <c:pt idx="2732">
                  <c:v>150.12599999999998</c:v>
                </c:pt>
                <c:pt idx="2733">
                  <c:v>150.166</c:v>
                </c:pt>
                <c:pt idx="2734">
                  <c:v>149.874</c:v>
                </c:pt>
                <c:pt idx="2735">
                  <c:v>148.7286</c:v>
                </c:pt>
                <c:pt idx="2736">
                  <c:v>148.81560000000002</c:v>
                </c:pt>
                <c:pt idx="2737">
                  <c:v>148.99860000000001</c:v>
                </c:pt>
                <c:pt idx="2738">
                  <c:v>149.66399999999999</c:v>
                </c:pt>
                <c:pt idx="2739">
                  <c:v>149.1893</c:v>
                </c:pt>
                <c:pt idx="2740">
                  <c:v>149.58149999999998</c:v>
                </c:pt>
                <c:pt idx="2741">
                  <c:v>149.17699999999999</c:v>
                </c:pt>
                <c:pt idx="2742">
                  <c:v>148.88310000000001</c:v>
                </c:pt>
                <c:pt idx="2743">
                  <c:v>148.16119999999998</c:v>
                </c:pt>
                <c:pt idx="2744">
                  <c:v>148.17880000000002</c:v>
                </c:pt>
                <c:pt idx="2745">
                  <c:v>148.07999999999998</c:v>
                </c:pt>
                <c:pt idx="2746">
                  <c:v>147.39249999999998</c:v>
                </c:pt>
                <c:pt idx="2747">
                  <c:v>148.09049999999999</c:v>
                </c:pt>
                <c:pt idx="2748">
                  <c:v>148.327</c:v>
                </c:pt>
                <c:pt idx="2749">
                  <c:v>148.39340000000001</c:v>
                </c:pt>
                <c:pt idx="2750">
                  <c:v>149.60150000000002</c:v>
                </c:pt>
                <c:pt idx="2751">
                  <c:v>149.33879999999999</c:v>
                </c:pt>
                <c:pt idx="2752">
                  <c:v>148.86539999999999</c:v>
                </c:pt>
                <c:pt idx="2753">
                  <c:v>148.05619999999999</c:v>
                </c:pt>
                <c:pt idx="2754">
                  <c:v>148.62729999999999</c:v>
                </c:pt>
                <c:pt idx="2755">
                  <c:v>147.72370000000001</c:v>
                </c:pt>
                <c:pt idx="2756">
                  <c:v>147.71600000000001</c:v>
                </c:pt>
                <c:pt idx="2757">
                  <c:v>148.1336</c:v>
                </c:pt>
                <c:pt idx="2758">
                  <c:v>147.7713</c:v>
                </c:pt>
                <c:pt idx="2759">
                  <c:v>147.21090000000001</c:v>
                </c:pt>
                <c:pt idx="2760">
                  <c:v>147.0061</c:v>
                </c:pt>
                <c:pt idx="2761">
                  <c:v>145.6551</c:v>
                </c:pt>
                <c:pt idx="2762">
                  <c:v>145.482</c:v>
                </c:pt>
                <c:pt idx="2763">
                  <c:v>145.95089999999999</c:v>
                </c:pt>
                <c:pt idx="2764">
                  <c:v>145.441</c:v>
                </c:pt>
                <c:pt idx="2765">
                  <c:v>145.52689999999998</c:v>
                </c:pt>
                <c:pt idx="2766">
                  <c:v>144.26499999999999</c:v>
                </c:pt>
                <c:pt idx="2767">
                  <c:v>143.28730000000002</c:v>
                </c:pt>
                <c:pt idx="2768">
                  <c:v>142.21619999999999</c:v>
                </c:pt>
                <c:pt idx="2769">
                  <c:v>143.13630000000001</c:v>
                </c:pt>
                <c:pt idx="2770">
                  <c:v>143.0292</c:v>
                </c:pt>
                <c:pt idx="2771">
                  <c:v>144.8287</c:v>
                </c:pt>
                <c:pt idx="2772">
                  <c:v>144.733</c:v>
                </c:pt>
                <c:pt idx="2773">
                  <c:v>143.67330000000001</c:v>
                </c:pt>
                <c:pt idx="2774">
                  <c:v>144.62780000000001</c:v>
                </c:pt>
                <c:pt idx="2775">
                  <c:v>146.1756</c:v>
                </c:pt>
                <c:pt idx="2776">
                  <c:v>145.21780000000001</c:v>
                </c:pt>
                <c:pt idx="2777">
                  <c:v>145.4854</c:v>
                </c:pt>
                <c:pt idx="2778">
                  <c:v>145.25960000000001</c:v>
                </c:pt>
                <c:pt idx="2779">
                  <c:v>144.08920000000001</c:v>
                </c:pt>
                <c:pt idx="2780">
                  <c:v>144.24529999999999</c:v>
                </c:pt>
                <c:pt idx="2781">
                  <c:v>143.78569999999999</c:v>
                </c:pt>
                <c:pt idx="2782">
                  <c:v>144.15729999999999</c:v>
                </c:pt>
                <c:pt idx="2783">
                  <c:v>143.9605</c:v>
                </c:pt>
                <c:pt idx="2784">
                  <c:v>142.2706</c:v>
                </c:pt>
                <c:pt idx="2785">
                  <c:v>143.11149999999998</c:v>
                </c:pt>
                <c:pt idx="2786">
                  <c:v>142.96439999999998</c:v>
                </c:pt>
                <c:pt idx="2787">
                  <c:v>143.69229999999999</c:v>
                </c:pt>
                <c:pt idx="2788">
                  <c:v>144.23250000000002</c:v>
                </c:pt>
                <c:pt idx="2789">
                  <c:v>143.50650000000002</c:v>
                </c:pt>
                <c:pt idx="2790">
                  <c:v>142.5376</c:v>
                </c:pt>
                <c:pt idx="2791">
                  <c:v>143.10409999999999</c:v>
                </c:pt>
                <c:pt idx="2792">
                  <c:v>144.51559999999998</c:v>
                </c:pt>
                <c:pt idx="2793">
                  <c:v>145.5384</c:v>
                </c:pt>
                <c:pt idx="2794">
                  <c:v>145.56469999999999</c:v>
                </c:pt>
                <c:pt idx="2795">
                  <c:v>146.1361</c:v>
                </c:pt>
                <c:pt idx="2796">
                  <c:v>147.64260000000002</c:v>
                </c:pt>
                <c:pt idx="2797">
                  <c:v>147.31300000000002</c:v>
                </c:pt>
                <c:pt idx="2798">
                  <c:v>148.15010000000001</c:v>
                </c:pt>
                <c:pt idx="2799">
                  <c:v>145.5949</c:v>
                </c:pt>
                <c:pt idx="2800">
                  <c:v>147.93950000000001</c:v>
                </c:pt>
                <c:pt idx="2801">
                  <c:v>147.649</c:v>
                </c:pt>
                <c:pt idx="2802">
                  <c:v>147.38750000000002</c:v>
                </c:pt>
                <c:pt idx="2803">
                  <c:v>148.00059999999999</c:v>
                </c:pt>
                <c:pt idx="2804">
                  <c:v>148.6354</c:v>
                </c:pt>
                <c:pt idx="2805">
                  <c:v>148.0316</c:v>
                </c:pt>
                <c:pt idx="2806">
                  <c:v>147.446</c:v>
                </c:pt>
                <c:pt idx="2807">
                  <c:v>147.12049999999999</c:v>
                </c:pt>
                <c:pt idx="2808">
                  <c:v>146.8493</c:v>
                </c:pt>
                <c:pt idx="2809">
                  <c:v>145.62</c:v>
                </c:pt>
                <c:pt idx="2810">
                  <c:v>144.16409999999999</c:v>
                </c:pt>
                <c:pt idx="2811">
                  <c:v>143.95429999999999</c:v>
                </c:pt>
                <c:pt idx="2812">
                  <c:v>144.30700000000002</c:v>
                </c:pt>
                <c:pt idx="2813">
                  <c:v>144.04740000000001</c:v>
                </c:pt>
                <c:pt idx="2814">
                  <c:v>142.36349999999999</c:v>
                </c:pt>
                <c:pt idx="2815">
                  <c:v>141.94329999999999</c:v>
                </c:pt>
                <c:pt idx="2816">
                  <c:v>141.58940000000001</c:v>
                </c:pt>
                <c:pt idx="2817">
                  <c:v>139.47449999999998</c:v>
                </c:pt>
                <c:pt idx="2818">
                  <c:v>139.26319999999998</c:v>
                </c:pt>
                <c:pt idx="2819">
                  <c:v>139.5968</c:v>
                </c:pt>
                <c:pt idx="2820">
                  <c:v>140.56530000000001</c:v>
                </c:pt>
                <c:pt idx="2821">
                  <c:v>141.1</c:v>
                </c:pt>
                <c:pt idx="2822">
                  <c:v>141.1808</c:v>
                </c:pt>
                <c:pt idx="2823">
                  <c:v>141.6832</c:v>
                </c:pt>
                <c:pt idx="2824">
                  <c:v>141.02950000000001</c:v>
                </c:pt>
                <c:pt idx="2825">
                  <c:v>143.33539999999999</c:v>
                </c:pt>
                <c:pt idx="2826">
                  <c:v>145.6859</c:v>
                </c:pt>
                <c:pt idx="2827">
                  <c:v>146.88310000000001</c:v>
                </c:pt>
                <c:pt idx="2828">
                  <c:v>146.98009999999999</c:v>
                </c:pt>
                <c:pt idx="2829">
                  <c:v>147.12559999999999</c:v>
                </c:pt>
                <c:pt idx="2830">
                  <c:v>146.92740000000001</c:v>
                </c:pt>
                <c:pt idx="2831">
                  <c:v>146.7056</c:v>
                </c:pt>
                <c:pt idx="2832">
                  <c:v>146.91380000000001</c:v>
                </c:pt>
                <c:pt idx="2833">
                  <c:v>145.81370000000001</c:v>
                </c:pt>
                <c:pt idx="2834">
                  <c:v>145.6816</c:v>
                </c:pt>
                <c:pt idx="2835">
                  <c:v>145.26780000000002</c:v>
                </c:pt>
                <c:pt idx="2836">
                  <c:v>144.04849999999999</c:v>
                </c:pt>
                <c:pt idx="2837">
                  <c:v>144.6591</c:v>
                </c:pt>
                <c:pt idx="2838">
                  <c:v>145.3409</c:v>
                </c:pt>
                <c:pt idx="2839">
                  <c:v>144.8588</c:v>
                </c:pt>
                <c:pt idx="2840">
                  <c:v>144.81219999999999</c:v>
                </c:pt>
                <c:pt idx="2841">
                  <c:v>144.44060000000002</c:v>
                </c:pt>
                <c:pt idx="2842">
                  <c:v>144.9982</c:v>
                </c:pt>
                <c:pt idx="2843">
                  <c:v>144.6284</c:v>
                </c:pt>
                <c:pt idx="2844">
                  <c:v>144.94050000000001</c:v>
                </c:pt>
                <c:pt idx="2845">
                  <c:v>143.7833</c:v>
                </c:pt>
                <c:pt idx="2846">
                  <c:v>143.4366</c:v>
                </c:pt>
                <c:pt idx="2847">
                  <c:v>141.9907</c:v>
                </c:pt>
                <c:pt idx="2848">
                  <c:v>141.53890000000001</c:v>
                </c:pt>
                <c:pt idx="2849">
                  <c:v>139.5779</c:v>
                </c:pt>
                <c:pt idx="2850">
                  <c:v>139.4083</c:v>
                </c:pt>
                <c:pt idx="2851">
                  <c:v>140.0985</c:v>
                </c:pt>
                <c:pt idx="2852">
                  <c:v>138.43170000000001</c:v>
                </c:pt>
                <c:pt idx="2853">
                  <c:v>138.48920000000001</c:v>
                </c:pt>
                <c:pt idx="2854">
                  <c:v>139.86279999999999</c:v>
                </c:pt>
                <c:pt idx="2855">
                  <c:v>140.14879999999999</c:v>
                </c:pt>
                <c:pt idx="2856">
                  <c:v>140.76680000000002</c:v>
                </c:pt>
                <c:pt idx="2857">
                  <c:v>140.5215</c:v>
                </c:pt>
                <c:pt idx="2858">
                  <c:v>139.333</c:v>
                </c:pt>
                <c:pt idx="2859">
                  <c:v>139.512</c:v>
                </c:pt>
                <c:pt idx="2860">
                  <c:v>139.85129999999998</c:v>
                </c:pt>
                <c:pt idx="2861">
                  <c:v>141.22120000000001</c:v>
                </c:pt>
                <c:pt idx="2862">
                  <c:v>142.38409999999999</c:v>
                </c:pt>
                <c:pt idx="2863">
                  <c:v>142.4085</c:v>
                </c:pt>
                <c:pt idx="2864">
                  <c:v>142.285</c:v>
                </c:pt>
                <c:pt idx="2865">
                  <c:v>141.89700000000002</c:v>
                </c:pt>
                <c:pt idx="2866">
                  <c:v>142.9237</c:v>
                </c:pt>
                <c:pt idx="2867">
                  <c:v>142.40770000000001</c:v>
                </c:pt>
                <c:pt idx="2868">
                  <c:v>142.47389999999999</c:v>
                </c:pt>
                <c:pt idx="2869">
                  <c:v>142.52809999999999</c:v>
                </c:pt>
                <c:pt idx="2870">
                  <c:v>142.8168</c:v>
                </c:pt>
                <c:pt idx="2871">
                  <c:v>143.315</c:v>
                </c:pt>
                <c:pt idx="2872">
                  <c:v>142.72460000000001</c:v>
                </c:pt>
                <c:pt idx="2873">
                  <c:v>142.25240000000002</c:v>
                </c:pt>
                <c:pt idx="2874">
                  <c:v>141.47280000000001</c:v>
                </c:pt>
                <c:pt idx="2875">
                  <c:v>143.2749</c:v>
                </c:pt>
                <c:pt idx="2876">
                  <c:v>143.3681</c:v>
                </c:pt>
                <c:pt idx="2877">
                  <c:v>142.8931</c:v>
                </c:pt>
                <c:pt idx="2878">
                  <c:v>142.7766</c:v>
                </c:pt>
                <c:pt idx="2879">
                  <c:v>143.58420000000001</c:v>
                </c:pt>
                <c:pt idx="2880">
                  <c:v>143.5009</c:v>
                </c:pt>
                <c:pt idx="2881">
                  <c:v>143.93959999999998</c:v>
                </c:pt>
                <c:pt idx="2882">
                  <c:v>143.40129999999999</c:v>
                </c:pt>
                <c:pt idx="2883">
                  <c:v>143.37450000000001</c:v>
                </c:pt>
                <c:pt idx="2884">
                  <c:v>144.34990000000002</c:v>
                </c:pt>
                <c:pt idx="2885">
                  <c:v>144.21180000000001</c:v>
                </c:pt>
                <c:pt idx="2886">
                  <c:v>143.1969</c:v>
                </c:pt>
                <c:pt idx="2887">
                  <c:v>143.20529999999999</c:v>
                </c:pt>
                <c:pt idx="2888">
                  <c:v>143.0865</c:v>
                </c:pt>
                <c:pt idx="2889">
                  <c:v>142.36439999999999</c:v>
                </c:pt>
                <c:pt idx="2890">
                  <c:v>142.65890000000002</c:v>
                </c:pt>
                <c:pt idx="2891">
                  <c:v>141.9161</c:v>
                </c:pt>
                <c:pt idx="2892">
                  <c:v>141.16979999999998</c:v>
                </c:pt>
                <c:pt idx="2893">
                  <c:v>140.10899999999998</c:v>
                </c:pt>
                <c:pt idx="2894">
                  <c:v>139.99869999999999</c:v>
                </c:pt>
                <c:pt idx="2895">
                  <c:v>139.48269999999999</c:v>
                </c:pt>
                <c:pt idx="2896">
                  <c:v>138.62690000000001</c:v>
                </c:pt>
                <c:pt idx="2897">
                  <c:v>138.1499</c:v>
                </c:pt>
                <c:pt idx="2898">
                  <c:v>137.02850000000001</c:v>
                </c:pt>
                <c:pt idx="2899">
                  <c:v>135.00809999999998</c:v>
                </c:pt>
                <c:pt idx="2900">
                  <c:v>135.46960000000001</c:v>
                </c:pt>
                <c:pt idx="2901">
                  <c:v>136.88069999999999</c:v>
                </c:pt>
                <c:pt idx="2902">
                  <c:v>137.27359999999999</c:v>
                </c:pt>
                <c:pt idx="2903">
                  <c:v>137.18539999999999</c:v>
                </c:pt>
                <c:pt idx="2904">
                  <c:v>137.04599999999999</c:v>
                </c:pt>
                <c:pt idx="2905">
                  <c:v>137.53299999999999</c:v>
                </c:pt>
                <c:pt idx="2906">
                  <c:v>137.48390000000001</c:v>
                </c:pt>
                <c:pt idx="2907">
                  <c:v>138.41890000000001</c:v>
                </c:pt>
                <c:pt idx="2908">
                  <c:v>139.49199999999999</c:v>
                </c:pt>
                <c:pt idx="2909">
                  <c:v>139.2808</c:v>
                </c:pt>
                <c:pt idx="2910">
                  <c:v>139.64359999999999</c:v>
                </c:pt>
                <c:pt idx="2911">
                  <c:v>139.1771</c:v>
                </c:pt>
                <c:pt idx="2912">
                  <c:v>140.04590000000002</c:v>
                </c:pt>
                <c:pt idx="2913">
                  <c:v>140.69449999999998</c:v>
                </c:pt>
                <c:pt idx="2914">
                  <c:v>139.42649999999998</c:v>
                </c:pt>
                <c:pt idx="2915">
                  <c:v>139.68719999999999</c:v>
                </c:pt>
                <c:pt idx="2916">
                  <c:v>140.80690000000001</c:v>
                </c:pt>
                <c:pt idx="2917">
                  <c:v>139.9813</c:v>
                </c:pt>
                <c:pt idx="2918">
                  <c:v>140.0264</c:v>
                </c:pt>
                <c:pt idx="2919">
                  <c:v>140.11260000000001</c:v>
                </c:pt>
                <c:pt idx="2920">
                  <c:v>140.04240000000001</c:v>
                </c:pt>
                <c:pt idx="2921">
                  <c:v>138.80609999999999</c:v>
                </c:pt>
                <c:pt idx="2922">
                  <c:v>139.0307</c:v>
                </c:pt>
                <c:pt idx="2923">
                  <c:v>138.66919999999999</c:v>
                </c:pt>
                <c:pt idx="2924">
                  <c:v>137.47310000000002</c:v>
                </c:pt>
                <c:pt idx="2925">
                  <c:v>137.28790000000001</c:v>
                </c:pt>
                <c:pt idx="2926">
                  <c:v>137.9649</c:v>
                </c:pt>
                <c:pt idx="2927">
                  <c:v>135.96710000000002</c:v>
                </c:pt>
                <c:pt idx="2928">
                  <c:v>137.35569999999998</c:v>
                </c:pt>
                <c:pt idx="2929">
                  <c:v>136.2681</c:v>
                </c:pt>
                <c:pt idx="2930">
                  <c:v>136.62209999999999</c:v>
                </c:pt>
                <c:pt idx="2931">
                  <c:v>137.7835</c:v>
                </c:pt>
                <c:pt idx="2932">
                  <c:v>136.8381</c:v>
                </c:pt>
                <c:pt idx="2933">
                  <c:v>135.68700000000001</c:v>
                </c:pt>
                <c:pt idx="2934">
                  <c:v>136.64150000000001</c:v>
                </c:pt>
                <c:pt idx="2935">
                  <c:v>137.0136</c:v>
                </c:pt>
                <c:pt idx="2936">
                  <c:v>137.56370000000001</c:v>
                </c:pt>
                <c:pt idx="2937">
                  <c:v>137.0686</c:v>
                </c:pt>
                <c:pt idx="2938">
                  <c:v>139.46800000000002</c:v>
                </c:pt>
                <c:pt idx="2939">
                  <c:v>139.5283</c:v>
                </c:pt>
                <c:pt idx="2940">
                  <c:v>138.82569999999998</c:v>
                </c:pt>
                <c:pt idx="2941">
                  <c:v>139.02810000000002</c:v>
                </c:pt>
                <c:pt idx="2942">
                  <c:v>138.0171</c:v>
                </c:pt>
                <c:pt idx="2943">
                  <c:v>137.52969999999999</c:v>
                </c:pt>
                <c:pt idx="2944">
                  <c:v>139.09480000000002</c:v>
                </c:pt>
                <c:pt idx="2945">
                  <c:v>139.48349999999999</c:v>
                </c:pt>
                <c:pt idx="2946">
                  <c:v>139.8931</c:v>
                </c:pt>
                <c:pt idx="2947">
                  <c:v>140.38910000000001</c:v>
                </c:pt>
                <c:pt idx="2948">
                  <c:v>139.05199999999999</c:v>
                </c:pt>
                <c:pt idx="2949">
                  <c:v>138.06270000000001</c:v>
                </c:pt>
                <c:pt idx="2950">
                  <c:v>137.74590000000001</c:v>
                </c:pt>
                <c:pt idx="2951">
                  <c:v>137.62979999999999</c:v>
                </c:pt>
                <c:pt idx="2952">
                  <c:v>138.26069999999999</c:v>
                </c:pt>
                <c:pt idx="2953">
                  <c:v>138.91890000000001</c:v>
                </c:pt>
                <c:pt idx="2954">
                  <c:v>138.4915</c:v>
                </c:pt>
                <c:pt idx="2955">
                  <c:v>138.9675</c:v>
                </c:pt>
                <c:pt idx="2956">
                  <c:v>139.0531</c:v>
                </c:pt>
                <c:pt idx="2957">
                  <c:v>139.12950000000001</c:v>
                </c:pt>
                <c:pt idx="2958">
                  <c:v>137.88990000000001</c:v>
                </c:pt>
                <c:pt idx="2959">
                  <c:v>137.5283</c:v>
                </c:pt>
                <c:pt idx="2960">
                  <c:v>138.16060000000002</c:v>
                </c:pt>
                <c:pt idx="2961">
                  <c:v>137.34649999999999</c:v>
                </c:pt>
                <c:pt idx="2962">
                  <c:v>137.23049999999998</c:v>
                </c:pt>
                <c:pt idx="2963">
                  <c:v>136.40019999999998</c:v>
                </c:pt>
                <c:pt idx="2964">
                  <c:v>136.64589999999998</c:v>
                </c:pt>
                <c:pt idx="2965">
                  <c:v>135.3192</c:v>
                </c:pt>
                <c:pt idx="2966">
                  <c:v>133.726</c:v>
                </c:pt>
                <c:pt idx="2967">
                  <c:v>134.59699999999998</c:v>
                </c:pt>
                <c:pt idx="2968">
                  <c:v>130.72450000000001</c:v>
                </c:pt>
                <c:pt idx="2969">
                  <c:v>132.07330000000002</c:v>
                </c:pt>
                <c:pt idx="2970">
                  <c:v>132.15559999999999</c:v>
                </c:pt>
                <c:pt idx="2971">
                  <c:v>130.22</c:v>
                </c:pt>
                <c:pt idx="2972">
                  <c:v>130.71120000000002</c:v>
                </c:pt>
                <c:pt idx="2973">
                  <c:v>129.05500000000001</c:v>
                </c:pt>
                <c:pt idx="2974">
                  <c:v>127.69619999999999</c:v>
                </c:pt>
                <c:pt idx="2975">
                  <c:v>126.1588</c:v>
                </c:pt>
                <c:pt idx="2976">
                  <c:v>128.07839999999999</c:v>
                </c:pt>
                <c:pt idx="2977">
                  <c:v>129.00480000000002</c:v>
                </c:pt>
                <c:pt idx="2978">
                  <c:v>132.81989999999999</c:v>
                </c:pt>
                <c:pt idx="2979">
                  <c:v>133.1978</c:v>
                </c:pt>
                <c:pt idx="2980">
                  <c:v>132.31489999999999</c:v>
                </c:pt>
                <c:pt idx="2981">
                  <c:v>131.7868</c:v>
                </c:pt>
                <c:pt idx="2982">
                  <c:v>131.51220000000001</c:v>
                </c:pt>
                <c:pt idx="2983">
                  <c:v>131.572</c:v>
                </c:pt>
                <c:pt idx="2984">
                  <c:v>132.0907</c:v>
                </c:pt>
                <c:pt idx="2985">
                  <c:v>133.4726</c:v>
                </c:pt>
                <c:pt idx="2986">
                  <c:v>133.62810000000002</c:v>
                </c:pt>
                <c:pt idx="2987">
                  <c:v>132.0753</c:v>
                </c:pt>
                <c:pt idx="2988">
                  <c:v>133.76</c:v>
                </c:pt>
                <c:pt idx="2989">
                  <c:v>136.48510000000002</c:v>
                </c:pt>
                <c:pt idx="2990">
                  <c:v>135.86370000000002</c:v>
                </c:pt>
                <c:pt idx="2991">
                  <c:v>137.05520000000001</c:v>
                </c:pt>
                <c:pt idx="2992">
                  <c:v>138.4716</c:v>
                </c:pt>
                <c:pt idx="2993">
                  <c:v>137.88059999999999</c:v>
                </c:pt>
                <c:pt idx="2994">
                  <c:v>140.5275</c:v>
                </c:pt>
                <c:pt idx="2995">
                  <c:v>138.31470000000002</c:v>
                </c:pt>
                <c:pt idx="2996">
                  <c:v>139.2089</c:v>
                </c:pt>
                <c:pt idx="2997">
                  <c:v>142.18690000000001</c:v>
                </c:pt>
                <c:pt idx="2998">
                  <c:v>141.41390000000001</c:v>
                </c:pt>
                <c:pt idx="2999">
                  <c:v>140.43639999999999</c:v>
                </c:pt>
                <c:pt idx="3000">
                  <c:v>139.81880000000001</c:v>
                </c:pt>
                <c:pt idx="3001">
                  <c:v>139.02850000000001</c:v>
                </c:pt>
                <c:pt idx="3002">
                  <c:v>138.9974</c:v>
                </c:pt>
                <c:pt idx="3003">
                  <c:v>138.53820000000002</c:v>
                </c:pt>
                <c:pt idx="3004">
                  <c:v>137.47970000000001</c:v>
                </c:pt>
                <c:pt idx="3005">
                  <c:v>137.3758</c:v>
                </c:pt>
                <c:pt idx="3006">
                  <c:v>136.74519999999998</c:v>
                </c:pt>
                <c:pt idx="3007">
                  <c:v>136.4606</c:v>
                </c:pt>
                <c:pt idx="3008">
                  <c:v>135.6711</c:v>
                </c:pt>
                <c:pt idx="3009">
                  <c:v>135.04769999999999</c:v>
                </c:pt>
                <c:pt idx="3010">
                  <c:v>133.7604</c:v>
                </c:pt>
                <c:pt idx="3011">
                  <c:v>133.73520000000002</c:v>
                </c:pt>
                <c:pt idx="3012">
                  <c:v>133.2064</c:v>
                </c:pt>
                <c:pt idx="3013">
                  <c:v>133.7313</c:v>
                </c:pt>
                <c:pt idx="3014">
                  <c:v>133.1498</c:v>
                </c:pt>
                <c:pt idx="3015">
                  <c:v>133.4787</c:v>
                </c:pt>
                <c:pt idx="3016">
                  <c:v>133.13049999999998</c:v>
                </c:pt>
                <c:pt idx="3017">
                  <c:v>132.39160000000001</c:v>
                </c:pt>
                <c:pt idx="3018">
                  <c:v>129.8938</c:v>
                </c:pt>
                <c:pt idx="3019">
                  <c:v>130.03230000000002</c:v>
                </c:pt>
                <c:pt idx="3020">
                  <c:v>129.18989999999999</c:v>
                </c:pt>
                <c:pt idx="3021">
                  <c:v>129.1765</c:v>
                </c:pt>
                <c:pt idx="3022">
                  <c:v>130.29589999999999</c:v>
                </c:pt>
                <c:pt idx="3023">
                  <c:v>131.0823</c:v>
                </c:pt>
                <c:pt idx="3024">
                  <c:v>132.0205</c:v>
                </c:pt>
                <c:pt idx="3025">
                  <c:v>132.66230000000002</c:v>
                </c:pt>
                <c:pt idx="3026">
                  <c:v>131.91419999999999</c:v>
                </c:pt>
                <c:pt idx="3027">
                  <c:v>130.32270000000003</c:v>
                </c:pt>
                <c:pt idx="3028">
                  <c:v>129.5804</c:v>
                </c:pt>
                <c:pt idx="3029">
                  <c:v>129.05630000000002</c:v>
                </c:pt>
                <c:pt idx="3030">
                  <c:v>131.0839</c:v>
                </c:pt>
                <c:pt idx="3031">
                  <c:v>132.685</c:v>
                </c:pt>
                <c:pt idx="3032">
                  <c:v>133.98330000000001</c:v>
                </c:pt>
                <c:pt idx="3033">
                  <c:v>132.44050000000001</c:v>
                </c:pt>
                <c:pt idx="3034">
                  <c:v>131.91910000000001</c:v>
                </c:pt>
                <c:pt idx="3035">
                  <c:v>132.23609999999999</c:v>
                </c:pt>
                <c:pt idx="3036">
                  <c:v>131.82490000000001</c:v>
                </c:pt>
                <c:pt idx="3037">
                  <c:v>132.07589999999999</c:v>
                </c:pt>
                <c:pt idx="3038">
                  <c:v>132.04340000000002</c:v>
                </c:pt>
                <c:pt idx="3039">
                  <c:v>132.88730000000001</c:v>
                </c:pt>
                <c:pt idx="3040">
                  <c:v>132.82409999999999</c:v>
                </c:pt>
                <c:pt idx="3041">
                  <c:v>133.1798</c:v>
                </c:pt>
                <c:pt idx="3042">
                  <c:v>133.78380000000001</c:v>
                </c:pt>
                <c:pt idx="3043">
                  <c:v>134.43359999999998</c:v>
                </c:pt>
                <c:pt idx="3044">
                  <c:v>133.43359999999998</c:v>
                </c:pt>
                <c:pt idx="3045">
                  <c:v>133.81020000000001</c:v>
                </c:pt>
                <c:pt idx="3046">
                  <c:v>133.6841</c:v>
                </c:pt>
                <c:pt idx="3047">
                  <c:v>133.3297</c:v>
                </c:pt>
                <c:pt idx="3048">
                  <c:v>132.4572</c:v>
                </c:pt>
                <c:pt idx="3049">
                  <c:v>132.23160000000001</c:v>
                </c:pt>
                <c:pt idx="3050">
                  <c:v>132.05629999999999</c:v>
                </c:pt>
                <c:pt idx="3051">
                  <c:v>130.29580000000001</c:v>
                </c:pt>
                <c:pt idx="3052">
                  <c:v>130.952</c:v>
                </c:pt>
                <c:pt idx="3053">
                  <c:v>130.60499999999999</c:v>
                </c:pt>
                <c:pt idx="3054">
                  <c:v>129.89099999999999</c:v>
                </c:pt>
                <c:pt idx="3055">
                  <c:v>128.74859999999998</c:v>
                </c:pt>
                <c:pt idx="3056">
                  <c:v>130.4264</c:v>
                </c:pt>
                <c:pt idx="3057">
                  <c:v>130.0498</c:v>
                </c:pt>
                <c:pt idx="3058">
                  <c:v>129.14270000000002</c:v>
                </c:pt>
                <c:pt idx="3059">
                  <c:v>131.2107</c:v>
                </c:pt>
                <c:pt idx="3060">
                  <c:v>130.6455</c:v>
                </c:pt>
                <c:pt idx="3061">
                  <c:v>129.3828</c:v>
                </c:pt>
                <c:pt idx="3062">
                  <c:v>129.62809999999999</c:v>
                </c:pt>
                <c:pt idx="3063">
                  <c:v>129.53809999999999</c:v>
                </c:pt>
                <c:pt idx="3064">
                  <c:v>130.23400000000001</c:v>
                </c:pt>
                <c:pt idx="3065">
                  <c:v>129.3947</c:v>
                </c:pt>
                <c:pt idx="3066">
                  <c:v>128.1935</c:v>
                </c:pt>
                <c:pt idx="3067">
                  <c:v>127.97559999999999</c:v>
                </c:pt>
                <c:pt idx="3068">
                  <c:v>127.25219999999999</c:v>
                </c:pt>
                <c:pt idx="3069">
                  <c:v>128.4418</c:v>
                </c:pt>
                <c:pt idx="3070">
                  <c:v>128.0659</c:v>
                </c:pt>
                <c:pt idx="3071">
                  <c:v>127.35750000000002</c:v>
                </c:pt>
                <c:pt idx="3072">
                  <c:v>129.23389999999998</c:v>
                </c:pt>
                <c:pt idx="3073">
                  <c:v>127.68570000000001</c:v>
                </c:pt>
                <c:pt idx="3074">
                  <c:v>128.50829999999999</c:v>
                </c:pt>
                <c:pt idx="3075">
                  <c:v>128.8699</c:v>
                </c:pt>
                <c:pt idx="3076">
                  <c:v>128.13470000000001</c:v>
                </c:pt>
                <c:pt idx="3077">
                  <c:v>127.9537</c:v>
                </c:pt>
                <c:pt idx="3078">
                  <c:v>127.51559999999999</c:v>
                </c:pt>
                <c:pt idx="3079">
                  <c:v>126.17639999999999</c:v>
                </c:pt>
                <c:pt idx="3080">
                  <c:v>125.85420000000001</c:v>
                </c:pt>
                <c:pt idx="3081">
                  <c:v>125.93259999999999</c:v>
                </c:pt>
                <c:pt idx="3082">
                  <c:v>125.39869999999999</c:v>
                </c:pt>
                <c:pt idx="3083">
                  <c:v>124.8815</c:v>
                </c:pt>
                <c:pt idx="3084">
                  <c:v>124.27040000000001</c:v>
                </c:pt>
                <c:pt idx="3085">
                  <c:v>124.4635</c:v>
                </c:pt>
                <c:pt idx="3086">
                  <c:v>124.27600000000001</c:v>
                </c:pt>
                <c:pt idx="3087">
                  <c:v>124.57100000000001</c:v>
                </c:pt>
                <c:pt idx="3088">
                  <c:v>124.13319999999999</c:v>
                </c:pt>
                <c:pt idx="3089">
                  <c:v>124.0416</c:v>
                </c:pt>
                <c:pt idx="3090">
                  <c:v>123.1473</c:v>
                </c:pt>
                <c:pt idx="3091">
                  <c:v>123.4504</c:v>
                </c:pt>
                <c:pt idx="3092">
                  <c:v>123.84429999999999</c:v>
                </c:pt>
                <c:pt idx="3093">
                  <c:v>123.0356</c:v>
                </c:pt>
                <c:pt idx="3094">
                  <c:v>122.62379999999999</c:v>
                </c:pt>
                <c:pt idx="3095">
                  <c:v>120.03759999999998</c:v>
                </c:pt>
                <c:pt idx="3096">
                  <c:v>120.48779999999999</c:v>
                </c:pt>
                <c:pt idx="3097">
                  <c:v>121.0299</c:v>
                </c:pt>
                <c:pt idx="3098">
                  <c:v>121.01359999999998</c:v>
                </c:pt>
                <c:pt idx="3099">
                  <c:v>120.70959999999999</c:v>
                </c:pt>
                <c:pt idx="3100">
                  <c:v>121.1015</c:v>
                </c:pt>
                <c:pt idx="3101">
                  <c:v>121.1422</c:v>
                </c:pt>
                <c:pt idx="3102">
                  <c:v>120.5197</c:v>
                </c:pt>
                <c:pt idx="3103">
                  <c:v>119.99520000000001</c:v>
                </c:pt>
                <c:pt idx="3104">
                  <c:v>120.2032</c:v>
                </c:pt>
                <c:pt idx="3105">
                  <c:v>120.28699999999999</c:v>
                </c:pt>
                <c:pt idx="3106">
                  <c:v>120.58489999999999</c:v>
                </c:pt>
                <c:pt idx="3107">
                  <c:v>120.16009999999999</c:v>
                </c:pt>
                <c:pt idx="3108">
                  <c:v>120.08920000000001</c:v>
                </c:pt>
                <c:pt idx="3109">
                  <c:v>119.9619</c:v>
                </c:pt>
                <c:pt idx="3110">
                  <c:v>119.68259999999999</c:v>
                </c:pt>
                <c:pt idx="3111">
                  <c:v>119.45030000000001</c:v>
                </c:pt>
                <c:pt idx="3112">
                  <c:v>118.93560000000001</c:v>
                </c:pt>
                <c:pt idx="3113">
                  <c:v>118.93210000000001</c:v>
                </c:pt>
                <c:pt idx="3114">
                  <c:v>118.86350000000002</c:v>
                </c:pt>
                <c:pt idx="3115">
                  <c:v>118.90620000000001</c:v>
                </c:pt>
                <c:pt idx="3116">
                  <c:v>117.5633</c:v>
                </c:pt>
                <c:pt idx="3117">
                  <c:v>117.4242</c:v>
                </c:pt>
                <c:pt idx="3118">
                  <c:v>117.16919999999999</c:v>
                </c:pt>
                <c:pt idx="3119">
                  <c:v>117.78470000000002</c:v>
                </c:pt>
                <c:pt idx="3120">
                  <c:v>117.2615</c:v>
                </c:pt>
                <c:pt idx="3121">
                  <c:v>116.4765</c:v>
                </c:pt>
                <c:pt idx="3122">
                  <c:v>116.32860000000001</c:v>
                </c:pt>
                <c:pt idx="3123">
                  <c:v>116.0498</c:v>
                </c:pt>
                <c:pt idx="3124">
                  <c:v>113.5487</c:v>
                </c:pt>
                <c:pt idx="3125">
                  <c:v>114.93899999999999</c:v>
                </c:pt>
                <c:pt idx="3126">
                  <c:v>115.7289</c:v>
                </c:pt>
                <c:pt idx="3127">
                  <c:v>116.7559</c:v>
                </c:pt>
                <c:pt idx="3128">
                  <c:v>116.45210000000002</c:v>
                </c:pt>
                <c:pt idx="3129">
                  <c:v>116.5445</c:v>
                </c:pt>
                <c:pt idx="3130">
                  <c:v>116.73269999999999</c:v>
                </c:pt>
                <c:pt idx="3131">
                  <c:v>117.08529999999999</c:v>
                </c:pt>
                <c:pt idx="3132">
                  <c:v>118.7363</c:v>
                </c:pt>
                <c:pt idx="3133">
                  <c:v>117.8828</c:v>
                </c:pt>
                <c:pt idx="3134">
                  <c:v>118.5123</c:v>
                </c:pt>
                <c:pt idx="3135">
                  <c:v>118.3582</c:v>
                </c:pt>
                <c:pt idx="3136">
                  <c:v>116.80070000000001</c:v>
                </c:pt>
                <c:pt idx="3137">
                  <c:v>117.97169999999998</c:v>
                </c:pt>
                <c:pt idx="3138">
                  <c:v>116.98740000000001</c:v>
                </c:pt>
                <c:pt idx="3139">
                  <c:v>117.1901</c:v>
                </c:pt>
                <c:pt idx="3140">
                  <c:v>117.2345</c:v>
                </c:pt>
                <c:pt idx="3141">
                  <c:v>117.0804</c:v>
                </c:pt>
                <c:pt idx="3142">
                  <c:v>116.9003</c:v>
                </c:pt>
                <c:pt idx="3143">
                  <c:v>118.5578</c:v>
                </c:pt>
                <c:pt idx="3144">
                  <c:v>118.82329999999999</c:v>
                </c:pt>
                <c:pt idx="3145">
                  <c:v>119.18210000000001</c:v>
                </c:pt>
                <c:pt idx="3146">
                  <c:v>119.039</c:v>
                </c:pt>
                <c:pt idx="3147">
                  <c:v>118.23939999999999</c:v>
                </c:pt>
                <c:pt idx="3148">
                  <c:v>116.94590000000001</c:v>
                </c:pt>
                <c:pt idx="3149">
                  <c:v>116.71450000000002</c:v>
                </c:pt>
                <c:pt idx="3150">
                  <c:v>117.4067</c:v>
                </c:pt>
                <c:pt idx="3151">
                  <c:v>116.41070000000001</c:v>
                </c:pt>
                <c:pt idx="3152">
                  <c:v>117.03559999999999</c:v>
                </c:pt>
                <c:pt idx="3153">
                  <c:v>117.65639999999999</c:v>
                </c:pt>
                <c:pt idx="3154">
                  <c:v>118.27749999999999</c:v>
                </c:pt>
                <c:pt idx="3155">
                  <c:v>117.39109999999999</c:v>
                </c:pt>
                <c:pt idx="3156">
                  <c:v>117.2512</c:v>
                </c:pt>
                <c:pt idx="3157">
                  <c:v>116.98269999999999</c:v>
                </c:pt>
                <c:pt idx="3158">
                  <c:v>117.1276</c:v>
                </c:pt>
                <c:pt idx="3159">
                  <c:v>115.60570000000001</c:v>
                </c:pt>
                <c:pt idx="3160">
                  <c:v>116.25989999999999</c:v>
                </c:pt>
                <c:pt idx="3161">
                  <c:v>116.039</c:v>
                </c:pt>
                <c:pt idx="3162">
                  <c:v>117.82859999999999</c:v>
                </c:pt>
                <c:pt idx="3163">
                  <c:v>117.4282</c:v>
                </c:pt>
                <c:pt idx="3164">
                  <c:v>117.7323</c:v>
                </c:pt>
                <c:pt idx="3165">
                  <c:v>117.72579999999999</c:v>
                </c:pt>
                <c:pt idx="3166">
                  <c:v>118.367</c:v>
                </c:pt>
                <c:pt idx="3167">
                  <c:v>117.93119999999999</c:v>
                </c:pt>
                <c:pt idx="3168">
                  <c:v>118.5714</c:v>
                </c:pt>
                <c:pt idx="3169">
                  <c:v>118.9879</c:v>
                </c:pt>
                <c:pt idx="3170">
                  <c:v>116.98150000000001</c:v>
                </c:pt>
                <c:pt idx="3171">
                  <c:v>116.28229999999999</c:v>
                </c:pt>
                <c:pt idx="3172">
                  <c:v>116.38800000000001</c:v>
                </c:pt>
                <c:pt idx="3173">
                  <c:v>116.49430000000001</c:v>
                </c:pt>
                <c:pt idx="3174">
                  <c:v>116.47540000000001</c:v>
                </c:pt>
                <c:pt idx="3175">
                  <c:v>115.9751</c:v>
                </c:pt>
                <c:pt idx="3176">
                  <c:v>113.6182</c:v>
                </c:pt>
                <c:pt idx="3177">
                  <c:v>113.70910000000001</c:v>
                </c:pt>
                <c:pt idx="3178">
                  <c:v>115.28339999999999</c:v>
                </c:pt>
                <c:pt idx="3179">
                  <c:v>114.3635</c:v>
                </c:pt>
                <c:pt idx="3180">
                  <c:v>114.38200000000001</c:v>
                </c:pt>
                <c:pt idx="3181">
                  <c:v>114.876</c:v>
                </c:pt>
                <c:pt idx="3182">
                  <c:v>115.36699999999999</c:v>
                </c:pt>
                <c:pt idx="3183">
                  <c:v>115.4774</c:v>
                </c:pt>
                <c:pt idx="3184">
                  <c:v>115.4966</c:v>
                </c:pt>
                <c:pt idx="3185">
                  <c:v>115.4901</c:v>
                </c:pt>
                <c:pt idx="3186">
                  <c:v>117.0634</c:v>
                </c:pt>
                <c:pt idx="3187">
                  <c:v>116.38410000000002</c:v>
                </c:pt>
                <c:pt idx="3188">
                  <c:v>116.95</c:v>
                </c:pt>
                <c:pt idx="3189">
                  <c:v>116.476</c:v>
                </c:pt>
                <c:pt idx="3190">
                  <c:v>116.45060000000001</c:v>
                </c:pt>
                <c:pt idx="3191">
                  <c:v>116.78</c:v>
                </c:pt>
                <c:pt idx="3192">
                  <c:v>116.1112</c:v>
                </c:pt>
                <c:pt idx="3193">
                  <c:v>116.4113</c:v>
                </c:pt>
                <c:pt idx="3194">
                  <c:v>116.47460000000001</c:v>
                </c:pt>
                <c:pt idx="3195">
                  <c:v>116.32799999999999</c:v>
                </c:pt>
                <c:pt idx="3196">
                  <c:v>115.83099999999999</c:v>
                </c:pt>
                <c:pt idx="3197">
                  <c:v>115.24220000000001</c:v>
                </c:pt>
                <c:pt idx="3198">
                  <c:v>114.7063</c:v>
                </c:pt>
                <c:pt idx="3199">
                  <c:v>112.28290000000001</c:v>
                </c:pt>
                <c:pt idx="3200">
                  <c:v>113.28339999999999</c:v>
                </c:pt>
                <c:pt idx="3201">
                  <c:v>111.88039999999999</c:v>
                </c:pt>
                <c:pt idx="3202">
                  <c:v>112.99870000000001</c:v>
                </c:pt>
                <c:pt idx="3203">
                  <c:v>111.7822</c:v>
                </c:pt>
                <c:pt idx="3204">
                  <c:v>110.69059999999999</c:v>
                </c:pt>
                <c:pt idx="3205">
                  <c:v>109.19119999999999</c:v>
                </c:pt>
                <c:pt idx="3206">
                  <c:v>109.1759</c:v>
                </c:pt>
                <c:pt idx="3207">
                  <c:v>109.77730000000001</c:v>
                </c:pt>
                <c:pt idx="3208">
                  <c:v>112.13759999999999</c:v>
                </c:pt>
                <c:pt idx="3209">
                  <c:v>113.30210000000001</c:v>
                </c:pt>
                <c:pt idx="3210">
                  <c:v>112.596</c:v>
                </c:pt>
                <c:pt idx="3211">
                  <c:v>111.52329999999999</c:v>
                </c:pt>
                <c:pt idx="3212">
                  <c:v>112.16930000000001</c:v>
                </c:pt>
                <c:pt idx="3213">
                  <c:v>112.19030000000001</c:v>
                </c:pt>
                <c:pt idx="3214">
                  <c:v>111.05050000000001</c:v>
                </c:pt>
                <c:pt idx="3215">
                  <c:v>112.06799999999998</c:v>
                </c:pt>
                <c:pt idx="3216">
                  <c:v>112.18189999999998</c:v>
                </c:pt>
                <c:pt idx="3217">
                  <c:v>111.455</c:v>
                </c:pt>
                <c:pt idx="3218">
                  <c:v>112.16889999999999</c:v>
                </c:pt>
                <c:pt idx="3219">
                  <c:v>112.7548</c:v>
                </c:pt>
                <c:pt idx="3220">
                  <c:v>112.65469999999999</c:v>
                </c:pt>
                <c:pt idx="3221">
                  <c:v>112.7132</c:v>
                </c:pt>
                <c:pt idx="3222">
                  <c:v>111.77379999999999</c:v>
                </c:pt>
                <c:pt idx="3223">
                  <c:v>110.4117</c:v>
                </c:pt>
                <c:pt idx="3224">
                  <c:v>108.7526</c:v>
                </c:pt>
                <c:pt idx="3225">
                  <c:v>109.3379</c:v>
                </c:pt>
                <c:pt idx="3226">
                  <c:v>107.8934</c:v>
                </c:pt>
                <c:pt idx="3227">
                  <c:v>107.9564</c:v>
                </c:pt>
                <c:pt idx="3228">
                  <c:v>109.2341</c:v>
                </c:pt>
                <c:pt idx="3229">
                  <c:v>110.2865</c:v>
                </c:pt>
                <c:pt idx="3230">
                  <c:v>111.3413</c:v>
                </c:pt>
                <c:pt idx="3231">
                  <c:v>110.48750000000001</c:v>
                </c:pt>
                <c:pt idx="3232">
                  <c:v>108.67119999999998</c:v>
                </c:pt>
                <c:pt idx="3233">
                  <c:v>108.46510000000001</c:v>
                </c:pt>
                <c:pt idx="3234">
                  <c:v>108.04649999999999</c:v>
                </c:pt>
                <c:pt idx="3235">
                  <c:v>108.28270000000001</c:v>
                </c:pt>
                <c:pt idx="3236">
                  <c:v>108.13539999999999</c:v>
                </c:pt>
                <c:pt idx="3237">
                  <c:v>107.5909</c:v>
                </c:pt>
                <c:pt idx="3238">
                  <c:v>107.68249999999999</c:v>
                </c:pt>
                <c:pt idx="3239">
                  <c:v>107.9572</c:v>
                </c:pt>
                <c:pt idx="3240">
                  <c:v>106.6691</c:v>
                </c:pt>
                <c:pt idx="3241">
                  <c:v>104.03139999999999</c:v>
                </c:pt>
                <c:pt idx="3242">
                  <c:v>105.3426</c:v>
                </c:pt>
                <c:pt idx="3243">
                  <c:v>104.8621</c:v>
                </c:pt>
                <c:pt idx="3244">
                  <c:v>106.56939999999999</c:v>
                </c:pt>
                <c:pt idx="3245">
                  <c:v>105.78700000000001</c:v>
                </c:pt>
                <c:pt idx="3246">
                  <c:v>105.57859999999999</c:v>
                </c:pt>
                <c:pt idx="3247">
                  <c:v>105.6258</c:v>
                </c:pt>
                <c:pt idx="3248">
                  <c:v>104.08010000000002</c:v>
                </c:pt>
                <c:pt idx="3249">
                  <c:v>106.65830000000001</c:v>
                </c:pt>
                <c:pt idx="3250">
                  <c:v>104.79339999999999</c:v>
                </c:pt>
                <c:pt idx="3251">
                  <c:v>104.1682</c:v>
                </c:pt>
                <c:pt idx="3252">
                  <c:v>105.59240000000001</c:v>
                </c:pt>
                <c:pt idx="3253">
                  <c:v>106.8382</c:v>
                </c:pt>
                <c:pt idx="3254">
                  <c:v>107.34440000000001</c:v>
                </c:pt>
                <c:pt idx="3255">
                  <c:v>107.93770000000001</c:v>
                </c:pt>
                <c:pt idx="3256">
                  <c:v>110.07089999999999</c:v>
                </c:pt>
                <c:pt idx="3257">
                  <c:v>109.4521</c:v>
                </c:pt>
                <c:pt idx="3258">
                  <c:v>109.002</c:v>
                </c:pt>
                <c:pt idx="3259">
                  <c:v>109.2672</c:v>
                </c:pt>
                <c:pt idx="3260">
                  <c:v>111.32770000000001</c:v>
                </c:pt>
                <c:pt idx="3261">
                  <c:v>113.65339999999999</c:v>
                </c:pt>
                <c:pt idx="3262">
                  <c:v>113.50340000000001</c:v>
                </c:pt>
                <c:pt idx="3263">
                  <c:v>114.37049999999999</c:v>
                </c:pt>
                <c:pt idx="3264">
                  <c:v>113.01010000000001</c:v>
                </c:pt>
                <c:pt idx="3265">
                  <c:v>113.74089999999998</c:v>
                </c:pt>
                <c:pt idx="3266">
                  <c:v>113.09949999999999</c:v>
                </c:pt>
                <c:pt idx="3267">
                  <c:v>112.5694</c:v>
                </c:pt>
                <c:pt idx="3268">
                  <c:v>112.18470000000001</c:v>
                </c:pt>
                <c:pt idx="3269">
                  <c:v>111.3402</c:v>
                </c:pt>
                <c:pt idx="3270">
                  <c:v>113.48150000000001</c:v>
                </c:pt>
                <c:pt idx="3271">
                  <c:v>112.994</c:v>
                </c:pt>
                <c:pt idx="3272">
                  <c:v>113.01739999999999</c:v>
                </c:pt>
                <c:pt idx="3273">
                  <c:v>113.2704</c:v>
                </c:pt>
                <c:pt idx="3274">
                  <c:v>111.37010000000001</c:v>
                </c:pt>
                <c:pt idx="3275">
                  <c:v>111.2072</c:v>
                </c:pt>
                <c:pt idx="3276">
                  <c:v>112.3125</c:v>
                </c:pt>
                <c:pt idx="3277">
                  <c:v>110.7945</c:v>
                </c:pt>
                <c:pt idx="3278">
                  <c:v>109.9666</c:v>
                </c:pt>
                <c:pt idx="3279">
                  <c:v>112.4479</c:v>
                </c:pt>
                <c:pt idx="3280">
                  <c:v>112.0698</c:v>
                </c:pt>
                <c:pt idx="3281">
                  <c:v>114.67439999999999</c:v>
                </c:pt>
                <c:pt idx="3282">
                  <c:v>115.29549999999999</c:v>
                </c:pt>
                <c:pt idx="3283">
                  <c:v>113.38339999999999</c:v>
                </c:pt>
                <c:pt idx="3284">
                  <c:v>112.79129999999999</c:v>
                </c:pt>
                <c:pt idx="3285">
                  <c:v>114.12350000000001</c:v>
                </c:pt>
                <c:pt idx="3286">
                  <c:v>115.1982</c:v>
                </c:pt>
                <c:pt idx="3287">
                  <c:v>115.77969999999999</c:v>
                </c:pt>
                <c:pt idx="3288">
                  <c:v>114.7602</c:v>
                </c:pt>
                <c:pt idx="3289">
                  <c:v>114.58550000000001</c:v>
                </c:pt>
                <c:pt idx="3290">
                  <c:v>115.4952</c:v>
                </c:pt>
                <c:pt idx="3291">
                  <c:v>115.38930000000001</c:v>
                </c:pt>
                <c:pt idx="3292">
                  <c:v>116.7457</c:v>
                </c:pt>
                <c:pt idx="3293">
                  <c:v>116.8291</c:v>
                </c:pt>
                <c:pt idx="3294">
                  <c:v>116.31700000000001</c:v>
                </c:pt>
                <c:pt idx="3295">
                  <c:v>116.4614</c:v>
                </c:pt>
                <c:pt idx="3296">
                  <c:v>116.50110000000001</c:v>
                </c:pt>
                <c:pt idx="3297">
                  <c:v>115.19170000000001</c:v>
                </c:pt>
                <c:pt idx="3298">
                  <c:v>115.0565</c:v>
                </c:pt>
                <c:pt idx="3299">
                  <c:v>114.4944</c:v>
                </c:pt>
                <c:pt idx="3300">
                  <c:v>113.12020000000001</c:v>
                </c:pt>
                <c:pt idx="3301">
                  <c:v>112.3126</c:v>
                </c:pt>
                <c:pt idx="3302">
                  <c:v>114.49340000000001</c:v>
                </c:pt>
                <c:pt idx="3303">
                  <c:v>115.26739999999999</c:v>
                </c:pt>
                <c:pt idx="3304">
                  <c:v>115.58999999999999</c:v>
                </c:pt>
                <c:pt idx="3305">
                  <c:v>114.4701</c:v>
                </c:pt>
                <c:pt idx="3306">
                  <c:v>115.3792</c:v>
                </c:pt>
                <c:pt idx="3307">
                  <c:v>115.09139999999999</c:v>
                </c:pt>
                <c:pt idx="3308">
                  <c:v>115.49299999999999</c:v>
                </c:pt>
                <c:pt idx="3309">
                  <c:v>115.50389999999999</c:v>
                </c:pt>
                <c:pt idx="3310">
                  <c:v>115.07300000000001</c:v>
                </c:pt>
                <c:pt idx="3311">
                  <c:v>115.1095</c:v>
                </c:pt>
                <c:pt idx="3312">
                  <c:v>115.4515</c:v>
                </c:pt>
                <c:pt idx="3313">
                  <c:v>114.62289999999999</c:v>
                </c:pt>
                <c:pt idx="3314">
                  <c:v>114.13820000000001</c:v>
                </c:pt>
                <c:pt idx="3315">
                  <c:v>114.374</c:v>
                </c:pt>
                <c:pt idx="3316">
                  <c:v>114.0921</c:v>
                </c:pt>
                <c:pt idx="3317">
                  <c:v>114.2298</c:v>
                </c:pt>
                <c:pt idx="3318">
                  <c:v>113.19950000000001</c:v>
                </c:pt>
                <c:pt idx="3319">
                  <c:v>114.00380000000001</c:v>
                </c:pt>
                <c:pt idx="3320">
                  <c:v>113.55619999999999</c:v>
                </c:pt>
                <c:pt idx="3321">
                  <c:v>113.8244</c:v>
                </c:pt>
                <c:pt idx="3322">
                  <c:v>113.9011</c:v>
                </c:pt>
                <c:pt idx="3323">
                  <c:v>114.0433</c:v>
                </c:pt>
                <c:pt idx="3324">
                  <c:v>112.1007</c:v>
                </c:pt>
                <c:pt idx="3325">
                  <c:v>111.9072</c:v>
                </c:pt>
                <c:pt idx="3326">
                  <c:v>109.75330000000001</c:v>
                </c:pt>
                <c:pt idx="3327">
                  <c:v>109.48169999999999</c:v>
                </c:pt>
                <c:pt idx="3328">
                  <c:v>110.72439999999999</c:v>
                </c:pt>
                <c:pt idx="3329">
                  <c:v>111.8051</c:v>
                </c:pt>
                <c:pt idx="3330">
                  <c:v>110.3917</c:v>
                </c:pt>
                <c:pt idx="3331">
                  <c:v>110.8134</c:v>
                </c:pt>
                <c:pt idx="3332">
                  <c:v>111.49460000000001</c:v>
                </c:pt>
                <c:pt idx="3333">
                  <c:v>110.53919999999999</c:v>
                </c:pt>
                <c:pt idx="3334">
                  <c:v>110.7116</c:v>
                </c:pt>
                <c:pt idx="3335">
                  <c:v>109.87780000000001</c:v>
                </c:pt>
                <c:pt idx="3336">
                  <c:v>109.5804</c:v>
                </c:pt>
                <c:pt idx="3337">
                  <c:v>108.81829999999999</c:v>
                </c:pt>
                <c:pt idx="3338">
                  <c:v>108.4425</c:v>
                </c:pt>
                <c:pt idx="3339">
                  <c:v>108.87519999999999</c:v>
                </c:pt>
                <c:pt idx="3340">
                  <c:v>108.86839999999999</c:v>
                </c:pt>
                <c:pt idx="3341">
                  <c:v>109.25830000000001</c:v>
                </c:pt>
                <c:pt idx="3342">
                  <c:v>107.72630000000001</c:v>
                </c:pt>
                <c:pt idx="3343">
                  <c:v>108.3283</c:v>
                </c:pt>
                <c:pt idx="3344">
                  <c:v>107.7753</c:v>
                </c:pt>
                <c:pt idx="3345">
                  <c:v>108.67869999999999</c:v>
                </c:pt>
                <c:pt idx="3346">
                  <c:v>109.3108</c:v>
                </c:pt>
                <c:pt idx="3347">
                  <c:v>106.8524</c:v>
                </c:pt>
                <c:pt idx="3348">
                  <c:v>106.69170000000001</c:v>
                </c:pt>
                <c:pt idx="3349">
                  <c:v>105.65599999999999</c:v>
                </c:pt>
                <c:pt idx="3350">
                  <c:v>105.68079999999999</c:v>
                </c:pt>
                <c:pt idx="3351">
                  <c:v>104.6536</c:v>
                </c:pt>
                <c:pt idx="3352">
                  <c:v>103.46329999999999</c:v>
                </c:pt>
                <c:pt idx="3353">
                  <c:v>103.9693</c:v>
                </c:pt>
                <c:pt idx="3354">
                  <c:v>102.90919999999998</c:v>
                </c:pt>
                <c:pt idx="3355">
                  <c:v>103.3544</c:v>
                </c:pt>
                <c:pt idx="3356">
                  <c:v>103.62690000000001</c:v>
                </c:pt>
                <c:pt idx="3357">
                  <c:v>102.97380000000001</c:v>
                </c:pt>
                <c:pt idx="3358">
                  <c:v>105.25040000000001</c:v>
                </c:pt>
                <c:pt idx="3359">
                  <c:v>104.1506</c:v>
                </c:pt>
                <c:pt idx="3360">
                  <c:v>106.13239999999999</c:v>
                </c:pt>
                <c:pt idx="3361">
                  <c:v>105.3334</c:v>
                </c:pt>
                <c:pt idx="3362">
                  <c:v>106.6418</c:v>
                </c:pt>
                <c:pt idx="3363">
                  <c:v>107.0133</c:v>
                </c:pt>
                <c:pt idx="3364">
                  <c:v>107.06979999999999</c:v>
                </c:pt>
                <c:pt idx="3365">
                  <c:v>106.7312</c:v>
                </c:pt>
                <c:pt idx="3366">
                  <c:v>105.54600000000001</c:v>
                </c:pt>
                <c:pt idx="3367">
                  <c:v>105.9611</c:v>
                </c:pt>
                <c:pt idx="3368">
                  <c:v>102.74000000000001</c:v>
                </c:pt>
                <c:pt idx="3369">
                  <c:v>102.1743</c:v>
                </c:pt>
                <c:pt idx="3370">
                  <c:v>99.374700000000004</c:v>
                </c:pt>
                <c:pt idx="3371">
                  <c:v>98.716400000000007</c:v>
                </c:pt>
                <c:pt idx="3372">
                  <c:v>98.869100000000003</c:v>
                </c:pt>
                <c:pt idx="3373">
                  <c:v>100.095</c:v>
                </c:pt>
                <c:pt idx="3374">
                  <c:v>100.4423</c:v>
                </c:pt>
                <c:pt idx="3375">
                  <c:v>103.1347</c:v>
                </c:pt>
                <c:pt idx="3376">
                  <c:v>104.27159999999999</c:v>
                </c:pt>
                <c:pt idx="3377">
                  <c:v>105.8532</c:v>
                </c:pt>
                <c:pt idx="3378">
                  <c:v>105.84979999999999</c:v>
                </c:pt>
                <c:pt idx="3379">
                  <c:v>105.99890000000001</c:v>
                </c:pt>
                <c:pt idx="3380">
                  <c:v>106.47070000000001</c:v>
                </c:pt>
                <c:pt idx="3381">
                  <c:v>104.55410000000001</c:v>
                </c:pt>
                <c:pt idx="3382">
                  <c:v>104.93049999999999</c:v>
                </c:pt>
                <c:pt idx="3383">
                  <c:v>106.8633</c:v>
                </c:pt>
                <c:pt idx="3384">
                  <c:v>105.78149999999999</c:v>
                </c:pt>
                <c:pt idx="3385">
                  <c:v>106.16890000000001</c:v>
                </c:pt>
                <c:pt idx="3386">
                  <c:v>106.4867</c:v>
                </c:pt>
                <c:pt idx="3387">
                  <c:v>105.29049999999999</c:v>
                </c:pt>
                <c:pt idx="3388">
                  <c:v>103.92490000000001</c:v>
                </c:pt>
                <c:pt idx="3389">
                  <c:v>106.35239999999999</c:v>
                </c:pt>
                <c:pt idx="3390">
                  <c:v>109.34459999999999</c:v>
                </c:pt>
                <c:pt idx="3391">
                  <c:v>109.471</c:v>
                </c:pt>
                <c:pt idx="3392">
                  <c:v>106.39890000000001</c:v>
                </c:pt>
                <c:pt idx="3393">
                  <c:v>105.93390000000001</c:v>
                </c:pt>
                <c:pt idx="3394">
                  <c:v>106.36019999999999</c:v>
                </c:pt>
                <c:pt idx="3395">
                  <c:v>105.1113</c:v>
                </c:pt>
                <c:pt idx="3396">
                  <c:v>103.19329999999999</c:v>
                </c:pt>
                <c:pt idx="3397">
                  <c:v>104.45040000000002</c:v>
                </c:pt>
                <c:pt idx="3398">
                  <c:v>103.70250000000001</c:v>
                </c:pt>
                <c:pt idx="3399">
                  <c:v>104.25</c:v>
                </c:pt>
                <c:pt idx="3400">
                  <c:v>104.84009999999999</c:v>
                </c:pt>
                <c:pt idx="3401">
                  <c:v>103.6546</c:v>
                </c:pt>
                <c:pt idx="3402">
                  <c:v>104.41240000000001</c:v>
                </c:pt>
                <c:pt idx="3403">
                  <c:v>103.37520000000001</c:v>
                </c:pt>
                <c:pt idx="3404">
                  <c:v>103.4057</c:v>
                </c:pt>
                <c:pt idx="3405">
                  <c:v>101.586</c:v>
                </c:pt>
                <c:pt idx="3406">
                  <c:v>101.30330000000001</c:v>
                </c:pt>
                <c:pt idx="3407">
                  <c:v>97.774000000000001</c:v>
                </c:pt>
                <c:pt idx="3408">
                  <c:v>94.989699999999999</c:v>
                </c:pt>
                <c:pt idx="3409">
                  <c:v>97.611199999999997</c:v>
                </c:pt>
                <c:pt idx="3410">
                  <c:v>98.575599999999994</c:v>
                </c:pt>
                <c:pt idx="3411">
                  <c:v>99.9148</c:v>
                </c:pt>
                <c:pt idx="3412">
                  <c:v>100.33069999999999</c:v>
                </c:pt>
                <c:pt idx="3413">
                  <c:v>101.66889999999999</c:v>
                </c:pt>
                <c:pt idx="3414">
                  <c:v>97.916700000000006</c:v>
                </c:pt>
                <c:pt idx="3415">
                  <c:v>97.527600000000007</c:v>
                </c:pt>
                <c:pt idx="3416">
                  <c:v>97.233199999999997</c:v>
                </c:pt>
                <c:pt idx="3417">
                  <c:v>101.80409999999999</c:v>
                </c:pt>
                <c:pt idx="3418">
                  <c:v>103.0675</c:v>
                </c:pt>
                <c:pt idx="3419">
                  <c:v>101.2526</c:v>
                </c:pt>
                <c:pt idx="3420">
                  <c:v>103.3124</c:v>
                </c:pt>
                <c:pt idx="3421">
                  <c:v>102.67449999999999</c:v>
                </c:pt>
                <c:pt idx="3422">
                  <c:v>100.56270000000001</c:v>
                </c:pt>
                <c:pt idx="3423">
                  <c:v>99.551500000000004</c:v>
                </c:pt>
                <c:pt idx="3424">
                  <c:v>98.775300000000001</c:v>
                </c:pt>
                <c:pt idx="3425">
                  <c:v>100.4234</c:v>
                </c:pt>
                <c:pt idx="3426">
                  <c:v>102.77030000000001</c:v>
                </c:pt>
                <c:pt idx="3427">
                  <c:v>102.35650000000001</c:v>
                </c:pt>
                <c:pt idx="3428">
                  <c:v>99.244799999999998</c:v>
                </c:pt>
                <c:pt idx="3429">
                  <c:v>98.392200000000003</c:v>
                </c:pt>
                <c:pt idx="3430">
                  <c:v>101.88950000000001</c:v>
                </c:pt>
                <c:pt idx="3431">
                  <c:v>104.22290000000001</c:v>
                </c:pt>
                <c:pt idx="3432">
                  <c:v>103.77449999999999</c:v>
                </c:pt>
                <c:pt idx="3433">
                  <c:v>101.29040000000001</c:v>
                </c:pt>
                <c:pt idx="3434">
                  <c:v>98.683599999999998</c:v>
                </c:pt>
                <c:pt idx="3435">
                  <c:v>98.747</c:v>
                </c:pt>
                <c:pt idx="3436">
                  <c:v>100</c:v>
                </c:pt>
              </c:numCache>
            </c:numRef>
          </c:val>
          <c:smooth val="0"/>
          <c:extLst>
            <c:ext xmlns:c16="http://schemas.microsoft.com/office/drawing/2014/chart" uri="{C3380CC4-5D6E-409C-BE32-E72D297353CC}">
              <c16:uniqueId val="{00000001-0505-4D7B-A492-71326C1B44F3}"/>
            </c:ext>
          </c:extLst>
        </c:ser>
        <c:dLbls>
          <c:showLegendKey val="0"/>
          <c:showVal val="0"/>
          <c:showCatName val="0"/>
          <c:showSerName val="0"/>
          <c:showPercent val="0"/>
          <c:showBubbleSize val="0"/>
        </c:dLbls>
        <c:smooth val="0"/>
        <c:axId val="2072077056"/>
        <c:axId val="2072077536"/>
      </c:lineChart>
      <c:dateAx>
        <c:axId val="2072077056"/>
        <c:scaling>
          <c:orientation val="minMax"/>
        </c:scaling>
        <c:delete val="0"/>
        <c:axPos val="b"/>
        <c:numFmt formatCode="m/d/yy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072077536"/>
        <c:crosses val="autoZero"/>
        <c:auto val="1"/>
        <c:lblOffset val="100"/>
        <c:baseTimeUnit val="days"/>
      </c:dateAx>
      <c:valAx>
        <c:axId val="2072077536"/>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07207705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7621272145322426E-2"/>
          <c:y val="0.10755507910578314"/>
          <c:w val="0.52744361111111115"/>
          <c:h val="0.84343370630799508"/>
        </c:manualLayout>
      </c:layout>
      <c:doughnutChart>
        <c:varyColors val="1"/>
        <c:ser>
          <c:idx val="0"/>
          <c:order val="0"/>
          <c:tx>
            <c:strRef>
              <c:f>Sheet1!$C$1</c:f>
              <c:strCache>
                <c:ptCount val="1"/>
                <c:pt idx="0">
                  <c:v>Sales</c:v>
                </c:pt>
              </c:strCache>
            </c:strRef>
          </c:tx>
          <c:spPr>
            <a:solidFill>
              <a:schemeClr val="bg1"/>
            </a:solidFill>
            <a:ln>
              <a:noFill/>
            </a:ln>
          </c:spPr>
          <c:dPt>
            <c:idx val="0"/>
            <c:bubble3D val="0"/>
            <c:spPr>
              <a:solidFill>
                <a:schemeClr val="bg1"/>
              </a:solidFill>
              <a:ln w="19050">
                <a:noFill/>
              </a:ln>
              <a:effectLst/>
            </c:spPr>
            <c:extLst>
              <c:ext xmlns:c16="http://schemas.microsoft.com/office/drawing/2014/chart" uri="{C3380CC4-5D6E-409C-BE32-E72D297353CC}">
                <c16:uniqueId val="{00000001-8213-4DE0-80B9-E75DE445D411}"/>
              </c:ext>
            </c:extLst>
          </c:dPt>
          <c:dPt>
            <c:idx val="1"/>
            <c:bubble3D val="0"/>
            <c:spPr>
              <a:solidFill>
                <a:schemeClr val="accent2"/>
              </a:solidFill>
              <a:ln w="19050">
                <a:noFill/>
              </a:ln>
              <a:effectLst/>
            </c:spPr>
            <c:extLst>
              <c:ext xmlns:c16="http://schemas.microsoft.com/office/drawing/2014/chart" uri="{C3380CC4-5D6E-409C-BE32-E72D297353CC}">
                <c16:uniqueId val="{00000003-8213-4DE0-80B9-E75DE445D411}"/>
              </c:ext>
            </c:extLst>
          </c:dPt>
          <c:dPt>
            <c:idx val="2"/>
            <c:bubble3D val="0"/>
            <c:spPr>
              <a:solidFill>
                <a:schemeClr val="bg1"/>
              </a:solidFill>
              <a:ln w="19050">
                <a:noFill/>
              </a:ln>
              <a:effectLst/>
            </c:spPr>
            <c:extLst>
              <c:ext xmlns:c16="http://schemas.microsoft.com/office/drawing/2014/chart" uri="{C3380CC4-5D6E-409C-BE32-E72D297353CC}">
                <c16:uniqueId val="{00000005-8213-4DE0-80B9-E75DE445D411}"/>
              </c:ext>
            </c:extLst>
          </c:dPt>
          <c:val>
            <c:numRef>
              <c:f>Sheet1!$C$2:$C$4</c:f>
              <c:numCache>
                <c:formatCode>#,##0.0</c:formatCode>
                <c:ptCount val="3"/>
                <c:pt idx="0">
                  <c:v>864.9</c:v>
                </c:pt>
                <c:pt idx="1">
                  <c:v>1027</c:v>
                </c:pt>
                <c:pt idx="2">
                  <c:v>963.1</c:v>
                </c:pt>
              </c:numCache>
            </c:numRef>
          </c:val>
          <c:extLst>
            <c:ext xmlns:c15="http://schemas.microsoft.com/office/drawing/2012/chart" uri="{02D57815-91ED-43cb-92C2-25804820EDAC}">
              <c15:filteredCategoryTitle>
                <c15:cat>
                  <c:multiLvlStrRef>
                    <c:extLst>
                      <c:ext uri="{02D57815-91ED-43cb-92C2-25804820EDAC}">
                        <c15:formulaRef>
                          <c15:sqref>Sheet1!#REF!</c15:sqref>
                        </c15:formulaRef>
                      </c:ext>
                    </c:extLst>
                  </c:multiLvlStrRef>
                </c15:cat>
              </c15:filteredCategoryTitle>
            </c:ext>
            <c:ext xmlns:c16="http://schemas.microsoft.com/office/drawing/2014/chart" uri="{C3380CC4-5D6E-409C-BE32-E72D297353CC}">
              <c16:uniqueId val="{00000006-8213-4DE0-80B9-E75DE445D411}"/>
            </c:ext>
          </c:extLst>
        </c:ser>
        <c:dLbls>
          <c:showLegendKey val="0"/>
          <c:showVal val="0"/>
          <c:showCatName val="0"/>
          <c:showSerName val="0"/>
          <c:showPercent val="0"/>
          <c:showBubbleSize val="0"/>
          <c:showLeaderLines val="1"/>
        </c:dLbls>
        <c:firstSliceAng val="0"/>
        <c:holeSize val="70"/>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7621272145322426E-2"/>
          <c:y val="0.10755507910578314"/>
          <c:w val="0.52744361111111115"/>
          <c:h val="0.84343370630799508"/>
        </c:manualLayout>
      </c:layout>
      <c:doughnutChart>
        <c:varyColors val="1"/>
        <c:ser>
          <c:idx val="0"/>
          <c:order val="0"/>
          <c:tx>
            <c:strRef>
              <c:f>Sheet1!$C$1</c:f>
              <c:strCache>
                <c:ptCount val="1"/>
                <c:pt idx="0">
                  <c:v>Sales</c:v>
                </c:pt>
              </c:strCache>
            </c:strRef>
          </c:tx>
          <c:spPr>
            <a:solidFill>
              <a:schemeClr val="bg1"/>
            </a:solidFill>
            <a:ln>
              <a:noFill/>
            </a:ln>
          </c:spPr>
          <c:dPt>
            <c:idx val="0"/>
            <c:bubble3D val="0"/>
            <c:spPr>
              <a:solidFill>
                <a:schemeClr val="bg1"/>
              </a:solidFill>
              <a:ln w="19050">
                <a:noFill/>
              </a:ln>
              <a:effectLst/>
            </c:spPr>
            <c:extLst>
              <c:ext xmlns:c16="http://schemas.microsoft.com/office/drawing/2014/chart" uri="{C3380CC4-5D6E-409C-BE32-E72D297353CC}">
                <c16:uniqueId val="{00000001-52C8-4CC9-B5AB-DAD0CB0861CE}"/>
              </c:ext>
            </c:extLst>
          </c:dPt>
          <c:dPt>
            <c:idx val="1"/>
            <c:bubble3D val="0"/>
            <c:spPr>
              <a:solidFill>
                <a:schemeClr val="bg1"/>
              </a:solidFill>
              <a:ln w="19050">
                <a:noFill/>
              </a:ln>
              <a:effectLst/>
            </c:spPr>
            <c:extLst>
              <c:ext xmlns:c16="http://schemas.microsoft.com/office/drawing/2014/chart" uri="{C3380CC4-5D6E-409C-BE32-E72D297353CC}">
                <c16:uniqueId val="{00000003-52C8-4CC9-B5AB-DAD0CB0861CE}"/>
              </c:ext>
            </c:extLst>
          </c:dPt>
          <c:dPt>
            <c:idx val="2"/>
            <c:bubble3D val="0"/>
            <c:spPr>
              <a:solidFill>
                <a:schemeClr val="accent4"/>
              </a:solidFill>
              <a:ln w="19050">
                <a:noFill/>
              </a:ln>
              <a:effectLst/>
            </c:spPr>
            <c:extLst>
              <c:ext xmlns:c16="http://schemas.microsoft.com/office/drawing/2014/chart" uri="{C3380CC4-5D6E-409C-BE32-E72D297353CC}">
                <c16:uniqueId val="{00000005-52C8-4CC9-B5AB-DAD0CB0861CE}"/>
              </c:ext>
            </c:extLst>
          </c:dPt>
          <c:dPt>
            <c:idx val="3"/>
            <c:bubble3D val="0"/>
            <c:spPr>
              <a:solidFill>
                <a:schemeClr val="bg1"/>
              </a:solidFill>
              <a:ln w="19050">
                <a:noFill/>
              </a:ln>
              <a:effectLst/>
            </c:spPr>
            <c:extLst>
              <c:ext xmlns:c16="http://schemas.microsoft.com/office/drawing/2014/chart" uri="{C3380CC4-5D6E-409C-BE32-E72D297353CC}">
                <c16:uniqueId val="{00000007-52C8-4CC9-B5AB-DAD0CB0861CE}"/>
              </c:ext>
            </c:extLst>
          </c:dPt>
          <c:val>
            <c:numRef>
              <c:f>Sheet1!$C$2:$C$5</c:f>
              <c:numCache>
                <c:formatCode>#,##0.0</c:formatCode>
                <c:ptCount val="4"/>
                <c:pt idx="0">
                  <c:v>864.9</c:v>
                </c:pt>
                <c:pt idx="1">
                  <c:v>1027</c:v>
                </c:pt>
                <c:pt idx="2">
                  <c:v>963.1</c:v>
                </c:pt>
                <c:pt idx="3">
                  <c:v>-64.699999999999818</c:v>
                </c:pt>
              </c:numCache>
            </c:numRef>
          </c:val>
          <c:extLst>
            <c:ext xmlns:c15="http://schemas.microsoft.com/office/drawing/2012/chart" uri="{02D57815-91ED-43cb-92C2-25804820EDAC}">
              <c15:filteredCategoryTitle>
                <c15:cat>
                  <c:multiLvlStrRef>
                    <c:extLst>
                      <c:ext uri="{02D57815-91ED-43cb-92C2-25804820EDAC}">
                        <c15:formulaRef>
                          <c15:sqref>Sheet1!#REF!</c15:sqref>
                        </c15:formulaRef>
                      </c:ext>
                    </c:extLst>
                  </c:multiLvlStrRef>
                </c15:cat>
              </c15:filteredCategoryTitle>
            </c:ext>
            <c:ext xmlns:c16="http://schemas.microsoft.com/office/drawing/2014/chart" uri="{C3380CC4-5D6E-409C-BE32-E72D297353CC}">
              <c16:uniqueId val="{00000008-52C8-4CC9-B5AB-DAD0CB0861CE}"/>
            </c:ext>
          </c:extLst>
        </c:ser>
        <c:dLbls>
          <c:showLegendKey val="0"/>
          <c:showVal val="0"/>
          <c:showCatName val="0"/>
          <c:showSerName val="0"/>
          <c:showPercent val="0"/>
          <c:showBubbleSize val="0"/>
          <c:showLeaderLines val="1"/>
        </c:dLbls>
        <c:firstSliceAng val="0"/>
        <c:holeSize val="70"/>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7621272145322426E-2"/>
          <c:y val="0.10755507910578314"/>
          <c:w val="0.52744361111111115"/>
          <c:h val="0.84343370630799508"/>
        </c:manualLayout>
      </c:layout>
      <c:doughnutChart>
        <c:varyColors val="1"/>
        <c:ser>
          <c:idx val="0"/>
          <c:order val="0"/>
          <c:tx>
            <c:strRef>
              <c:f>Sheet1!$C$1</c:f>
              <c:strCache>
                <c:ptCount val="1"/>
                <c:pt idx="0">
                  <c:v>Sales</c:v>
                </c:pt>
              </c:strCache>
            </c:strRef>
          </c:tx>
          <c:spPr>
            <a:ln>
              <a:noFill/>
            </a:ln>
          </c:spPr>
          <c:dPt>
            <c:idx val="0"/>
            <c:bubble3D val="0"/>
            <c:spPr>
              <a:solidFill>
                <a:schemeClr val="accent3"/>
              </a:solidFill>
              <a:ln w="19050">
                <a:noFill/>
              </a:ln>
              <a:effectLst/>
            </c:spPr>
            <c:extLst>
              <c:ext xmlns:c16="http://schemas.microsoft.com/office/drawing/2014/chart" uri="{C3380CC4-5D6E-409C-BE32-E72D297353CC}">
                <c16:uniqueId val="{00000001-7BFC-431D-AF65-D5C3215E35DF}"/>
              </c:ext>
            </c:extLst>
          </c:dPt>
          <c:dPt>
            <c:idx val="1"/>
            <c:bubble3D val="0"/>
            <c:spPr>
              <a:solidFill>
                <a:schemeClr val="bg1"/>
              </a:solidFill>
              <a:ln w="19050">
                <a:noFill/>
              </a:ln>
              <a:effectLst/>
            </c:spPr>
            <c:extLst>
              <c:ext xmlns:c16="http://schemas.microsoft.com/office/drawing/2014/chart" uri="{C3380CC4-5D6E-409C-BE32-E72D297353CC}">
                <c16:uniqueId val="{00000003-7BFC-431D-AF65-D5C3215E35DF}"/>
              </c:ext>
            </c:extLst>
          </c:dPt>
          <c:dPt>
            <c:idx val="2"/>
            <c:bubble3D val="0"/>
            <c:spPr>
              <a:solidFill>
                <a:schemeClr val="bg1"/>
              </a:solidFill>
              <a:ln w="19050">
                <a:noFill/>
              </a:ln>
              <a:effectLst/>
            </c:spPr>
            <c:extLst>
              <c:ext xmlns:c16="http://schemas.microsoft.com/office/drawing/2014/chart" uri="{C3380CC4-5D6E-409C-BE32-E72D297353CC}">
                <c16:uniqueId val="{00000005-7BFC-431D-AF65-D5C3215E35DF}"/>
              </c:ext>
            </c:extLst>
          </c:dPt>
          <c:dPt>
            <c:idx val="3"/>
            <c:bubble3D val="0"/>
            <c:spPr>
              <a:solidFill>
                <a:schemeClr val="bg1"/>
              </a:solidFill>
              <a:ln w="19050">
                <a:noFill/>
              </a:ln>
              <a:effectLst/>
            </c:spPr>
            <c:extLst>
              <c:ext xmlns:c16="http://schemas.microsoft.com/office/drawing/2014/chart" uri="{C3380CC4-5D6E-409C-BE32-E72D297353CC}">
                <c16:uniqueId val="{00000007-7BFC-431D-AF65-D5C3215E35DF}"/>
              </c:ext>
            </c:extLst>
          </c:dPt>
          <c:val>
            <c:numRef>
              <c:f>Sheet1!$C$2:$C$5</c:f>
              <c:numCache>
                <c:formatCode>#,##0.0</c:formatCode>
                <c:ptCount val="4"/>
                <c:pt idx="0">
                  <c:v>864.9</c:v>
                </c:pt>
                <c:pt idx="1">
                  <c:v>1027</c:v>
                </c:pt>
                <c:pt idx="2">
                  <c:v>963.1</c:v>
                </c:pt>
                <c:pt idx="3">
                  <c:v>-64.699999999999818</c:v>
                </c:pt>
              </c:numCache>
            </c:numRef>
          </c:val>
          <c:extLst>
            <c:ext xmlns:c15="http://schemas.microsoft.com/office/drawing/2012/chart" uri="{02D57815-91ED-43cb-92C2-25804820EDAC}">
              <c15:filteredCategoryTitle>
                <c15:cat>
                  <c:multiLvlStrRef>
                    <c:extLst>
                      <c:ext uri="{02D57815-91ED-43cb-92C2-25804820EDAC}">
                        <c15:formulaRef>
                          <c15:sqref>Sheet1!#REF!</c15:sqref>
                        </c15:formulaRef>
                      </c:ext>
                    </c:extLst>
                  </c:multiLvlStrRef>
                </c15:cat>
              </c15:filteredCategoryTitle>
            </c:ext>
            <c:ext xmlns:c16="http://schemas.microsoft.com/office/drawing/2014/chart" uri="{C3380CC4-5D6E-409C-BE32-E72D297353CC}">
              <c16:uniqueId val="{00000008-7BFC-431D-AF65-D5C3215E35DF}"/>
            </c:ext>
          </c:extLst>
        </c:ser>
        <c:dLbls>
          <c:showLegendKey val="0"/>
          <c:showVal val="0"/>
          <c:showCatName val="0"/>
          <c:showSerName val="0"/>
          <c:showPercent val="0"/>
          <c:showBubbleSize val="0"/>
          <c:showLeaderLines val="1"/>
        </c:dLbls>
        <c:firstSliceAng val="0"/>
        <c:holeSize val="70"/>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spPr>
            <a:ln w="28575" cap="rnd">
              <a:solidFill>
                <a:schemeClr val="accent1"/>
              </a:solidFill>
              <a:round/>
            </a:ln>
            <a:effectLst/>
          </c:spPr>
          <c:marker>
            <c:symbol val="none"/>
          </c:marker>
          <c:cat>
            <c:numRef>
              <c:f>'Watsco - Share price and chart'!$A$28:$A$2073</c:f>
              <c:numCache>
                <c:formatCode>m/d/yyyy</c:formatCode>
                <c:ptCount val="2046"/>
                <c:pt idx="0">
                  <c:v>42775</c:v>
                </c:pt>
                <c:pt idx="1">
                  <c:v>42776</c:v>
                </c:pt>
                <c:pt idx="2">
                  <c:v>42779</c:v>
                </c:pt>
                <c:pt idx="3">
                  <c:v>42780</c:v>
                </c:pt>
                <c:pt idx="4">
                  <c:v>42781</c:v>
                </c:pt>
                <c:pt idx="5">
                  <c:v>42782</c:v>
                </c:pt>
                <c:pt idx="6">
                  <c:v>42783</c:v>
                </c:pt>
                <c:pt idx="7">
                  <c:v>42787</c:v>
                </c:pt>
                <c:pt idx="8">
                  <c:v>42788</c:v>
                </c:pt>
                <c:pt idx="9">
                  <c:v>42789</c:v>
                </c:pt>
                <c:pt idx="10">
                  <c:v>42790</c:v>
                </c:pt>
                <c:pt idx="11">
                  <c:v>42793</c:v>
                </c:pt>
                <c:pt idx="12">
                  <c:v>42794</c:v>
                </c:pt>
                <c:pt idx="13">
                  <c:v>42795</c:v>
                </c:pt>
                <c:pt idx="14">
                  <c:v>42796</c:v>
                </c:pt>
                <c:pt idx="15">
                  <c:v>42797</c:v>
                </c:pt>
                <c:pt idx="16">
                  <c:v>42800</c:v>
                </c:pt>
                <c:pt idx="17">
                  <c:v>42801</c:v>
                </c:pt>
                <c:pt idx="18">
                  <c:v>42802</c:v>
                </c:pt>
                <c:pt idx="19">
                  <c:v>42803</c:v>
                </c:pt>
                <c:pt idx="20">
                  <c:v>42804</c:v>
                </c:pt>
                <c:pt idx="21">
                  <c:v>42807</c:v>
                </c:pt>
                <c:pt idx="22">
                  <c:v>42808</c:v>
                </c:pt>
                <c:pt idx="23">
                  <c:v>42809</c:v>
                </c:pt>
                <c:pt idx="24">
                  <c:v>42810</c:v>
                </c:pt>
                <c:pt idx="25">
                  <c:v>42811</c:v>
                </c:pt>
                <c:pt idx="26">
                  <c:v>42814</c:v>
                </c:pt>
                <c:pt idx="27">
                  <c:v>42815</c:v>
                </c:pt>
                <c:pt idx="28">
                  <c:v>42816</c:v>
                </c:pt>
                <c:pt idx="29">
                  <c:v>42817</c:v>
                </c:pt>
                <c:pt idx="30">
                  <c:v>42818</c:v>
                </c:pt>
                <c:pt idx="31">
                  <c:v>42821</c:v>
                </c:pt>
                <c:pt idx="32">
                  <c:v>42822</c:v>
                </c:pt>
                <c:pt idx="33">
                  <c:v>42823</c:v>
                </c:pt>
                <c:pt idx="34">
                  <c:v>42824</c:v>
                </c:pt>
                <c:pt idx="35">
                  <c:v>42825</c:v>
                </c:pt>
                <c:pt idx="36">
                  <c:v>42828</c:v>
                </c:pt>
                <c:pt idx="37">
                  <c:v>42829</c:v>
                </c:pt>
                <c:pt idx="38">
                  <c:v>42830</c:v>
                </c:pt>
                <c:pt idx="39">
                  <c:v>42831</c:v>
                </c:pt>
                <c:pt idx="40">
                  <c:v>42832</c:v>
                </c:pt>
                <c:pt idx="41">
                  <c:v>42835</c:v>
                </c:pt>
                <c:pt idx="42">
                  <c:v>42836</c:v>
                </c:pt>
                <c:pt idx="43">
                  <c:v>42837</c:v>
                </c:pt>
                <c:pt idx="44">
                  <c:v>42838</c:v>
                </c:pt>
                <c:pt idx="45">
                  <c:v>42842</c:v>
                </c:pt>
                <c:pt idx="46">
                  <c:v>42843</c:v>
                </c:pt>
                <c:pt idx="47">
                  <c:v>42844</c:v>
                </c:pt>
                <c:pt idx="48">
                  <c:v>42845</c:v>
                </c:pt>
                <c:pt idx="49">
                  <c:v>42846</c:v>
                </c:pt>
                <c:pt idx="50">
                  <c:v>42849</c:v>
                </c:pt>
                <c:pt idx="51">
                  <c:v>42850</c:v>
                </c:pt>
                <c:pt idx="52">
                  <c:v>42851</c:v>
                </c:pt>
                <c:pt idx="53">
                  <c:v>42852</c:v>
                </c:pt>
                <c:pt idx="54">
                  <c:v>42853</c:v>
                </c:pt>
                <c:pt idx="55">
                  <c:v>42856</c:v>
                </c:pt>
                <c:pt idx="56">
                  <c:v>42857</c:v>
                </c:pt>
                <c:pt idx="57">
                  <c:v>42858</c:v>
                </c:pt>
                <c:pt idx="58">
                  <c:v>42859</c:v>
                </c:pt>
                <c:pt idx="59">
                  <c:v>42860</c:v>
                </c:pt>
                <c:pt idx="60">
                  <c:v>42863</c:v>
                </c:pt>
                <c:pt idx="61">
                  <c:v>42864</c:v>
                </c:pt>
                <c:pt idx="62">
                  <c:v>42865</c:v>
                </c:pt>
                <c:pt idx="63">
                  <c:v>42866</c:v>
                </c:pt>
                <c:pt idx="64">
                  <c:v>42867</c:v>
                </c:pt>
                <c:pt idx="65">
                  <c:v>42870</c:v>
                </c:pt>
                <c:pt idx="66">
                  <c:v>42871</c:v>
                </c:pt>
                <c:pt idx="67">
                  <c:v>42872</c:v>
                </c:pt>
                <c:pt idx="68">
                  <c:v>42873</c:v>
                </c:pt>
                <c:pt idx="69">
                  <c:v>42874</c:v>
                </c:pt>
                <c:pt idx="70">
                  <c:v>42877</c:v>
                </c:pt>
                <c:pt idx="71">
                  <c:v>42878</c:v>
                </c:pt>
                <c:pt idx="72">
                  <c:v>42879</c:v>
                </c:pt>
                <c:pt idx="73">
                  <c:v>42880</c:v>
                </c:pt>
                <c:pt idx="74">
                  <c:v>42881</c:v>
                </c:pt>
                <c:pt idx="75">
                  <c:v>42885</c:v>
                </c:pt>
                <c:pt idx="76">
                  <c:v>42886</c:v>
                </c:pt>
                <c:pt idx="77">
                  <c:v>42887</c:v>
                </c:pt>
                <c:pt idx="78">
                  <c:v>42888</c:v>
                </c:pt>
                <c:pt idx="79">
                  <c:v>42891</c:v>
                </c:pt>
                <c:pt idx="80">
                  <c:v>42892</c:v>
                </c:pt>
                <c:pt idx="81">
                  <c:v>42893</c:v>
                </c:pt>
                <c:pt idx="82">
                  <c:v>42894</c:v>
                </c:pt>
                <c:pt idx="83">
                  <c:v>42895</c:v>
                </c:pt>
                <c:pt idx="84">
                  <c:v>42898</c:v>
                </c:pt>
                <c:pt idx="85">
                  <c:v>42899</c:v>
                </c:pt>
                <c:pt idx="86">
                  <c:v>42900</c:v>
                </c:pt>
                <c:pt idx="87">
                  <c:v>42901</c:v>
                </c:pt>
                <c:pt idx="88">
                  <c:v>42902</c:v>
                </c:pt>
                <c:pt idx="89">
                  <c:v>42905</c:v>
                </c:pt>
                <c:pt idx="90">
                  <c:v>42906</c:v>
                </c:pt>
                <c:pt idx="91">
                  <c:v>42907</c:v>
                </c:pt>
                <c:pt idx="92">
                  <c:v>42908</c:v>
                </c:pt>
                <c:pt idx="93">
                  <c:v>42909</c:v>
                </c:pt>
                <c:pt idx="94">
                  <c:v>42912</c:v>
                </c:pt>
                <c:pt idx="95">
                  <c:v>42913</c:v>
                </c:pt>
                <c:pt idx="96">
                  <c:v>42914</c:v>
                </c:pt>
                <c:pt idx="97">
                  <c:v>42915</c:v>
                </c:pt>
                <c:pt idx="98">
                  <c:v>42916</c:v>
                </c:pt>
                <c:pt idx="99">
                  <c:v>42919</c:v>
                </c:pt>
                <c:pt idx="100">
                  <c:v>42921</c:v>
                </c:pt>
                <c:pt idx="101">
                  <c:v>42922</c:v>
                </c:pt>
                <c:pt idx="102">
                  <c:v>42923</c:v>
                </c:pt>
                <c:pt idx="103">
                  <c:v>42926</c:v>
                </c:pt>
                <c:pt idx="104">
                  <c:v>42927</c:v>
                </c:pt>
                <c:pt idx="105">
                  <c:v>42928</c:v>
                </c:pt>
                <c:pt idx="106">
                  <c:v>42929</c:v>
                </c:pt>
                <c:pt idx="107">
                  <c:v>42930</c:v>
                </c:pt>
                <c:pt idx="108">
                  <c:v>42933</c:v>
                </c:pt>
                <c:pt idx="109">
                  <c:v>42934</c:v>
                </c:pt>
                <c:pt idx="110">
                  <c:v>42935</c:v>
                </c:pt>
                <c:pt idx="111">
                  <c:v>42936</c:v>
                </c:pt>
                <c:pt idx="112">
                  <c:v>42937</c:v>
                </c:pt>
                <c:pt idx="113">
                  <c:v>42940</c:v>
                </c:pt>
                <c:pt idx="114">
                  <c:v>42941</c:v>
                </c:pt>
                <c:pt idx="115">
                  <c:v>42942</c:v>
                </c:pt>
                <c:pt idx="116">
                  <c:v>42943</c:v>
                </c:pt>
                <c:pt idx="117">
                  <c:v>42944</c:v>
                </c:pt>
                <c:pt idx="118">
                  <c:v>42947</c:v>
                </c:pt>
                <c:pt idx="119">
                  <c:v>42948</c:v>
                </c:pt>
                <c:pt idx="120">
                  <c:v>42949</c:v>
                </c:pt>
                <c:pt idx="121">
                  <c:v>42950</c:v>
                </c:pt>
                <c:pt idx="122">
                  <c:v>42951</c:v>
                </c:pt>
                <c:pt idx="123">
                  <c:v>42954</c:v>
                </c:pt>
                <c:pt idx="124">
                  <c:v>42955</c:v>
                </c:pt>
                <c:pt idx="125">
                  <c:v>42956</c:v>
                </c:pt>
                <c:pt idx="126">
                  <c:v>42957</c:v>
                </c:pt>
                <c:pt idx="127">
                  <c:v>42958</c:v>
                </c:pt>
                <c:pt idx="128">
                  <c:v>42961</c:v>
                </c:pt>
                <c:pt idx="129">
                  <c:v>42962</c:v>
                </c:pt>
                <c:pt idx="130">
                  <c:v>42963</c:v>
                </c:pt>
                <c:pt idx="131">
                  <c:v>42964</c:v>
                </c:pt>
                <c:pt idx="132">
                  <c:v>42965</c:v>
                </c:pt>
                <c:pt idx="133">
                  <c:v>42968</c:v>
                </c:pt>
                <c:pt idx="134">
                  <c:v>42969</c:v>
                </c:pt>
                <c:pt idx="135">
                  <c:v>42970</c:v>
                </c:pt>
                <c:pt idx="136">
                  <c:v>42971</c:v>
                </c:pt>
                <c:pt idx="137">
                  <c:v>42972</c:v>
                </c:pt>
                <c:pt idx="138">
                  <c:v>42975</c:v>
                </c:pt>
                <c:pt idx="139">
                  <c:v>42976</c:v>
                </c:pt>
                <c:pt idx="140">
                  <c:v>42977</c:v>
                </c:pt>
                <c:pt idx="141">
                  <c:v>42978</c:v>
                </c:pt>
                <c:pt idx="142">
                  <c:v>42979</c:v>
                </c:pt>
                <c:pt idx="143">
                  <c:v>42983</c:v>
                </c:pt>
                <c:pt idx="144">
                  <c:v>42984</c:v>
                </c:pt>
                <c:pt idx="145">
                  <c:v>42985</c:v>
                </c:pt>
                <c:pt idx="146">
                  <c:v>42986</c:v>
                </c:pt>
                <c:pt idx="147">
                  <c:v>42989</c:v>
                </c:pt>
                <c:pt idx="148">
                  <c:v>42990</c:v>
                </c:pt>
                <c:pt idx="149">
                  <c:v>42991</c:v>
                </c:pt>
                <c:pt idx="150">
                  <c:v>42992</c:v>
                </c:pt>
                <c:pt idx="151">
                  <c:v>42993</c:v>
                </c:pt>
                <c:pt idx="152">
                  <c:v>42996</c:v>
                </c:pt>
                <c:pt idx="153">
                  <c:v>42997</c:v>
                </c:pt>
                <c:pt idx="154">
                  <c:v>42998</c:v>
                </c:pt>
                <c:pt idx="155">
                  <c:v>42999</c:v>
                </c:pt>
                <c:pt idx="156">
                  <c:v>43000</c:v>
                </c:pt>
                <c:pt idx="157">
                  <c:v>43003</c:v>
                </c:pt>
                <c:pt idx="158">
                  <c:v>43004</c:v>
                </c:pt>
                <c:pt idx="159">
                  <c:v>43005</c:v>
                </c:pt>
                <c:pt idx="160">
                  <c:v>43006</c:v>
                </c:pt>
                <c:pt idx="161">
                  <c:v>43007</c:v>
                </c:pt>
                <c:pt idx="162">
                  <c:v>43010</c:v>
                </c:pt>
                <c:pt idx="163">
                  <c:v>43011</c:v>
                </c:pt>
                <c:pt idx="164">
                  <c:v>43012</c:v>
                </c:pt>
                <c:pt idx="165">
                  <c:v>43013</c:v>
                </c:pt>
                <c:pt idx="166">
                  <c:v>43014</c:v>
                </c:pt>
                <c:pt idx="167">
                  <c:v>43017</c:v>
                </c:pt>
                <c:pt idx="168">
                  <c:v>43018</c:v>
                </c:pt>
                <c:pt idx="169">
                  <c:v>43019</c:v>
                </c:pt>
                <c:pt idx="170">
                  <c:v>43020</c:v>
                </c:pt>
                <c:pt idx="171">
                  <c:v>43021</c:v>
                </c:pt>
                <c:pt idx="172">
                  <c:v>43024</c:v>
                </c:pt>
                <c:pt idx="173">
                  <c:v>43025</c:v>
                </c:pt>
                <c:pt idx="174">
                  <c:v>43026</c:v>
                </c:pt>
                <c:pt idx="175">
                  <c:v>43027</c:v>
                </c:pt>
                <c:pt idx="176">
                  <c:v>43028</c:v>
                </c:pt>
                <c:pt idx="177">
                  <c:v>43031</c:v>
                </c:pt>
                <c:pt idx="178">
                  <c:v>43032</c:v>
                </c:pt>
                <c:pt idx="179">
                  <c:v>43033</c:v>
                </c:pt>
                <c:pt idx="180">
                  <c:v>43034</c:v>
                </c:pt>
                <c:pt idx="181">
                  <c:v>43035</c:v>
                </c:pt>
                <c:pt idx="182">
                  <c:v>43038</c:v>
                </c:pt>
                <c:pt idx="183">
                  <c:v>43039</c:v>
                </c:pt>
                <c:pt idx="184">
                  <c:v>43040</c:v>
                </c:pt>
                <c:pt idx="185">
                  <c:v>43041</c:v>
                </c:pt>
                <c:pt idx="186">
                  <c:v>43042</c:v>
                </c:pt>
                <c:pt idx="187">
                  <c:v>43045</c:v>
                </c:pt>
                <c:pt idx="188">
                  <c:v>43046</c:v>
                </c:pt>
                <c:pt idx="189">
                  <c:v>43047</c:v>
                </c:pt>
                <c:pt idx="190">
                  <c:v>43048</c:v>
                </c:pt>
                <c:pt idx="191">
                  <c:v>43049</c:v>
                </c:pt>
                <c:pt idx="192">
                  <c:v>43052</c:v>
                </c:pt>
                <c:pt idx="193">
                  <c:v>43053</c:v>
                </c:pt>
                <c:pt idx="194">
                  <c:v>43054</c:v>
                </c:pt>
                <c:pt idx="195">
                  <c:v>43055</c:v>
                </c:pt>
                <c:pt idx="196">
                  <c:v>43056</c:v>
                </c:pt>
                <c:pt idx="197">
                  <c:v>43059</c:v>
                </c:pt>
                <c:pt idx="198">
                  <c:v>43060</c:v>
                </c:pt>
                <c:pt idx="199">
                  <c:v>43061</c:v>
                </c:pt>
                <c:pt idx="200">
                  <c:v>43063</c:v>
                </c:pt>
                <c:pt idx="201">
                  <c:v>43066</c:v>
                </c:pt>
                <c:pt idx="202">
                  <c:v>43067</c:v>
                </c:pt>
                <c:pt idx="203">
                  <c:v>43068</c:v>
                </c:pt>
                <c:pt idx="204">
                  <c:v>43069</c:v>
                </c:pt>
                <c:pt idx="205">
                  <c:v>43070</c:v>
                </c:pt>
                <c:pt idx="206">
                  <c:v>43073</c:v>
                </c:pt>
                <c:pt idx="207">
                  <c:v>43074</c:v>
                </c:pt>
                <c:pt idx="208">
                  <c:v>43075</c:v>
                </c:pt>
                <c:pt idx="209">
                  <c:v>43076</c:v>
                </c:pt>
                <c:pt idx="210">
                  <c:v>43077</c:v>
                </c:pt>
                <c:pt idx="211">
                  <c:v>43080</c:v>
                </c:pt>
                <c:pt idx="212">
                  <c:v>43081</c:v>
                </c:pt>
                <c:pt idx="213">
                  <c:v>43082</c:v>
                </c:pt>
                <c:pt idx="214">
                  <c:v>43083</c:v>
                </c:pt>
                <c:pt idx="215">
                  <c:v>43084</c:v>
                </c:pt>
                <c:pt idx="216">
                  <c:v>43087</c:v>
                </c:pt>
                <c:pt idx="217">
                  <c:v>43088</c:v>
                </c:pt>
                <c:pt idx="218">
                  <c:v>43089</c:v>
                </c:pt>
                <c:pt idx="219">
                  <c:v>43090</c:v>
                </c:pt>
                <c:pt idx="220">
                  <c:v>43091</c:v>
                </c:pt>
                <c:pt idx="221">
                  <c:v>43095</c:v>
                </c:pt>
                <c:pt idx="222">
                  <c:v>43096</c:v>
                </c:pt>
                <c:pt idx="223">
                  <c:v>43097</c:v>
                </c:pt>
                <c:pt idx="224">
                  <c:v>43098</c:v>
                </c:pt>
                <c:pt idx="225">
                  <c:v>43102</c:v>
                </c:pt>
                <c:pt idx="226">
                  <c:v>43103</c:v>
                </c:pt>
                <c:pt idx="227">
                  <c:v>43104</c:v>
                </c:pt>
                <c:pt idx="228">
                  <c:v>43105</c:v>
                </c:pt>
                <c:pt idx="229">
                  <c:v>43108</c:v>
                </c:pt>
                <c:pt idx="230">
                  <c:v>43109</c:v>
                </c:pt>
                <c:pt idx="231">
                  <c:v>43110</c:v>
                </c:pt>
                <c:pt idx="232">
                  <c:v>43111</c:v>
                </c:pt>
                <c:pt idx="233">
                  <c:v>43112</c:v>
                </c:pt>
                <c:pt idx="234">
                  <c:v>43116</c:v>
                </c:pt>
                <c:pt idx="235">
                  <c:v>43117</c:v>
                </c:pt>
                <c:pt idx="236">
                  <c:v>43118</c:v>
                </c:pt>
                <c:pt idx="237">
                  <c:v>43119</c:v>
                </c:pt>
                <c:pt idx="238">
                  <c:v>43122</c:v>
                </c:pt>
                <c:pt idx="239">
                  <c:v>43123</c:v>
                </c:pt>
                <c:pt idx="240">
                  <c:v>43124</c:v>
                </c:pt>
                <c:pt idx="241">
                  <c:v>43125</c:v>
                </c:pt>
                <c:pt idx="242">
                  <c:v>43126</c:v>
                </c:pt>
                <c:pt idx="243">
                  <c:v>43129</c:v>
                </c:pt>
                <c:pt idx="244">
                  <c:v>43130</c:v>
                </c:pt>
                <c:pt idx="245">
                  <c:v>43131</c:v>
                </c:pt>
                <c:pt idx="246">
                  <c:v>43132</c:v>
                </c:pt>
                <c:pt idx="247">
                  <c:v>43133</c:v>
                </c:pt>
                <c:pt idx="248">
                  <c:v>43136</c:v>
                </c:pt>
                <c:pt idx="249">
                  <c:v>43137</c:v>
                </c:pt>
                <c:pt idx="250">
                  <c:v>43138</c:v>
                </c:pt>
                <c:pt idx="251">
                  <c:v>43139</c:v>
                </c:pt>
                <c:pt idx="252">
                  <c:v>43140</c:v>
                </c:pt>
                <c:pt idx="253">
                  <c:v>43143</c:v>
                </c:pt>
                <c:pt idx="254">
                  <c:v>43144</c:v>
                </c:pt>
                <c:pt idx="255">
                  <c:v>43145</c:v>
                </c:pt>
                <c:pt idx="256">
                  <c:v>43146</c:v>
                </c:pt>
                <c:pt idx="257">
                  <c:v>43147</c:v>
                </c:pt>
                <c:pt idx="258">
                  <c:v>43151</c:v>
                </c:pt>
                <c:pt idx="259">
                  <c:v>43152</c:v>
                </c:pt>
                <c:pt idx="260">
                  <c:v>43153</c:v>
                </c:pt>
                <c:pt idx="261">
                  <c:v>43154</c:v>
                </c:pt>
                <c:pt idx="262">
                  <c:v>43157</c:v>
                </c:pt>
                <c:pt idx="263">
                  <c:v>43158</c:v>
                </c:pt>
                <c:pt idx="264">
                  <c:v>43159</c:v>
                </c:pt>
                <c:pt idx="265">
                  <c:v>43160</c:v>
                </c:pt>
                <c:pt idx="266">
                  <c:v>43161</c:v>
                </c:pt>
                <c:pt idx="267">
                  <c:v>43164</c:v>
                </c:pt>
                <c:pt idx="268">
                  <c:v>43165</c:v>
                </c:pt>
                <c:pt idx="269">
                  <c:v>43166</c:v>
                </c:pt>
                <c:pt idx="270">
                  <c:v>43167</c:v>
                </c:pt>
                <c:pt idx="271">
                  <c:v>43168</c:v>
                </c:pt>
                <c:pt idx="272">
                  <c:v>43171</c:v>
                </c:pt>
                <c:pt idx="273">
                  <c:v>43172</c:v>
                </c:pt>
                <c:pt idx="274">
                  <c:v>43173</c:v>
                </c:pt>
                <c:pt idx="275">
                  <c:v>43174</c:v>
                </c:pt>
                <c:pt idx="276">
                  <c:v>43175</c:v>
                </c:pt>
                <c:pt idx="277">
                  <c:v>43178</c:v>
                </c:pt>
                <c:pt idx="278">
                  <c:v>43179</c:v>
                </c:pt>
                <c:pt idx="279">
                  <c:v>43180</c:v>
                </c:pt>
                <c:pt idx="280">
                  <c:v>43181</c:v>
                </c:pt>
                <c:pt idx="281">
                  <c:v>43182</c:v>
                </c:pt>
                <c:pt idx="282">
                  <c:v>43185</c:v>
                </c:pt>
                <c:pt idx="283">
                  <c:v>43186</c:v>
                </c:pt>
                <c:pt idx="284">
                  <c:v>43187</c:v>
                </c:pt>
                <c:pt idx="285">
                  <c:v>43188</c:v>
                </c:pt>
                <c:pt idx="286">
                  <c:v>43192</c:v>
                </c:pt>
                <c:pt idx="287">
                  <c:v>43193</c:v>
                </c:pt>
                <c:pt idx="288">
                  <c:v>43194</c:v>
                </c:pt>
                <c:pt idx="289">
                  <c:v>43195</c:v>
                </c:pt>
                <c:pt idx="290">
                  <c:v>43196</c:v>
                </c:pt>
                <c:pt idx="291">
                  <c:v>43199</c:v>
                </c:pt>
                <c:pt idx="292">
                  <c:v>43200</c:v>
                </c:pt>
                <c:pt idx="293">
                  <c:v>43201</c:v>
                </c:pt>
                <c:pt idx="294">
                  <c:v>43202</c:v>
                </c:pt>
                <c:pt idx="295">
                  <c:v>43203</c:v>
                </c:pt>
                <c:pt idx="296">
                  <c:v>43206</c:v>
                </c:pt>
                <c:pt idx="297">
                  <c:v>43207</c:v>
                </c:pt>
                <c:pt idx="298">
                  <c:v>43208</c:v>
                </c:pt>
                <c:pt idx="299">
                  <c:v>43209</c:v>
                </c:pt>
                <c:pt idx="300">
                  <c:v>43210</c:v>
                </c:pt>
                <c:pt idx="301">
                  <c:v>43213</c:v>
                </c:pt>
                <c:pt idx="302">
                  <c:v>43214</c:v>
                </c:pt>
                <c:pt idx="303">
                  <c:v>43215</c:v>
                </c:pt>
                <c:pt idx="304">
                  <c:v>43216</c:v>
                </c:pt>
                <c:pt idx="305">
                  <c:v>43217</c:v>
                </c:pt>
                <c:pt idx="306">
                  <c:v>43220</c:v>
                </c:pt>
                <c:pt idx="307">
                  <c:v>43221</c:v>
                </c:pt>
                <c:pt idx="308">
                  <c:v>43222</c:v>
                </c:pt>
                <c:pt idx="309">
                  <c:v>43223</c:v>
                </c:pt>
                <c:pt idx="310">
                  <c:v>43224</c:v>
                </c:pt>
                <c:pt idx="311">
                  <c:v>43227</c:v>
                </c:pt>
                <c:pt idx="312">
                  <c:v>43228</c:v>
                </c:pt>
                <c:pt idx="313">
                  <c:v>43229</c:v>
                </c:pt>
                <c:pt idx="314">
                  <c:v>43230</c:v>
                </c:pt>
                <c:pt idx="315">
                  <c:v>43231</c:v>
                </c:pt>
                <c:pt idx="316">
                  <c:v>43234</c:v>
                </c:pt>
                <c:pt idx="317">
                  <c:v>43235</c:v>
                </c:pt>
                <c:pt idx="318">
                  <c:v>43236</c:v>
                </c:pt>
                <c:pt idx="319">
                  <c:v>43237</c:v>
                </c:pt>
                <c:pt idx="320">
                  <c:v>43238</c:v>
                </c:pt>
                <c:pt idx="321">
                  <c:v>43241</c:v>
                </c:pt>
                <c:pt idx="322">
                  <c:v>43242</c:v>
                </c:pt>
                <c:pt idx="323">
                  <c:v>43243</c:v>
                </c:pt>
                <c:pt idx="324">
                  <c:v>43244</c:v>
                </c:pt>
                <c:pt idx="325">
                  <c:v>43245</c:v>
                </c:pt>
                <c:pt idx="326">
                  <c:v>43249</c:v>
                </c:pt>
                <c:pt idx="327">
                  <c:v>43250</c:v>
                </c:pt>
                <c:pt idx="328">
                  <c:v>43251</c:v>
                </c:pt>
                <c:pt idx="329">
                  <c:v>43252</c:v>
                </c:pt>
                <c:pt idx="330">
                  <c:v>43255</c:v>
                </c:pt>
                <c:pt idx="331">
                  <c:v>43256</c:v>
                </c:pt>
                <c:pt idx="332">
                  <c:v>43257</c:v>
                </c:pt>
                <c:pt idx="333">
                  <c:v>43258</c:v>
                </c:pt>
                <c:pt idx="334">
                  <c:v>43259</c:v>
                </c:pt>
                <c:pt idx="335">
                  <c:v>43262</c:v>
                </c:pt>
                <c:pt idx="336">
                  <c:v>43263</c:v>
                </c:pt>
                <c:pt idx="337">
                  <c:v>43264</c:v>
                </c:pt>
                <c:pt idx="338">
                  <c:v>43265</c:v>
                </c:pt>
                <c:pt idx="339">
                  <c:v>43266</c:v>
                </c:pt>
                <c:pt idx="340">
                  <c:v>43269</c:v>
                </c:pt>
                <c:pt idx="341">
                  <c:v>43270</c:v>
                </c:pt>
                <c:pt idx="342">
                  <c:v>43271</c:v>
                </c:pt>
                <c:pt idx="343">
                  <c:v>43272</c:v>
                </c:pt>
                <c:pt idx="344">
                  <c:v>43273</c:v>
                </c:pt>
                <c:pt idx="345">
                  <c:v>43276</c:v>
                </c:pt>
                <c:pt idx="346">
                  <c:v>43277</c:v>
                </c:pt>
                <c:pt idx="347">
                  <c:v>43278</c:v>
                </c:pt>
                <c:pt idx="348">
                  <c:v>43279</c:v>
                </c:pt>
                <c:pt idx="349">
                  <c:v>43280</c:v>
                </c:pt>
                <c:pt idx="350">
                  <c:v>43283</c:v>
                </c:pt>
                <c:pt idx="351">
                  <c:v>43284</c:v>
                </c:pt>
                <c:pt idx="352">
                  <c:v>43286</c:v>
                </c:pt>
                <c:pt idx="353">
                  <c:v>43287</c:v>
                </c:pt>
                <c:pt idx="354">
                  <c:v>43290</c:v>
                </c:pt>
                <c:pt idx="355">
                  <c:v>43291</c:v>
                </c:pt>
                <c:pt idx="356">
                  <c:v>43292</c:v>
                </c:pt>
                <c:pt idx="357">
                  <c:v>43293</c:v>
                </c:pt>
                <c:pt idx="358">
                  <c:v>43294</c:v>
                </c:pt>
                <c:pt idx="359">
                  <c:v>43297</c:v>
                </c:pt>
                <c:pt idx="360">
                  <c:v>43298</c:v>
                </c:pt>
                <c:pt idx="361">
                  <c:v>43299</c:v>
                </c:pt>
                <c:pt idx="362">
                  <c:v>43300</c:v>
                </c:pt>
                <c:pt idx="363">
                  <c:v>43301</c:v>
                </c:pt>
                <c:pt idx="364">
                  <c:v>43304</c:v>
                </c:pt>
                <c:pt idx="365">
                  <c:v>43305</c:v>
                </c:pt>
                <c:pt idx="366">
                  <c:v>43306</c:v>
                </c:pt>
                <c:pt idx="367">
                  <c:v>43307</c:v>
                </c:pt>
                <c:pt idx="368">
                  <c:v>43308</c:v>
                </c:pt>
                <c:pt idx="369">
                  <c:v>43311</c:v>
                </c:pt>
                <c:pt idx="370">
                  <c:v>43312</c:v>
                </c:pt>
                <c:pt idx="371">
                  <c:v>43313</c:v>
                </c:pt>
                <c:pt idx="372">
                  <c:v>43314</c:v>
                </c:pt>
                <c:pt idx="373">
                  <c:v>43315</c:v>
                </c:pt>
                <c:pt idx="374">
                  <c:v>43318</c:v>
                </c:pt>
                <c:pt idx="375">
                  <c:v>43319</c:v>
                </c:pt>
                <c:pt idx="376">
                  <c:v>43320</c:v>
                </c:pt>
                <c:pt idx="377">
                  <c:v>43321</c:v>
                </c:pt>
                <c:pt idx="378">
                  <c:v>43322</c:v>
                </c:pt>
                <c:pt idx="379">
                  <c:v>43325</c:v>
                </c:pt>
                <c:pt idx="380">
                  <c:v>43326</c:v>
                </c:pt>
                <c:pt idx="381">
                  <c:v>43327</c:v>
                </c:pt>
                <c:pt idx="382">
                  <c:v>43328</c:v>
                </c:pt>
                <c:pt idx="383">
                  <c:v>43329</c:v>
                </c:pt>
                <c:pt idx="384">
                  <c:v>43332</c:v>
                </c:pt>
                <c:pt idx="385">
                  <c:v>43333</c:v>
                </c:pt>
                <c:pt idx="386">
                  <c:v>43334</c:v>
                </c:pt>
                <c:pt idx="387">
                  <c:v>43335</c:v>
                </c:pt>
                <c:pt idx="388">
                  <c:v>43336</c:v>
                </c:pt>
                <c:pt idx="389">
                  <c:v>43339</c:v>
                </c:pt>
                <c:pt idx="390">
                  <c:v>43340</c:v>
                </c:pt>
                <c:pt idx="391">
                  <c:v>43341</c:v>
                </c:pt>
                <c:pt idx="392">
                  <c:v>43342</c:v>
                </c:pt>
                <c:pt idx="393">
                  <c:v>43343</c:v>
                </c:pt>
                <c:pt idx="394">
                  <c:v>43347</c:v>
                </c:pt>
                <c:pt idx="395">
                  <c:v>43348</c:v>
                </c:pt>
                <c:pt idx="396">
                  <c:v>43349</c:v>
                </c:pt>
                <c:pt idx="397">
                  <c:v>43350</c:v>
                </c:pt>
                <c:pt idx="398">
                  <c:v>43353</c:v>
                </c:pt>
                <c:pt idx="399">
                  <c:v>43354</c:v>
                </c:pt>
                <c:pt idx="400">
                  <c:v>43355</c:v>
                </c:pt>
                <c:pt idx="401">
                  <c:v>43356</c:v>
                </c:pt>
                <c:pt idx="402">
                  <c:v>43357</c:v>
                </c:pt>
                <c:pt idx="403">
                  <c:v>43360</c:v>
                </c:pt>
                <c:pt idx="404">
                  <c:v>43361</c:v>
                </c:pt>
                <c:pt idx="405">
                  <c:v>43362</c:v>
                </c:pt>
                <c:pt idx="406">
                  <c:v>43363</c:v>
                </c:pt>
                <c:pt idx="407">
                  <c:v>43364</c:v>
                </c:pt>
                <c:pt idx="408">
                  <c:v>43367</c:v>
                </c:pt>
                <c:pt idx="409">
                  <c:v>43368</c:v>
                </c:pt>
                <c:pt idx="410">
                  <c:v>43369</c:v>
                </c:pt>
                <c:pt idx="411">
                  <c:v>43370</c:v>
                </c:pt>
                <c:pt idx="412">
                  <c:v>43371</c:v>
                </c:pt>
                <c:pt idx="413">
                  <c:v>43374</c:v>
                </c:pt>
                <c:pt idx="414">
                  <c:v>43375</c:v>
                </c:pt>
                <c:pt idx="415">
                  <c:v>43376</c:v>
                </c:pt>
                <c:pt idx="416">
                  <c:v>43377</c:v>
                </c:pt>
                <c:pt idx="417">
                  <c:v>43378</c:v>
                </c:pt>
                <c:pt idx="418">
                  <c:v>43381</c:v>
                </c:pt>
                <c:pt idx="419">
                  <c:v>43382</c:v>
                </c:pt>
                <c:pt idx="420">
                  <c:v>43383</c:v>
                </c:pt>
                <c:pt idx="421">
                  <c:v>43384</c:v>
                </c:pt>
                <c:pt idx="422">
                  <c:v>43385</c:v>
                </c:pt>
                <c:pt idx="423">
                  <c:v>43388</c:v>
                </c:pt>
                <c:pt idx="424">
                  <c:v>43389</c:v>
                </c:pt>
                <c:pt idx="425">
                  <c:v>43390</c:v>
                </c:pt>
                <c:pt idx="426">
                  <c:v>43391</c:v>
                </c:pt>
                <c:pt idx="427">
                  <c:v>43392</c:v>
                </c:pt>
                <c:pt idx="428">
                  <c:v>43395</c:v>
                </c:pt>
                <c:pt idx="429">
                  <c:v>43396</c:v>
                </c:pt>
                <c:pt idx="430">
                  <c:v>43397</c:v>
                </c:pt>
                <c:pt idx="431">
                  <c:v>43398</c:v>
                </c:pt>
                <c:pt idx="432">
                  <c:v>43399</c:v>
                </c:pt>
                <c:pt idx="433">
                  <c:v>43402</c:v>
                </c:pt>
                <c:pt idx="434">
                  <c:v>43403</c:v>
                </c:pt>
                <c:pt idx="435">
                  <c:v>43404</c:v>
                </c:pt>
                <c:pt idx="436">
                  <c:v>43405</c:v>
                </c:pt>
                <c:pt idx="437">
                  <c:v>43406</c:v>
                </c:pt>
                <c:pt idx="438">
                  <c:v>43409</c:v>
                </c:pt>
                <c:pt idx="439">
                  <c:v>43410</c:v>
                </c:pt>
                <c:pt idx="440">
                  <c:v>43411</c:v>
                </c:pt>
                <c:pt idx="441">
                  <c:v>43412</c:v>
                </c:pt>
                <c:pt idx="442">
                  <c:v>43413</c:v>
                </c:pt>
                <c:pt idx="443">
                  <c:v>43416</c:v>
                </c:pt>
                <c:pt idx="444">
                  <c:v>43417</c:v>
                </c:pt>
                <c:pt idx="445">
                  <c:v>43418</c:v>
                </c:pt>
                <c:pt idx="446">
                  <c:v>43419</c:v>
                </c:pt>
                <c:pt idx="447">
                  <c:v>43420</c:v>
                </c:pt>
                <c:pt idx="448">
                  <c:v>43423</c:v>
                </c:pt>
                <c:pt idx="449">
                  <c:v>43424</c:v>
                </c:pt>
                <c:pt idx="450">
                  <c:v>43425</c:v>
                </c:pt>
                <c:pt idx="451">
                  <c:v>43427</c:v>
                </c:pt>
                <c:pt idx="452">
                  <c:v>43430</c:v>
                </c:pt>
                <c:pt idx="453">
                  <c:v>43431</c:v>
                </c:pt>
                <c:pt idx="454">
                  <c:v>43432</c:v>
                </c:pt>
                <c:pt idx="455">
                  <c:v>43433</c:v>
                </c:pt>
                <c:pt idx="456">
                  <c:v>43434</c:v>
                </c:pt>
                <c:pt idx="457">
                  <c:v>43437</c:v>
                </c:pt>
                <c:pt idx="458">
                  <c:v>43438</c:v>
                </c:pt>
                <c:pt idx="459">
                  <c:v>43440</c:v>
                </c:pt>
                <c:pt idx="460">
                  <c:v>43441</c:v>
                </c:pt>
                <c:pt idx="461">
                  <c:v>43444</c:v>
                </c:pt>
                <c:pt idx="462">
                  <c:v>43445</c:v>
                </c:pt>
                <c:pt idx="463">
                  <c:v>43446</c:v>
                </c:pt>
                <c:pt idx="464">
                  <c:v>43447</c:v>
                </c:pt>
                <c:pt idx="465">
                  <c:v>43448</c:v>
                </c:pt>
                <c:pt idx="466">
                  <c:v>43451</c:v>
                </c:pt>
                <c:pt idx="467">
                  <c:v>43452</c:v>
                </c:pt>
                <c:pt idx="468">
                  <c:v>43453</c:v>
                </c:pt>
                <c:pt idx="469">
                  <c:v>43454</c:v>
                </c:pt>
                <c:pt idx="470">
                  <c:v>43455</c:v>
                </c:pt>
                <c:pt idx="471">
                  <c:v>43458</c:v>
                </c:pt>
                <c:pt idx="472">
                  <c:v>43460</c:v>
                </c:pt>
                <c:pt idx="473">
                  <c:v>43461</c:v>
                </c:pt>
                <c:pt idx="474">
                  <c:v>43462</c:v>
                </c:pt>
                <c:pt idx="475">
                  <c:v>43465</c:v>
                </c:pt>
                <c:pt idx="476">
                  <c:v>43467</c:v>
                </c:pt>
                <c:pt idx="477">
                  <c:v>43468</c:v>
                </c:pt>
                <c:pt idx="478">
                  <c:v>43469</c:v>
                </c:pt>
                <c:pt idx="479">
                  <c:v>43472</c:v>
                </c:pt>
                <c:pt idx="480">
                  <c:v>43473</c:v>
                </c:pt>
                <c:pt idx="481">
                  <c:v>43474</c:v>
                </c:pt>
                <c:pt idx="482">
                  <c:v>43475</c:v>
                </c:pt>
                <c:pt idx="483">
                  <c:v>43476</c:v>
                </c:pt>
                <c:pt idx="484">
                  <c:v>43479</c:v>
                </c:pt>
                <c:pt idx="485">
                  <c:v>43480</c:v>
                </c:pt>
                <c:pt idx="486">
                  <c:v>43481</c:v>
                </c:pt>
                <c:pt idx="487">
                  <c:v>43482</c:v>
                </c:pt>
                <c:pt idx="488">
                  <c:v>43483</c:v>
                </c:pt>
                <c:pt idx="489">
                  <c:v>43487</c:v>
                </c:pt>
                <c:pt idx="490">
                  <c:v>43488</c:v>
                </c:pt>
                <c:pt idx="491">
                  <c:v>43489</c:v>
                </c:pt>
                <c:pt idx="492">
                  <c:v>43490</c:v>
                </c:pt>
                <c:pt idx="493">
                  <c:v>43493</c:v>
                </c:pt>
                <c:pt idx="494">
                  <c:v>43494</c:v>
                </c:pt>
                <c:pt idx="495">
                  <c:v>43495</c:v>
                </c:pt>
                <c:pt idx="496">
                  <c:v>43496</c:v>
                </c:pt>
                <c:pt idx="497">
                  <c:v>43497</c:v>
                </c:pt>
                <c:pt idx="498">
                  <c:v>43500</c:v>
                </c:pt>
                <c:pt idx="499">
                  <c:v>43501</c:v>
                </c:pt>
                <c:pt idx="500">
                  <c:v>43502</c:v>
                </c:pt>
                <c:pt idx="501">
                  <c:v>43503</c:v>
                </c:pt>
                <c:pt idx="502">
                  <c:v>43504</c:v>
                </c:pt>
                <c:pt idx="503">
                  <c:v>43507</c:v>
                </c:pt>
                <c:pt idx="504">
                  <c:v>43508</c:v>
                </c:pt>
                <c:pt idx="505">
                  <c:v>43509</c:v>
                </c:pt>
                <c:pt idx="506">
                  <c:v>43510</c:v>
                </c:pt>
                <c:pt idx="507">
                  <c:v>43511</c:v>
                </c:pt>
                <c:pt idx="508">
                  <c:v>43515</c:v>
                </c:pt>
                <c:pt idx="509">
                  <c:v>43516</c:v>
                </c:pt>
                <c:pt idx="510">
                  <c:v>43517</c:v>
                </c:pt>
                <c:pt idx="511">
                  <c:v>43518</c:v>
                </c:pt>
                <c:pt idx="512">
                  <c:v>43521</c:v>
                </c:pt>
                <c:pt idx="513">
                  <c:v>43522</c:v>
                </c:pt>
                <c:pt idx="514">
                  <c:v>43523</c:v>
                </c:pt>
                <c:pt idx="515">
                  <c:v>43524</c:v>
                </c:pt>
                <c:pt idx="516">
                  <c:v>43525</c:v>
                </c:pt>
                <c:pt idx="517">
                  <c:v>43528</c:v>
                </c:pt>
                <c:pt idx="518">
                  <c:v>43529</c:v>
                </c:pt>
                <c:pt idx="519">
                  <c:v>43530</c:v>
                </c:pt>
                <c:pt idx="520">
                  <c:v>43531</c:v>
                </c:pt>
                <c:pt idx="521">
                  <c:v>43532</c:v>
                </c:pt>
                <c:pt idx="522">
                  <c:v>43535</c:v>
                </c:pt>
                <c:pt idx="523">
                  <c:v>43536</c:v>
                </c:pt>
                <c:pt idx="524">
                  <c:v>43537</c:v>
                </c:pt>
                <c:pt idx="525">
                  <c:v>43538</c:v>
                </c:pt>
                <c:pt idx="526">
                  <c:v>43539</c:v>
                </c:pt>
                <c:pt idx="527">
                  <c:v>43542</c:v>
                </c:pt>
                <c:pt idx="528">
                  <c:v>43543</c:v>
                </c:pt>
                <c:pt idx="529">
                  <c:v>43544</c:v>
                </c:pt>
                <c:pt idx="530">
                  <c:v>43545</c:v>
                </c:pt>
                <c:pt idx="531">
                  <c:v>43546</c:v>
                </c:pt>
                <c:pt idx="532">
                  <c:v>43549</c:v>
                </c:pt>
                <c:pt idx="533">
                  <c:v>43550</c:v>
                </c:pt>
                <c:pt idx="534">
                  <c:v>43551</c:v>
                </c:pt>
                <c:pt idx="535">
                  <c:v>43552</c:v>
                </c:pt>
                <c:pt idx="536">
                  <c:v>43553</c:v>
                </c:pt>
                <c:pt idx="537">
                  <c:v>43556</c:v>
                </c:pt>
                <c:pt idx="538">
                  <c:v>43557</c:v>
                </c:pt>
                <c:pt idx="539">
                  <c:v>43558</c:v>
                </c:pt>
                <c:pt idx="540">
                  <c:v>43559</c:v>
                </c:pt>
                <c:pt idx="541">
                  <c:v>43560</c:v>
                </c:pt>
                <c:pt idx="542">
                  <c:v>43563</c:v>
                </c:pt>
                <c:pt idx="543">
                  <c:v>43564</c:v>
                </c:pt>
                <c:pt idx="544">
                  <c:v>43565</c:v>
                </c:pt>
                <c:pt idx="545">
                  <c:v>43566</c:v>
                </c:pt>
                <c:pt idx="546">
                  <c:v>43567</c:v>
                </c:pt>
                <c:pt idx="547">
                  <c:v>43570</c:v>
                </c:pt>
                <c:pt idx="548">
                  <c:v>43571</c:v>
                </c:pt>
                <c:pt idx="549">
                  <c:v>43572</c:v>
                </c:pt>
                <c:pt idx="550">
                  <c:v>43573</c:v>
                </c:pt>
                <c:pt idx="551">
                  <c:v>43577</c:v>
                </c:pt>
                <c:pt idx="552">
                  <c:v>43578</c:v>
                </c:pt>
                <c:pt idx="553">
                  <c:v>43579</c:v>
                </c:pt>
                <c:pt idx="554">
                  <c:v>43580</c:v>
                </c:pt>
                <c:pt idx="555">
                  <c:v>43581</c:v>
                </c:pt>
                <c:pt idx="556">
                  <c:v>43584</c:v>
                </c:pt>
                <c:pt idx="557">
                  <c:v>43585</c:v>
                </c:pt>
                <c:pt idx="558">
                  <c:v>43586</c:v>
                </c:pt>
                <c:pt idx="559">
                  <c:v>43587</c:v>
                </c:pt>
                <c:pt idx="560">
                  <c:v>43588</c:v>
                </c:pt>
                <c:pt idx="561">
                  <c:v>43591</c:v>
                </c:pt>
                <c:pt idx="562">
                  <c:v>43592</c:v>
                </c:pt>
                <c:pt idx="563">
                  <c:v>43593</c:v>
                </c:pt>
                <c:pt idx="564">
                  <c:v>43594</c:v>
                </c:pt>
                <c:pt idx="565">
                  <c:v>43595</c:v>
                </c:pt>
                <c:pt idx="566">
                  <c:v>43598</c:v>
                </c:pt>
                <c:pt idx="567">
                  <c:v>43599</c:v>
                </c:pt>
                <c:pt idx="568">
                  <c:v>43600</c:v>
                </c:pt>
                <c:pt idx="569">
                  <c:v>43601</c:v>
                </c:pt>
                <c:pt idx="570">
                  <c:v>43602</c:v>
                </c:pt>
                <c:pt idx="571">
                  <c:v>43605</c:v>
                </c:pt>
                <c:pt idx="572">
                  <c:v>43606</c:v>
                </c:pt>
                <c:pt idx="573">
                  <c:v>43607</c:v>
                </c:pt>
                <c:pt idx="574">
                  <c:v>43608</c:v>
                </c:pt>
                <c:pt idx="575">
                  <c:v>43609</c:v>
                </c:pt>
                <c:pt idx="576">
                  <c:v>43613</c:v>
                </c:pt>
                <c:pt idx="577">
                  <c:v>43614</c:v>
                </c:pt>
                <c:pt idx="578">
                  <c:v>43615</c:v>
                </c:pt>
                <c:pt idx="579">
                  <c:v>43616</c:v>
                </c:pt>
                <c:pt idx="580">
                  <c:v>43619</c:v>
                </c:pt>
                <c:pt idx="581">
                  <c:v>43620</c:v>
                </c:pt>
                <c:pt idx="582">
                  <c:v>43621</c:v>
                </c:pt>
                <c:pt idx="583">
                  <c:v>43622</c:v>
                </c:pt>
                <c:pt idx="584">
                  <c:v>43623</c:v>
                </c:pt>
                <c:pt idx="585">
                  <c:v>43626</c:v>
                </c:pt>
                <c:pt idx="586">
                  <c:v>43627</c:v>
                </c:pt>
                <c:pt idx="587">
                  <c:v>43628</c:v>
                </c:pt>
                <c:pt idx="588">
                  <c:v>43629</c:v>
                </c:pt>
                <c:pt idx="589">
                  <c:v>43630</c:v>
                </c:pt>
                <c:pt idx="590">
                  <c:v>43633</c:v>
                </c:pt>
                <c:pt idx="591">
                  <c:v>43634</c:v>
                </c:pt>
                <c:pt idx="592">
                  <c:v>43635</c:v>
                </c:pt>
                <c:pt idx="593">
                  <c:v>43636</c:v>
                </c:pt>
                <c:pt idx="594">
                  <c:v>43637</c:v>
                </c:pt>
                <c:pt idx="595">
                  <c:v>43640</c:v>
                </c:pt>
                <c:pt idx="596">
                  <c:v>43641</c:v>
                </c:pt>
                <c:pt idx="597">
                  <c:v>43642</c:v>
                </c:pt>
                <c:pt idx="598">
                  <c:v>43643</c:v>
                </c:pt>
                <c:pt idx="599">
                  <c:v>43644</c:v>
                </c:pt>
                <c:pt idx="600">
                  <c:v>43647</c:v>
                </c:pt>
                <c:pt idx="601">
                  <c:v>43648</c:v>
                </c:pt>
                <c:pt idx="602">
                  <c:v>43649</c:v>
                </c:pt>
                <c:pt idx="603">
                  <c:v>43651</c:v>
                </c:pt>
                <c:pt idx="604">
                  <c:v>43654</c:v>
                </c:pt>
                <c:pt idx="605">
                  <c:v>43655</c:v>
                </c:pt>
                <c:pt idx="606">
                  <c:v>43656</c:v>
                </c:pt>
                <c:pt idx="607">
                  <c:v>43657</c:v>
                </c:pt>
                <c:pt idx="608">
                  <c:v>43658</c:v>
                </c:pt>
                <c:pt idx="609">
                  <c:v>43661</c:v>
                </c:pt>
                <c:pt idx="610">
                  <c:v>43662</c:v>
                </c:pt>
                <c:pt idx="611">
                  <c:v>43663</c:v>
                </c:pt>
                <c:pt idx="612">
                  <c:v>43664</c:v>
                </c:pt>
                <c:pt idx="613">
                  <c:v>43665</c:v>
                </c:pt>
                <c:pt idx="614">
                  <c:v>43668</c:v>
                </c:pt>
                <c:pt idx="615">
                  <c:v>43669</c:v>
                </c:pt>
                <c:pt idx="616">
                  <c:v>43670</c:v>
                </c:pt>
                <c:pt idx="617">
                  <c:v>43671</c:v>
                </c:pt>
                <c:pt idx="618">
                  <c:v>43672</c:v>
                </c:pt>
                <c:pt idx="619">
                  <c:v>43675</c:v>
                </c:pt>
                <c:pt idx="620">
                  <c:v>43676</c:v>
                </c:pt>
                <c:pt idx="621">
                  <c:v>43677</c:v>
                </c:pt>
                <c:pt idx="622">
                  <c:v>43678</c:v>
                </c:pt>
                <c:pt idx="623">
                  <c:v>43679</c:v>
                </c:pt>
                <c:pt idx="624">
                  <c:v>43682</c:v>
                </c:pt>
                <c:pt idx="625">
                  <c:v>43683</c:v>
                </c:pt>
                <c:pt idx="626">
                  <c:v>43684</c:v>
                </c:pt>
                <c:pt idx="627">
                  <c:v>43685</c:v>
                </c:pt>
                <c:pt idx="628">
                  <c:v>43686</c:v>
                </c:pt>
                <c:pt idx="629">
                  <c:v>43689</c:v>
                </c:pt>
                <c:pt idx="630">
                  <c:v>43690</c:v>
                </c:pt>
                <c:pt idx="631">
                  <c:v>43691</c:v>
                </c:pt>
                <c:pt idx="632">
                  <c:v>43692</c:v>
                </c:pt>
                <c:pt idx="633">
                  <c:v>43693</c:v>
                </c:pt>
                <c:pt idx="634">
                  <c:v>43696</c:v>
                </c:pt>
                <c:pt idx="635">
                  <c:v>43697</c:v>
                </c:pt>
                <c:pt idx="636">
                  <c:v>43698</c:v>
                </c:pt>
                <c:pt idx="637">
                  <c:v>43699</c:v>
                </c:pt>
                <c:pt idx="638">
                  <c:v>43700</c:v>
                </c:pt>
                <c:pt idx="639">
                  <c:v>43703</c:v>
                </c:pt>
                <c:pt idx="640">
                  <c:v>43704</c:v>
                </c:pt>
                <c:pt idx="641">
                  <c:v>43705</c:v>
                </c:pt>
                <c:pt idx="642">
                  <c:v>43706</c:v>
                </c:pt>
                <c:pt idx="643">
                  <c:v>43707</c:v>
                </c:pt>
                <c:pt idx="644">
                  <c:v>43711</c:v>
                </c:pt>
                <c:pt idx="645">
                  <c:v>43712</c:v>
                </c:pt>
                <c:pt idx="646">
                  <c:v>43713</c:v>
                </c:pt>
                <c:pt idx="647">
                  <c:v>43714</c:v>
                </c:pt>
                <c:pt idx="648">
                  <c:v>43717</c:v>
                </c:pt>
                <c:pt idx="649">
                  <c:v>43718</c:v>
                </c:pt>
                <c:pt idx="650">
                  <c:v>43719</c:v>
                </c:pt>
                <c:pt idx="651">
                  <c:v>43720</c:v>
                </c:pt>
                <c:pt idx="652">
                  <c:v>43721</c:v>
                </c:pt>
                <c:pt idx="653">
                  <c:v>43724</c:v>
                </c:pt>
                <c:pt idx="654">
                  <c:v>43725</c:v>
                </c:pt>
                <c:pt idx="655">
                  <c:v>43726</c:v>
                </c:pt>
                <c:pt idx="656">
                  <c:v>43727</c:v>
                </c:pt>
                <c:pt idx="657">
                  <c:v>43728</c:v>
                </c:pt>
                <c:pt idx="658">
                  <c:v>43731</c:v>
                </c:pt>
                <c:pt idx="659">
                  <c:v>43732</c:v>
                </c:pt>
                <c:pt idx="660">
                  <c:v>43733</c:v>
                </c:pt>
                <c:pt idx="661">
                  <c:v>43734</c:v>
                </c:pt>
                <c:pt idx="662">
                  <c:v>43735</c:v>
                </c:pt>
                <c:pt idx="663">
                  <c:v>43738</c:v>
                </c:pt>
                <c:pt idx="664">
                  <c:v>43739</c:v>
                </c:pt>
                <c:pt idx="665">
                  <c:v>43740</c:v>
                </c:pt>
                <c:pt idx="666">
                  <c:v>43741</c:v>
                </c:pt>
                <c:pt idx="667">
                  <c:v>43742</c:v>
                </c:pt>
                <c:pt idx="668">
                  <c:v>43745</c:v>
                </c:pt>
                <c:pt idx="669">
                  <c:v>43746</c:v>
                </c:pt>
                <c:pt idx="670">
                  <c:v>43747</c:v>
                </c:pt>
                <c:pt idx="671">
                  <c:v>43748</c:v>
                </c:pt>
                <c:pt idx="672">
                  <c:v>43749</c:v>
                </c:pt>
                <c:pt idx="673">
                  <c:v>43752</c:v>
                </c:pt>
                <c:pt idx="674">
                  <c:v>43753</c:v>
                </c:pt>
                <c:pt idx="675">
                  <c:v>43754</c:v>
                </c:pt>
                <c:pt idx="676">
                  <c:v>43755</c:v>
                </c:pt>
                <c:pt idx="677">
                  <c:v>43756</c:v>
                </c:pt>
                <c:pt idx="678">
                  <c:v>43759</c:v>
                </c:pt>
                <c:pt idx="679">
                  <c:v>43760</c:v>
                </c:pt>
                <c:pt idx="680">
                  <c:v>43761</c:v>
                </c:pt>
                <c:pt idx="681">
                  <c:v>43762</c:v>
                </c:pt>
                <c:pt idx="682">
                  <c:v>43763</c:v>
                </c:pt>
                <c:pt idx="683">
                  <c:v>43766</c:v>
                </c:pt>
                <c:pt idx="684">
                  <c:v>43767</c:v>
                </c:pt>
                <c:pt idx="685">
                  <c:v>43768</c:v>
                </c:pt>
                <c:pt idx="686">
                  <c:v>43769</c:v>
                </c:pt>
                <c:pt idx="687">
                  <c:v>43770</c:v>
                </c:pt>
                <c:pt idx="688">
                  <c:v>43773</c:v>
                </c:pt>
                <c:pt idx="689">
                  <c:v>43774</c:v>
                </c:pt>
                <c:pt idx="690">
                  <c:v>43775</c:v>
                </c:pt>
                <c:pt idx="691">
                  <c:v>43776</c:v>
                </c:pt>
                <c:pt idx="692">
                  <c:v>43777</c:v>
                </c:pt>
                <c:pt idx="693">
                  <c:v>43780</c:v>
                </c:pt>
                <c:pt idx="694">
                  <c:v>43781</c:v>
                </c:pt>
                <c:pt idx="695">
                  <c:v>43782</c:v>
                </c:pt>
                <c:pt idx="696">
                  <c:v>43783</c:v>
                </c:pt>
                <c:pt idx="697">
                  <c:v>43784</c:v>
                </c:pt>
                <c:pt idx="698">
                  <c:v>43787</c:v>
                </c:pt>
                <c:pt idx="699">
                  <c:v>43788</c:v>
                </c:pt>
                <c:pt idx="700">
                  <c:v>43789</c:v>
                </c:pt>
                <c:pt idx="701">
                  <c:v>43790</c:v>
                </c:pt>
                <c:pt idx="702">
                  <c:v>43791</c:v>
                </c:pt>
                <c:pt idx="703">
                  <c:v>43794</c:v>
                </c:pt>
                <c:pt idx="704">
                  <c:v>43795</c:v>
                </c:pt>
                <c:pt idx="705">
                  <c:v>43796</c:v>
                </c:pt>
                <c:pt idx="706">
                  <c:v>43798</c:v>
                </c:pt>
                <c:pt idx="707">
                  <c:v>43801</c:v>
                </c:pt>
                <c:pt idx="708">
                  <c:v>43802</c:v>
                </c:pt>
                <c:pt idx="709">
                  <c:v>43803</c:v>
                </c:pt>
                <c:pt idx="710">
                  <c:v>43804</c:v>
                </c:pt>
                <c:pt idx="711">
                  <c:v>43805</c:v>
                </c:pt>
                <c:pt idx="712">
                  <c:v>43808</c:v>
                </c:pt>
                <c:pt idx="713">
                  <c:v>43809</c:v>
                </c:pt>
                <c:pt idx="714">
                  <c:v>43810</c:v>
                </c:pt>
                <c:pt idx="715">
                  <c:v>43811</c:v>
                </c:pt>
                <c:pt idx="716">
                  <c:v>43812</c:v>
                </c:pt>
                <c:pt idx="717">
                  <c:v>43815</c:v>
                </c:pt>
                <c:pt idx="718">
                  <c:v>43816</c:v>
                </c:pt>
                <c:pt idx="719">
                  <c:v>43817</c:v>
                </c:pt>
                <c:pt idx="720">
                  <c:v>43818</c:v>
                </c:pt>
                <c:pt idx="721">
                  <c:v>43819</c:v>
                </c:pt>
                <c:pt idx="722">
                  <c:v>43822</c:v>
                </c:pt>
                <c:pt idx="723">
                  <c:v>43823</c:v>
                </c:pt>
                <c:pt idx="724">
                  <c:v>43825</c:v>
                </c:pt>
                <c:pt idx="725">
                  <c:v>43826</c:v>
                </c:pt>
                <c:pt idx="726">
                  <c:v>43829</c:v>
                </c:pt>
                <c:pt idx="727">
                  <c:v>43830</c:v>
                </c:pt>
                <c:pt idx="728">
                  <c:v>43832</c:v>
                </c:pt>
                <c:pt idx="729">
                  <c:v>43833</c:v>
                </c:pt>
                <c:pt idx="730">
                  <c:v>43836</c:v>
                </c:pt>
                <c:pt idx="731">
                  <c:v>43837</c:v>
                </c:pt>
                <c:pt idx="732">
                  <c:v>43838</c:v>
                </c:pt>
                <c:pt idx="733">
                  <c:v>43839</c:v>
                </c:pt>
                <c:pt idx="734">
                  <c:v>43840</c:v>
                </c:pt>
                <c:pt idx="735">
                  <c:v>43843</c:v>
                </c:pt>
                <c:pt idx="736">
                  <c:v>43844</c:v>
                </c:pt>
                <c:pt idx="737">
                  <c:v>43845</c:v>
                </c:pt>
                <c:pt idx="738">
                  <c:v>43846</c:v>
                </c:pt>
                <c:pt idx="739">
                  <c:v>43847</c:v>
                </c:pt>
                <c:pt idx="740">
                  <c:v>43851</c:v>
                </c:pt>
                <c:pt idx="741">
                  <c:v>43852</c:v>
                </c:pt>
                <c:pt idx="742">
                  <c:v>43853</c:v>
                </c:pt>
                <c:pt idx="743">
                  <c:v>43854</c:v>
                </c:pt>
                <c:pt idx="744">
                  <c:v>43857</c:v>
                </c:pt>
                <c:pt idx="745">
                  <c:v>43858</c:v>
                </c:pt>
                <c:pt idx="746">
                  <c:v>43859</c:v>
                </c:pt>
                <c:pt idx="747">
                  <c:v>43860</c:v>
                </c:pt>
                <c:pt idx="748">
                  <c:v>43861</c:v>
                </c:pt>
                <c:pt idx="749">
                  <c:v>43864</c:v>
                </c:pt>
                <c:pt idx="750">
                  <c:v>43865</c:v>
                </c:pt>
                <c:pt idx="751">
                  <c:v>43866</c:v>
                </c:pt>
                <c:pt idx="752">
                  <c:v>43867</c:v>
                </c:pt>
                <c:pt idx="753">
                  <c:v>43868</c:v>
                </c:pt>
                <c:pt idx="754">
                  <c:v>43871</c:v>
                </c:pt>
                <c:pt idx="755">
                  <c:v>43872</c:v>
                </c:pt>
                <c:pt idx="756">
                  <c:v>43873</c:v>
                </c:pt>
                <c:pt idx="757">
                  <c:v>43874</c:v>
                </c:pt>
                <c:pt idx="758">
                  <c:v>43875</c:v>
                </c:pt>
                <c:pt idx="759">
                  <c:v>43879</c:v>
                </c:pt>
                <c:pt idx="760">
                  <c:v>43880</c:v>
                </c:pt>
                <c:pt idx="761">
                  <c:v>43881</c:v>
                </c:pt>
                <c:pt idx="762">
                  <c:v>43882</c:v>
                </c:pt>
                <c:pt idx="763">
                  <c:v>43885</c:v>
                </c:pt>
                <c:pt idx="764">
                  <c:v>43886</c:v>
                </c:pt>
                <c:pt idx="765">
                  <c:v>43887</c:v>
                </c:pt>
                <c:pt idx="766">
                  <c:v>43888</c:v>
                </c:pt>
                <c:pt idx="767">
                  <c:v>43889</c:v>
                </c:pt>
                <c:pt idx="768">
                  <c:v>43892</c:v>
                </c:pt>
                <c:pt idx="769">
                  <c:v>43893</c:v>
                </c:pt>
                <c:pt idx="770">
                  <c:v>43894</c:v>
                </c:pt>
                <c:pt idx="771">
                  <c:v>43895</c:v>
                </c:pt>
                <c:pt idx="772">
                  <c:v>43896</c:v>
                </c:pt>
                <c:pt idx="773">
                  <c:v>43899</c:v>
                </c:pt>
                <c:pt idx="774">
                  <c:v>43900</c:v>
                </c:pt>
                <c:pt idx="775">
                  <c:v>43901</c:v>
                </c:pt>
                <c:pt idx="776">
                  <c:v>43902</c:v>
                </c:pt>
                <c:pt idx="777">
                  <c:v>43903</c:v>
                </c:pt>
                <c:pt idx="778">
                  <c:v>43906</c:v>
                </c:pt>
                <c:pt idx="779">
                  <c:v>43907</c:v>
                </c:pt>
                <c:pt idx="780">
                  <c:v>43908</c:v>
                </c:pt>
                <c:pt idx="781">
                  <c:v>43909</c:v>
                </c:pt>
                <c:pt idx="782">
                  <c:v>43910</c:v>
                </c:pt>
                <c:pt idx="783">
                  <c:v>43913</c:v>
                </c:pt>
                <c:pt idx="784">
                  <c:v>43914</c:v>
                </c:pt>
                <c:pt idx="785">
                  <c:v>43915</c:v>
                </c:pt>
                <c:pt idx="786">
                  <c:v>43916</c:v>
                </c:pt>
                <c:pt idx="787">
                  <c:v>43917</c:v>
                </c:pt>
                <c:pt idx="788">
                  <c:v>43920</c:v>
                </c:pt>
                <c:pt idx="789">
                  <c:v>43921</c:v>
                </c:pt>
                <c:pt idx="790">
                  <c:v>43922</c:v>
                </c:pt>
                <c:pt idx="791">
                  <c:v>43923</c:v>
                </c:pt>
                <c:pt idx="792">
                  <c:v>43924</c:v>
                </c:pt>
                <c:pt idx="793">
                  <c:v>43927</c:v>
                </c:pt>
                <c:pt idx="794">
                  <c:v>43928</c:v>
                </c:pt>
                <c:pt idx="795">
                  <c:v>43929</c:v>
                </c:pt>
                <c:pt idx="796">
                  <c:v>43930</c:v>
                </c:pt>
                <c:pt idx="797">
                  <c:v>43934</c:v>
                </c:pt>
                <c:pt idx="798">
                  <c:v>43935</c:v>
                </c:pt>
                <c:pt idx="799">
                  <c:v>43936</c:v>
                </c:pt>
                <c:pt idx="800">
                  <c:v>43937</c:v>
                </c:pt>
                <c:pt idx="801">
                  <c:v>43938</c:v>
                </c:pt>
                <c:pt idx="802">
                  <c:v>43941</c:v>
                </c:pt>
                <c:pt idx="803">
                  <c:v>43942</c:v>
                </c:pt>
                <c:pt idx="804">
                  <c:v>43943</c:v>
                </c:pt>
                <c:pt idx="805">
                  <c:v>43944</c:v>
                </c:pt>
                <c:pt idx="806">
                  <c:v>43945</c:v>
                </c:pt>
                <c:pt idx="807">
                  <c:v>43948</c:v>
                </c:pt>
                <c:pt idx="808">
                  <c:v>43949</c:v>
                </c:pt>
                <c:pt idx="809">
                  <c:v>43950</c:v>
                </c:pt>
                <c:pt idx="810">
                  <c:v>43951</c:v>
                </c:pt>
                <c:pt idx="811">
                  <c:v>43952</c:v>
                </c:pt>
                <c:pt idx="812">
                  <c:v>43955</c:v>
                </c:pt>
                <c:pt idx="813">
                  <c:v>43956</c:v>
                </c:pt>
                <c:pt idx="814">
                  <c:v>43957</c:v>
                </c:pt>
                <c:pt idx="815">
                  <c:v>43958</c:v>
                </c:pt>
                <c:pt idx="816">
                  <c:v>43959</c:v>
                </c:pt>
                <c:pt idx="817">
                  <c:v>43962</c:v>
                </c:pt>
                <c:pt idx="818">
                  <c:v>43963</c:v>
                </c:pt>
                <c:pt idx="819">
                  <c:v>43964</c:v>
                </c:pt>
                <c:pt idx="820">
                  <c:v>43965</c:v>
                </c:pt>
                <c:pt idx="821">
                  <c:v>43966</c:v>
                </c:pt>
                <c:pt idx="822">
                  <c:v>43969</c:v>
                </c:pt>
                <c:pt idx="823">
                  <c:v>43970</c:v>
                </c:pt>
                <c:pt idx="824">
                  <c:v>43971</c:v>
                </c:pt>
                <c:pt idx="825">
                  <c:v>43972</c:v>
                </c:pt>
                <c:pt idx="826">
                  <c:v>43973</c:v>
                </c:pt>
                <c:pt idx="827">
                  <c:v>43977</c:v>
                </c:pt>
                <c:pt idx="828">
                  <c:v>43978</c:v>
                </c:pt>
                <c:pt idx="829">
                  <c:v>43979</c:v>
                </c:pt>
                <c:pt idx="830">
                  <c:v>43980</c:v>
                </c:pt>
                <c:pt idx="831">
                  <c:v>43983</c:v>
                </c:pt>
                <c:pt idx="832">
                  <c:v>43984</c:v>
                </c:pt>
                <c:pt idx="833">
                  <c:v>43985</c:v>
                </c:pt>
                <c:pt idx="834">
                  <c:v>43986</c:v>
                </c:pt>
                <c:pt idx="835">
                  <c:v>43987</c:v>
                </c:pt>
                <c:pt idx="836">
                  <c:v>43990</c:v>
                </c:pt>
                <c:pt idx="837">
                  <c:v>43991</c:v>
                </c:pt>
                <c:pt idx="838">
                  <c:v>43992</c:v>
                </c:pt>
                <c:pt idx="839">
                  <c:v>43993</c:v>
                </c:pt>
                <c:pt idx="840">
                  <c:v>43994</c:v>
                </c:pt>
                <c:pt idx="841">
                  <c:v>43997</c:v>
                </c:pt>
                <c:pt idx="842">
                  <c:v>43998</c:v>
                </c:pt>
                <c:pt idx="843">
                  <c:v>43999</c:v>
                </c:pt>
                <c:pt idx="844">
                  <c:v>44000</c:v>
                </c:pt>
                <c:pt idx="845">
                  <c:v>44001</c:v>
                </c:pt>
                <c:pt idx="846">
                  <c:v>44004</c:v>
                </c:pt>
                <c:pt idx="847">
                  <c:v>44005</c:v>
                </c:pt>
                <c:pt idx="848">
                  <c:v>44006</c:v>
                </c:pt>
                <c:pt idx="849">
                  <c:v>44007</c:v>
                </c:pt>
                <c:pt idx="850">
                  <c:v>44008</c:v>
                </c:pt>
                <c:pt idx="851">
                  <c:v>44011</c:v>
                </c:pt>
                <c:pt idx="852">
                  <c:v>44012</c:v>
                </c:pt>
                <c:pt idx="853">
                  <c:v>44013</c:v>
                </c:pt>
                <c:pt idx="854">
                  <c:v>44014</c:v>
                </c:pt>
                <c:pt idx="855">
                  <c:v>44018</c:v>
                </c:pt>
                <c:pt idx="856">
                  <c:v>44019</c:v>
                </c:pt>
                <c:pt idx="857">
                  <c:v>44020</c:v>
                </c:pt>
                <c:pt idx="858">
                  <c:v>44021</c:v>
                </c:pt>
                <c:pt idx="859">
                  <c:v>44022</c:v>
                </c:pt>
                <c:pt idx="860">
                  <c:v>44025</c:v>
                </c:pt>
                <c:pt idx="861">
                  <c:v>44026</c:v>
                </c:pt>
                <c:pt idx="862">
                  <c:v>44027</c:v>
                </c:pt>
                <c:pt idx="863">
                  <c:v>44028</c:v>
                </c:pt>
                <c:pt idx="864">
                  <c:v>44029</c:v>
                </c:pt>
                <c:pt idx="865">
                  <c:v>44032</c:v>
                </c:pt>
                <c:pt idx="866">
                  <c:v>44033</c:v>
                </c:pt>
                <c:pt idx="867">
                  <c:v>44034</c:v>
                </c:pt>
                <c:pt idx="868">
                  <c:v>44035</c:v>
                </c:pt>
                <c:pt idx="869">
                  <c:v>44036</c:v>
                </c:pt>
                <c:pt idx="870">
                  <c:v>44039</c:v>
                </c:pt>
                <c:pt idx="871">
                  <c:v>44040</c:v>
                </c:pt>
                <c:pt idx="872">
                  <c:v>44041</c:v>
                </c:pt>
                <c:pt idx="873">
                  <c:v>44042</c:v>
                </c:pt>
                <c:pt idx="874">
                  <c:v>44043</c:v>
                </c:pt>
                <c:pt idx="875">
                  <c:v>44046</c:v>
                </c:pt>
                <c:pt idx="876">
                  <c:v>44047</c:v>
                </c:pt>
                <c:pt idx="877">
                  <c:v>44048</c:v>
                </c:pt>
                <c:pt idx="878">
                  <c:v>44049</c:v>
                </c:pt>
                <c:pt idx="879">
                  <c:v>44050</c:v>
                </c:pt>
                <c:pt idx="880">
                  <c:v>44053</c:v>
                </c:pt>
                <c:pt idx="881">
                  <c:v>44054</c:v>
                </c:pt>
                <c:pt idx="882">
                  <c:v>44055</c:v>
                </c:pt>
                <c:pt idx="883">
                  <c:v>44056</c:v>
                </c:pt>
                <c:pt idx="884">
                  <c:v>44057</c:v>
                </c:pt>
                <c:pt idx="885">
                  <c:v>44060</c:v>
                </c:pt>
                <c:pt idx="886">
                  <c:v>44061</c:v>
                </c:pt>
                <c:pt idx="887">
                  <c:v>44062</c:v>
                </c:pt>
                <c:pt idx="888">
                  <c:v>44063</c:v>
                </c:pt>
                <c:pt idx="889">
                  <c:v>44064</c:v>
                </c:pt>
                <c:pt idx="890">
                  <c:v>44067</c:v>
                </c:pt>
                <c:pt idx="891">
                  <c:v>44068</c:v>
                </c:pt>
                <c:pt idx="892">
                  <c:v>44069</c:v>
                </c:pt>
                <c:pt idx="893">
                  <c:v>44070</c:v>
                </c:pt>
                <c:pt idx="894">
                  <c:v>44071</c:v>
                </c:pt>
                <c:pt idx="895">
                  <c:v>44074</c:v>
                </c:pt>
                <c:pt idx="896">
                  <c:v>44075</c:v>
                </c:pt>
                <c:pt idx="897">
                  <c:v>44076</c:v>
                </c:pt>
                <c:pt idx="898">
                  <c:v>44077</c:v>
                </c:pt>
                <c:pt idx="899">
                  <c:v>44078</c:v>
                </c:pt>
                <c:pt idx="900">
                  <c:v>44082</c:v>
                </c:pt>
                <c:pt idx="901">
                  <c:v>44083</c:v>
                </c:pt>
                <c:pt idx="902">
                  <c:v>44084</c:v>
                </c:pt>
                <c:pt idx="903">
                  <c:v>44085</c:v>
                </c:pt>
                <c:pt idx="904">
                  <c:v>44088</c:v>
                </c:pt>
                <c:pt idx="905">
                  <c:v>44089</c:v>
                </c:pt>
                <c:pt idx="906">
                  <c:v>44090</c:v>
                </c:pt>
                <c:pt idx="907">
                  <c:v>44091</c:v>
                </c:pt>
                <c:pt idx="908">
                  <c:v>44092</c:v>
                </c:pt>
                <c:pt idx="909">
                  <c:v>44095</c:v>
                </c:pt>
                <c:pt idx="910">
                  <c:v>44096</c:v>
                </c:pt>
                <c:pt idx="911">
                  <c:v>44097</c:v>
                </c:pt>
                <c:pt idx="912">
                  <c:v>44098</c:v>
                </c:pt>
                <c:pt idx="913">
                  <c:v>44099</c:v>
                </c:pt>
                <c:pt idx="914">
                  <c:v>44102</c:v>
                </c:pt>
                <c:pt idx="915">
                  <c:v>44103</c:v>
                </c:pt>
                <c:pt idx="916">
                  <c:v>44104</c:v>
                </c:pt>
                <c:pt idx="917">
                  <c:v>44105</c:v>
                </c:pt>
                <c:pt idx="918">
                  <c:v>44106</c:v>
                </c:pt>
                <c:pt idx="919">
                  <c:v>44109</c:v>
                </c:pt>
                <c:pt idx="920">
                  <c:v>44110</c:v>
                </c:pt>
                <c:pt idx="921">
                  <c:v>44111</c:v>
                </c:pt>
                <c:pt idx="922">
                  <c:v>44112</c:v>
                </c:pt>
                <c:pt idx="923">
                  <c:v>44113</c:v>
                </c:pt>
                <c:pt idx="924">
                  <c:v>44116</c:v>
                </c:pt>
                <c:pt idx="925">
                  <c:v>44117</c:v>
                </c:pt>
                <c:pt idx="926">
                  <c:v>44118</c:v>
                </c:pt>
                <c:pt idx="927">
                  <c:v>44119</c:v>
                </c:pt>
                <c:pt idx="928">
                  <c:v>44120</c:v>
                </c:pt>
                <c:pt idx="929">
                  <c:v>44123</c:v>
                </c:pt>
                <c:pt idx="930">
                  <c:v>44124</c:v>
                </c:pt>
                <c:pt idx="931">
                  <c:v>44125</c:v>
                </c:pt>
                <c:pt idx="932">
                  <c:v>44126</c:v>
                </c:pt>
                <c:pt idx="933">
                  <c:v>44127</c:v>
                </c:pt>
                <c:pt idx="934">
                  <c:v>44130</c:v>
                </c:pt>
                <c:pt idx="935">
                  <c:v>44131</c:v>
                </c:pt>
                <c:pt idx="936">
                  <c:v>44132</c:v>
                </c:pt>
                <c:pt idx="937">
                  <c:v>44133</c:v>
                </c:pt>
                <c:pt idx="938">
                  <c:v>44134</c:v>
                </c:pt>
                <c:pt idx="939">
                  <c:v>44137</c:v>
                </c:pt>
                <c:pt idx="940">
                  <c:v>44138</c:v>
                </c:pt>
                <c:pt idx="941">
                  <c:v>44139</c:v>
                </c:pt>
                <c:pt idx="942">
                  <c:v>44140</c:v>
                </c:pt>
                <c:pt idx="943">
                  <c:v>44141</c:v>
                </c:pt>
                <c:pt idx="944">
                  <c:v>44144</c:v>
                </c:pt>
                <c:pt idx="945">
                  <c:v>44145</c:v>
                </c:pt>
                <c:pt idx="946">
                  <c:v>44146</c:v>
                </c:pt>
                <c:pt idx="947">
                  <c:v>44147</c:v>
                </c:pt>
                <c:pt idx="948">
                  <c:v>44148</c:v>
                </c:pt>
                <c:pt idx="949">
                  <c:v>44151</c:v>
                </c:pt>
                <c:pt idx="950">
                  <c:v>44152</c:v>
                </c:pt>
                <c:pt idx="951">
                  <c:v>44153</c:v>
                </c:pt>
                <c:pt idx="952">
                  <c:v>44154</c:v>
                </c:pt>
                <c:pt idx="953">
                  <c:v>44155</c:v>
                </c:pt>
                <c:pt idx="954">
                  <c:v>44158</c:v>
                </c:pt>
                <c:pt idx="955">
                  <c:v>44159</c:v>
                </c:pt>
                <c:pt idx="956">
                  <c:v>44160</c:v>
                </c:pt>
                <c:pt idx="957">
                  <c:v>44162</c:v>
                </c:pt>
                <c:pt idx="958">
                  <c:v>44165</c:v>
                </c:pt>
                <c:pt idx="959">
                  <c:v>44166</c:v>
                </c:pt>
                <c:pt idx="960">
                  <c:v>44167</c:v>
                </c:pt>
                <c:pt idx="961">
                  <c:v>44168</c:v>
                </c:pt>
                <c:pt idx="962">
                  <c:v>44169</c:v>
                </c:pt>
                <c:pt idx="963">
                  <c:v>44172</c:v>
                </c:pt>
                <c:pt idx="964">
                  <c:v>44173</c:v>
                </c:pt>
                <c:pt idx="965">
                  <c:v>44174</c:v>
                </c:pt>
                <c:pt idx="966">
                  <c:v>44175</c:v>
                </c:pt>
                <c:pt idx="967">
                  <c:v>44176</c:v>
                </c:pt>
                <c:pt idx="968">
                  <c:v>44179</c:v>
                </c:pt>
                <c:pt idx="969">
                  <c:v>44180</c:v>
                </c:pt>
                <c:pt idx="970">
                  <c:v>44181</c:v>
                </c:pt>
                <c:pt idx="971">
                  <c:v>44182</c:v>
                </c:pt>
                <c:pt idx="972">
                  <c:v>44183</c:v>
                </c:pt>
                <c:pt idx="973">
                  <c:v>44186</c:v>
                </c:pt>
                <c:pt idx="974">
                  <c:v>44187</c:v>
                </c:pt>
                <c:pt idx="975">
                  <c:v>44188</c:v>
                </c:pt>
                <c:pt idx="976">
                  <c:v>44189</c:v>
                </c:pt>
                <c:pt idx="977">
                  <c:v>44193</c:v>
                </c:pt>
                <c:pt idx="978">
                  <c:v>44194</c:v>
                </c:pt>
                <c:pt idx="979">
                  <c:v>44195</c:v>
                </c:pt>
                <c:pt idx="980">
                  <c:v>44196</c:v>
                </c:pt>
                <c:pt idx="981">
                  <c:v>44200</c:v>
                </c:pt>
                <c:pt idx="982">
                  <c:v>44201</c:v>
                </c:pt>
                <c:pt idx="983">
                  <c:v>44202</c:v>
                </c:pt>
                <c:pt idx="984">
                  <c:v>44203</c:v>
                </c:pt>
                <c:pt idx="985">
                  <c:v>44204</c:v>
                </c:pt>
                <c:pt idx="986">
                  <c:v>44207</c:v>
                </c:pt>
                <c:pt idx="987">
                  <c:v>44208</c:v>
                </c:pt>
                <c:pt idx="988">
                  <c:v>44209</c:v>
                </c:pt>
                <c:pt idx="989">
                  <c:v>44210</c:v>
                </c:pt>
                <c:pt idx="990">
                  <c:v>44211</c:v>
                </c:pt>
                <c:pt idx="991">
                  <c:v>44215</c:v>
                </c:pt>
                <c:pt idx="992">
                  <c:v>44216</c:v>
                </c:pt>
                <c:pt idx="993">
                  <c:v>44217</c:v>
                </c:pt>
                <c:pt idx="994">
                  <c:v>44218</c:v>
                </c:pt>
                <c:pt idx="995">
                  <c:v>44221</c:v>
                </c:pt>
                <c:pt idx="996">
                  <c:v>44222</c:v>
                </c:pt>
                <c:pt idx="997">
                  <c:v>44223</c:v>
                </c:pt>
                <c:pt idx="998">
                  <c:v>44224</c:v>
                </c:pt>
                <c:pt idx="999">
                  <c:v>44225</c:v>
                </c:pt>
                <c:pt idx="1000">
                  <c:v>44228</c:v>
                </c:pt>
                <c:pt idx="1001">
                  <c:v>44229</c:v>
                </c:pt>
                <c:pt idx="1002">
                  <c:v>44230</c:v>
                </c:pt>
                <c:pt idx="1003">
                  <c:v>44231</c:v>
                </c:pt>
                <c:pt idx="1004">
                  <c:v>44232</c:v>
                </c:pt>
                <c:pt idx="1005">
                  <c:v>44235</c:v>
                </c:pt>
                <c:pt idx="1006">
                  <c:v>44236</c:v>
                </c:pt>
                <c:pt idx="1007">
                  <c:v>44237</c:v>
                </c:pt>
                <c:pt idx="1008">
                  <c:v>44238</c:v>
                </c:pt>
                <c:pt idx="1009">
                  <c:v>44239</c:v>
                </c:pt>
                <c:pt idx="1010">
                  <c:v>44243</c:v>
                </c:pt>
                <c:pt idx="1011">
                  <c:v>44244</c:v>
                </c:pt>
                <c:pt idx="1012">
                  <c:v>44245</c:v>
                </c:pt>
                <c:pt idx="1013">
                  <c:v>44246</c:v>
                </c:pt>
                <c:pt idx="1014">
                  <c:v>44249</c:v>
                </c:pt>
                <c:pt idx="1015">
                  <c:v>44250</c:v>
                </c:pt>
                <c:pt idx="1016">
                  <c:v>44251</c:v>
                </c:pt>
                <c:pt idx="1017">
                  <c:v>44252</c:v>
                </c:pt>
                <c:pt idx="1018">
                  <c:v>44253</c:v>
                </c:pt>
                <c:pt idx="1019">
                  <c:v>44256</c:v>
                </c:pt>
                <c:pt idx="1020">
                  <c:v>44257</c:v>
                </c:pt>
                <c:pt idx="1021">
                  <c:v>44258</c:v>
                </c:pt>
                <c:pt idx="1022">
                  <c:v>44259</c:v>
                </c:pt>
                <c:pt idx="1023">
                  <c:v>44260</c:v>
                </c:pt>
                <c:pt idx="1024">
                  <c:v>44263</c:v>
                </c:pt>
                <c:pt idx="1025">
                  <c:v>44264</c:v>
                </c:pt>
                <c:pt idx="1026">
                  <c:v>44265</c:v>
                </c:pt>
                <c:pt idx="1027">
                  <c:v>44266</c:v>
                </c:pt>
                <c:pt idx="1028">
                  <c:v>44267</c:v>
                </c:pt>
                <c:pt idx="1029">
                  <c:v>44270</c:v>
                </c:pt>
                <c:pt idx="1030">
                  <c:v>44271</c:v>
                </c:pt>
                <c:pt idx="1031">
                  <c:v>44272</c:v>
                </c:pt>
                <c:pt idx="1032">
                  <c:v>44273</c:v>
                </c:pt>
                <c:pt idx="1033">
                  <c:v>44274</c:v>
                </c:pt>
                <c:pt idx="1034">
                  <c:v>44277</c:v>
                </c:pt>
                <c:pt idx="1035">
                  <c:v>44278</c:v>
                </c:pt>
                <c:pt idx="1036">
                  <c:v>44279</c:v>
                </c:pt>
                <c:pt idx="1037">
                  <c:v>44280</c:v>
                </c:pt>
                <c:pt idx="1038">
                  <c:v>44281</c:v>
                </c:pt>
                <c:pt idx="1039">
                  <c:v>44284</c:v>
                </c:pt>
                <c:pt idx="1040">
                  <c:v>44285</c:v>
                </c:pt>
                <c:pt idx="1041">
                  <c:v>44286</c:v>
                </c:pt>
                <c:pt idx="1042">
                  <c:v>44287</c:v>
                </c:pt>
                <c:pt idx="1043">
                  <c:v>44291</c:v>
                </c:pt>
                <c:pt idx="1044">
                  <c:v>44292</c:v>
                </c:pt>
                <c:pt idx="1045">
                  <c:v>44293</c:v>
                </c:pt>
                <c:pt idx="1046">
                  <c:v>44294</c:v>
                </c:pt>
                <c:pt idx="1047">
                  <c:v>44295</c:v>
                </c:pt>
                <c:pt idx="1048">
                  <c:v>44298</c:v>
                </c:pt>
                <c:pt idx="1049">
                  <c:v>44299</c:v>
                </c:pt>
                <c:pt idx="1050">
                  <c:v>44300</c:v>
                </c:pt>
                <c:pt idx="1051">
                  <c:v>44301</c:v>
                </c:pt>
                <c:pt idx="1052">
                  <c:v>44302</c:v>
                </c:pt>
                <c:pt idx="1053">
                  <c:v>44305</c:v>
                </c:pt>
                <c:pt idx="1054">
                  <c:v>44306</c:v>
                </c:pt>
                <c:pt idx="1055">
                  <c:v>44307</c:v>
                </c:pt>
                <c:pt idx="1056">
                  <c:v>44308</c:v>
                </c:pt>
                <c:pt idx="1057">
                  <c:v>44309</c:v>
                </c:pt>
                <c:pt idx="1058">
                  <c:v>44312</c:v>
                </c:pt>
                <c:pt idx="1059">
                  <c:v>44313</c:v>
                </c:pt>
                <c:pt idx="1060">
                  <c:v>44314</c:v>
                </c:pt>
                <c:pt idx="1061">
                  <c:v>44315</c:v>
                </c:pt>
                <c:pt idx="1062">
                  <c:v>44316</c:v>
                </c:pt>
                <c:pt idx="1063">
                  <c:v>44319</c:v>
                </c:pt>
                <c:pt idx="1064">
                  <c:v>44320</c:v>
                </c:pt>
                <c:pt idx="1065">
                  <c:v>44321</c:v>
                </c:pt>
                <c:pt idx="1066">
                  <c:v>44322</c:v>
                </c:pt>
                <c:pt idx="1067">
                  <c:v>44323</c:v>
                </c:pt>
                <c:pt idx="1068">
                  <c:v>44326</c:v>
                </c:pt>
                <c:pt idx="1069">
                  <c:v>44327</c:v>
                </c:pt>
                <c:pt idx="1070">
                  <c:v>44328</c:v>
                </c:pt>
                <c:pt idx="1071">
                  <c:v>44329</c:v>
                </c:pt>
                <c:pt idx="1072">
                  <c:v>44330</c:v>
                </c:pt>
                <c:pt idx="1073">
                  <c:v>44333</c:v>
                </c:pt>
                <c:pt idx="1074">
                  <c:v>44334</c:v>
                </c:pt>
                <c:pt idx="1075">
                  <c:v>44335</c:v>
                </c:pt>
                <c:pt idx="1076">
                  <c:v>44336</c:v>
                </c:pt>
                <c:pt idx="1077">
                  <c:v>44337</c:v>
                </c:pt>
                <c:pt idx="1078">
                  <c:v>44340</c:v>
                </c:pt>
                <c:pt idx="1079">
                  <c:v>44341</c:v>
                </c:pt>
                <c:pt idx="1080">
                  <c:v>44342</c:v>
                </c:pt>
                <c:pt idx="1081">
                  <c:v>44343</c:v>
                </c:pt>
                <c:pt idx="1082">
                  <c:v>44344</c:v>
                </c:pt>
                <c:pt idx="1083">
                  <c:v>44348</c:v>
                </c:pt>
                <c:pt idx="1084">
                  <c:v>44349</c:v>
                </c:pt>
                <c:pt idx="1085">
                  <c:v>44350</c:v>
                </c:pt>
                <c:pt idx="1086">
                  <c:v>44351</c:v>
                </c:pt>
                <c:pt idx="1087">
                  <c:v>44354</c:v>
                </c:pt>
                <c:pt idx="1088">
                  <c:v>44355</c:v>
                </c:pt>
                <c:pt idx="1089">
                  <c:v>44356</c:v>
                </c:pt>
                <c:pt idx="1090">
                  <c:v>44357</c:v>
                </c:pt>
                <c:pt idx="1091">
                  <c:v>44358</c:v>
                </c:pt>
                <c:pt idx="1092">
                  <c:v>44361</c:v>
                </c:pt>
                <c:pt idx="1093">
                  <c:v>44362</c:v>
                </c:pt>
                <c:pt idx="1094">
                  <c:v>44363</c:v>
                </c:pt>
                <c:pt idx="1095">
                  <c:v>44364</c:v>
                </c:pt>
                <c:pt idx="1096">
                  <c:v>44365</c:v>
                </c:pt>
                <c:pt idx="1097">
                  <c:v>44368</c:v>
                </c:pt>
                <c:pt idx="1098">
                  <c:v>44369</c:v>
                </c:pt>
                <c:pt idx="1099">
                  <c:v>44370</c:v>
                </c:pt>
                <c:pt idx="1100">
                  <c:v>44371</c:v>
                </c:pt>
                <c:pt idx="1101">
                  <c:v>44372</c:v>
                </c:pt>
                <c:pt idx="1102">
                  <c:v>44375</c:v>
                </c:pt>
                <c:pt idx="1103">
                  <c:v>44376</c:v>
                </c:pt>
                <c:pt idx="1104">
                  <c:v>44377</c:v>
                </c:pt>
                <c:pt idx="1105">
                  <c:v>44378</c:v>
                </c:pt>
                <c:pt idx="1106">
                  <c:v>44379</c:v>
                </c:pt>
                <c:pt idx="1107">
                  <c:v>44383</c:v>
                </c:pt>
                <c:pt idx="1108">
                  <c:v>44384</c:v>
                </c:pt>
                <c:pt idx="1109">
                  <c:v>44385</c:v>
                </c:pt>
                <c:pt idx="1110">
                  <c:v>44386</c:v>
                </c:pt>
                <c:pt idx="1111">
                  <c:v>44389</c:v>
                </c:pt>
                <c:pt idx="1112">
                  <c:v>44390</c:v>
                </c:pt>
                <c:pt idx="1113">
                  <c:v>44391</c:v>
                </c:pt>
                <c:pt idx="1114">
                  <c:v>44392</c:v>
                </c:pt>
                <c:pt idx="1115">
                  <c:v>44393</c:v>
                </c:pt>
                <c:pt idx="1116">
                  <c:v>44396</c:v>
                </c:pt>
                <c:pt idx="1117">
                  <c:v>44397</c:v>
                </c:pt>
                <c:pt idx="1118">
                  <c:v>44398</c:v>
                </c:pt>
                <c:pt idx="1119">
                  <c:v>44399</c:v>
                </c:pt>
                <c:pt idx="1120">
                  <c:v>44400</c:v>
                </c:pt>
                <c:pt idx="1121">
                  <c:v>44403</c:v>
                </c:pt>
                <c:pt idx="1122">
                  <c:v>44404</c:v>
                </c:pt>
                <c:pt idx="1123">
                  <c:v>44405</c:v>
                </c:pt>
                <c:pt idx="1124">
                  <c:v>44406</c:v>
                </c:pt>
                <c:pt idx="1125">
                  <c:v>44407</c:v>
                </c:pt>
                <c:pt idx="1126">
                  <c:v>44410</c:v>
                </c:pt>
                <c:pt idx="1127">
                  <c:v>44411</c:v>
                </c:pt>
                <c:pt idx="1128">
                  <c:v>44412</c:v>
                </c:pt>
                <c:pt idx="1129">
                  <c:v>44413</c:v>
                </c:pt>
                <c:pt idx="1130">
                  <c:v>44414</c:v>
                </c:pt>
                <c:pt idx="1131">
                  <c:v>44417</c:v>
                </c:pt>
                <c:pt idx="1132">
                  <c:v>44418</c:v>
                </c:pt>
                <c:pt idx="1133">
                  <c:v>44419</c:v>
                </c:pt>
                <c:pt idx="1134">
                  <c:v>44420</c:v>
                </c:pt>
                <c:pt idx="1135">
                  <c:v>44421</c:v>
                </c:pt>
                <c:pt idx="1136">
                  <c:v>44424</c:v>
                </c:pt>
                <c:pt idx="1137">
                  <c:v>44425</c:v>
                </c:pt>
                <c:pt idx="1138">
                  <c:v>44426</c:v>
                </c:pt>
                <c:pt idx="1139">
                  <c:v>44427</c:v>
                </c:pt>
                <c:pt idx="1140">
                  <c:v>44428</c:v>
                </c:pt>
                <c:pt idx="1141">
                  <c:v>44431</c:v>
                </c:pt>
                <c:pt idx="1142">
                  <c:v>44432</c:v>
                </c:pt>
                <c:pt idx="1143">
                  <c:v>44433</c:v>
                </c:pt>
                <c:pt idx="1144">
                  <c:v>44434</c:v>
                </c:pt>
                <c:pt idx="1145">
                  <c:v>44435</c:v>
                </c:pt>
                <c:pt idx="1146">
                  <c:v>44438</c:v>
                </c:pt>
                <c:pt idx="1147">
                  <c:v>44439</c:v>
                </c:pt>
                <c:pt idx="1148">
                  <c:v>44440</c:v>
                </c:pt>
                <c:pt idx="1149">
                  <c:v>44441</c:v>
                </c:pt>
                <c:pt idx="1150">
                  <c:v>44442</c:v>
                </c:pt>
                <c:pt idx="1151">
                  <c:v>44446</c:v>
                </c:pt>
                <c:pt idx="1152">
                  <c:v>44447</c:v>
                </c:pt>
                <c:pt idx="1153">
                  <c:v>44448</c:v>
                </c:pt>
                <c:pt idx="1154">
                  <c:v>44449</c:v>
                </c:pt>
                <c:pt idx="1155">
                  <c:v>44452</c:v>
                </c:pt>
                <c:pt idx="1156">
                  <c:v>44453</c:v>
                </c:pt>
                <c:pt idx="1157">
                  <c:v>44454</c:v>
                </c:pt>
                <c:pt idx="1158">
                  <c:v>44455</c:v>
                </c:pt>
                <c:pt idx="1159">
                  <c:v>44456</c:v>
                </c:pt>
                <c:pt idx="1160">
                  <c:v>44459</c:v>
                </c:pt>
                <c:pt idx="1161">
                  <c:v>44460</c:v>
                </c:pt>
                <c:pt idx="1162">
                  <c:v>44461</c:v>
                </c:pt>
                <c:pt idx="1163">
                  <c:v>44462</c:v>
                </c:pt>
                <c:pt idx="1164">
                  <c:v>44463</c:v>
                </c:pt>
                <c:pt idx="1165">
                  <c:v>44466</c:v>
                </c:pt>
                <c:pt idx="1166">
                  <c:v>44467</c:v>
                </c:pt>
                <c:pt idx="1167">
                  <c:v>44468</c:v>
                </c:pt>
                <c:pt idx="1168">
                  <c:v>44469</c:v>
                </c:pt>
                <c:pt idx="1169">
                  <c:v>44470</c:v>
                </c:pt>
                <c:pt idx="1170">
                  <c:v>44473</c:v>
                </c:pt>
                <c:pt idx="1171">
                  <c:v>44474</c:v>
                </c:pt>
                <c:pt idx="1172">
                  <c:v>44475</c:v>
                </c:pt>
                <c:pt idx="1173">
                  <c:v>44476</c:v>
                </c:pt>
                <c:pt idx="1174">
                  <c:v>44477</c:v>
                </c:pt>
                <c:pt idx="1175">
                  <c:v>44480</c:v>
                </c:pt>
                <c:pt idx="1176">
                  <c:v>44481</c:v>
                </c:pt>
                <c:pt idx="1177">
                  <c:v>44482</c:v>
                </c:pt>
                <c:pt idx="1178">
                  <c:v>44483</c:v>
                </c:pt>
                <c:pt idx="1179">
                  <c:v>44484</c:v>
                </c:pt>
                <c:pt idx="1180">
                  <c:v>44487</c:v>
                </c:pt>
                <c:pt idx="1181">
                  <c:v>44488</c:v>
                </c:pt>
                <c:pt idx="1182">
                  <c:v>44489</c:v>
                </c:pt>
                <c:pt idx="1183">
                  <c:v>44490</c:v>
                </c:pt>
                <c:pt idx="1184">
                  <c:v>44491</c:v>
                </c:pt>
                <c:pt idx="1185">
                  <c:v>44494</c:v>
                </c:pt>
                <c:pt idx="1186">
                  <c:v>44495</c:v>
                </c:pt>
                <c:pt idx="1187">
                  <c:v>44496</c:v>
                </c:pt>
                <c:pt idx="1188">
                  <c:v>44497</c:v>
                </c:pt>
                <c:pt idx="1189">
                  <c:v>44498</c:v>
                </c:pt>
                <c:pt idx="1190">
                  <c:v>44501</c:v>
                </c:pt>
                <c:pt idx="1191">
                  <c:v>44502</c:v>
                </c:pt>
                <c:pt idx="1192">
                  <c:v>44503</c:v>
                </c:pt>
                <c:pt idx="1193">
                  <c:v>44504</c:v>
                </c:pt>
                <c:pt idx="1194">
                  <c:v>44505</c:v>
                </c:pt>
                <c:pt idx="1195">
                  <c:v>44508</c:v>
                </c:pt>
                <c:pt idx="1196">
                  <c:v>44509</c:v>
                </c:pt>
                <c:pt idx="1197">
                  <c:v>44510</c:v>
                </c:pt>
                <c:pt idx="1198">
                  <c:v>44511</c:v>
                </c:pt>
                <c:pt idx="1199">
                  <c:v>44512</c:v>
                </c:pt>
                <c:pt idx="1200">
                  <c:v>44515</c:v>
                </c:pt>
                <c:pt idx="1201">
                  <c:v>44516</c:v>
                </c:pt>
                <c:pt idx="1202">
                  <c:v>44517</c:v>
                </c:pt>
                <c:pt idx="1203">
                  <c:v>44518</c:v>
                </c:pt>
                <c:pt idx="1204">
                  <c:v>44519</c:v>
                </c:pt>
                <c:pt idx="1205">
                  <c:v>44522</c:v>
                </c:pt>
                <c:pt idx="1206">
                  <c:v>44523</c:v>
                </c:pt>
                <c:pt idx="1207">
                  <c:v>44524</c:v>
                </c:pt>
                <c:pt idx="1208">
                  <c:v>44526</c:v>
                </c:pt>
                <c:pt idx="1209">
                  <c:v>44529</c:v>
                </c:pt>
                <c:pt idx="1210">
                  <c:v>44530</c:v>
                </c:pt>
                <c:pt idx="1211">
                  <c:v>44531</c:v>
                </c:pt>
                <c:pt idx="1212">
                  <c:v>44532</c:v>
                </c:pt>
                <c:pt idx="1213">
                  <c:v>44533</c:v>
                </c:pt>
                <c:pt idx="1214">
                  <c:v>44536</c:v>
                </c:pt>
                <c:pt idx="1215">
                  <c:v>44537</c:v>
                </c:pt>
                <c:pt idx="1216">
                  <c:v>44538</c:v>
                </c:pt>
                <c:pt idx="1217">
                  <c:v>44539</c:v>
                </c:pt>
                <c:pt idx="1218">
                  <c:v>44540</c:v>
                </c:pt>
                <c:pt idx="1219">
                  <c:v>44543</c:v>
                </c:pt>
                <c:pt idx="1220">
                  <c:v>44544</c:v>
                </c:pt>
                <c:pt idx="1221">
                  <c:v>44545</c:v>
                </c:pt>
                <c:pt idx="1222">
                  <c:v>44546</c:v>
                </c:pt>
                <c:pt idx="1223">
                  <c:v>44547</c:v>
                </c:pt>
                <c:pt idx="1224">
                  <c:v>44550</c:v>
                </c:pt>
                <c:pt idx="1225">
                  <c:v>44551</c:v>
                </c:pt>
                <c:pt idx="1226">
                  <c:v>44552</c:v>
                </c:pt>
                <c:pt idx="1227">
                  <c:v>44553</c:v>
                </c:pt>
                <c:pt idx="1228">
                  <c:v>44557</c:v>
                </c:pt>
                <c:pt idx="1229">
                  <c:v>44558</c:v>
                </c:pt>
                <c:pt idx="1230">
                  <c:v>44559</c:v>
                </c:pt>
                <c:pt idx="1231">
                  <c:v>44560</c:v>
                </c:pt>
                <c:pt idx="1232">
                  <c:v>44561</c:v>
                </c:pt>
                <c:pt idx="1233">
                  <c:v>44564</c:v>
                </c:pt>
                <c:pt idx="1234">
                  <c:v>44565</c:v>
                </c:pt>
                <c:pt idx="1235">
                  <c:v>44566</c:v>
                </c:pt>
                <c:pt idx="1236">
                  <c:v>44567</c:v>
                </c:pt>
                <c:pt idx="1237">
                  <c:v>44568</c:v>
                </c:pt>
                <c:pt idx="1238">
                  <c:v>44571</c:v>
                </c:pt>
                <c:pt idx="1239">
                  <c:v>44572</c:v>
                </c:pt>
                <c:pt idx="1240">
                  <c:v>44573</c:v>
                </c:pt>
                <c:pt idx="1241">
                  <c:v>44574</c:v>
                </c:pt>
                <c:pt idx="1242">
                  <c:v>44575</c:v>
                </c:pt>
                <c:pt idx="1243">
                  <c:v>44579</c:v>
                </c:pt>
                <c:pt idx="1244">
                  <c:v>44580</c:v>
                </c:pt>
                <c:pt idx="1245">
                  <c:v>44581</c:v>
                </c:pt>
                <c:pt idx="1246">
                  <c:v>44582</c:v>
                </c:pt>
                <c:pt idx="1247">
                  <c:v>44585</c:v>
                </c:pt>
                <c:pt idx="1248">
                  <c:v>44586</c:v>
                </c:pt>
                <c:pt idx="1249">
                  <c:v>44587</c:v>
                </c:pt>
                <c:pt idx="1250">
                  <c:v>44588</c:v>
                </c:pt>
                <c:pt idx="1251">
                  <c:v>44589</c:v>
                </c:pt>
                <c:pt idx="1252">
                  <c:v>44592</c:v>
                </c:pt>
                <c:pt idx="1253">
                  <c:v>44593</c:v>
                </c:pt>
                <c:pt idx="1254">
                  <c:v>44594</c:v>
                </c:pt>
                <c:pt idx="1255">
                  <c:v>44595</c:v>
                </c:pt>
                <c:pt idx="1256">
                  <c:v>44596</c:v>
                </c:pt>
                <c:pt idx="1257">
                  <c:v>44599</c:v>
                </c:pt>
                <c:pt idx="1258">
                  <c:v>44600</c:v>
                </c:pt>
                <c:pt idx="1259">
                  <c:v>44601</c:v>
                </c:pt>
                <c:pt idx="1260">
                  <c:v>44602</c:v>
                </c:pt>
                <c:pt idx="1261">
                  <c:v>44603</c:v>
                </c:pt>
                <c:pt idx="1262">
                  <c:v>44606</c:v>
                </c:pt>
                <c:pt idx="1263">
                  <c:v>44607</c:v>
                </c:pt>
                <c:pt idx="1264">
                  <c:v>44608</c:v>
                </c:pt>
                <c:pt idx="1265">
                  <c:v>44609</c:v>
                </c:pt>
                <c:pt idx="1266">
                  <c:v>44610</c:v>
                </c:pt>
                <c:pt idx="1267">
                  <c:v>44614</c:v>
                </c:pt>
                <c:pt idx="1268">
                  <c:v>44615</c:v>
                </c:pt>
                <c:pt idx="1269">
                  <c:v>44616</c:v>
                </c:pt>
                <c:pt idx="1270">
                  <c:v>44617</c:v>
                </c:pt>
                <c:pt idx="1271">
                  <c:v>44620</c:v>
                </c:pt>
                <c:pt idx="1272">
                  <c:v>44621</c:v>
                </c:pt>
                <c:pt idx="1273">
                  <c:v>44622</c:v>
                </c:pt>
                <c:pt idx="1274">
                  <c:v>44623</c:v>
                </c:pt>
                <c:pt idx="1275">
                  <c:v>44624</c:v>
                </c:pt>
                <c:pt idx="1276">
                  <c:v>44627</c:v>
                </c:pt>
                <c:pt idx="1277">
                  <c:v>44628</c:v>
                </c:pt>
                <c:pt idx="1278">
                  <c:v>44629</c:v>
                </c:pt>
                <c:pt idx="1279">
                  <c:v>44630</c:v>
                </c:pt>
                <c:pt idx="1280">
                  <c:v>44631</c:v>
                </c:pt>
                <c:pt idx="1281">
                  <c:v>44634</c:v>
                </c:pt>
                <c:pt idx="1282">
                  <c:v>44635</c:v>
                </c:pt>
                <c:pt idx="1283">
                  <c:v>44636</c:v>
                </c:pt>
                <c:pt idx="1284">
                  <c:v>44637</c:v>
                </c:pt>
                <c:pt idx="1285">
                  <c:v>44638</c:v>
                </c:pt>
                <c:pt idx="1286">
                  <c:v>44641</c:v>
                </c:pt>
                <c:pt idx="1287">
                  <c:v>44642</c:v>
                </c:pt>
                <c:pt idx="1288">
                  <c:v>44643</c:v>
                </c:pt>
                <c:pt idx="1289">
                  <c:v>44644</c:v>
                </c:pt>
                <c:pt idx="1290">
                  <c:v>44645</c:v>
                </c:pt>
                <c:pt idx="1291">
                  <c:v>44648</c:v>
                </c:pt>
                <c:pt idx="1292">
                  <c:v>44649</c:v>
                </c:pt>
                <c:pt idx="1293">
                  <c:v>44650</c:v>
                </c:pt>
                <c:pt idx="1294">
                  <c:v>44651</c:v>
                </c:pt>
                <c:pt idx="1295">
                  <c:v>44652</c:v>
                </c:pt>
                <c:pt idx="1296">
                  <c:v>44655</c:v>
                </c:pt>
                <c:pt idx="1297">
                  <c:v>44656</c:v>
                </c:pt>
                <c:pt idx="1298">
                  <c:v>44657</c:v>
                </c:pt>
                <c:pt idx="1299">
                  <c:v>44658</c:v>
                </c:pt>
                <c:pt idx="1300">
                  <c:v>44659</c:v>
                </c:pt>
                <c:pt idx="1301">
                  <c:v>44662</c:v>
                </c:pt>
                <c:pt idx="1302">
                  <c:v>44663</c:v>
                </c:pt>
                <c:pt idx="1303">
                  <c:v>44664</c:v>
                </c:pt>
                <c:pt idx="1304">
                  <c:v>44665</c:v>
                </c:pt>
                <c:pt idx="1305">
                  <c:v>44669</c:v>
                </c:pt>
                <c:pt idx="1306">
                  <c:v>44670</c:v>
                </c:pt>
                <c:pt idx="1307">
                  <c:v>44671</c:v>
                </c:pt>
                <c:pt idx="1308">
                  <c:v>44672</c:v>
                </c:pt>
                <c:pt idx="1309">
                  <c:v>44673</c:v>
                </c:pt>
                <c:pt idx="1310">
                  <c:v>44676</c:v>
                </c:pt>
                <c:pt idx="1311">
                  <c:v>44677</c:v>
                </c:pt>
                <c:pt idx="1312">
                  <c:v>44678</c:v>
                </c:pt>
                <c:pt idx="1313">
                  <c:v>44679</c:v>
                </c:pt>
                <c:pt idx="1314">
                  <c:v>44680</c:v>
                </c:pt>
                <c:pt idx="1315">
                  <c:v>44683</c:v>
                </c:pt>
                <c:pt idx="1316">
                  <c:v>44684</c:v>
                </c:pt>
                <c:pt idx="1317">
                  <c:v>44685</c:v>
                </c:pt>
                <c:pt idx="1318">
                  <c:v>44686</c:v>
                </c:pt>
                <c:pt idx="1319">
                  <c:v>44687</c:v>
                </c:pt>
                <c:pt idx="1320">
                  <c:v>44690</c:v>
                </c:pt>
                <c:pt idx="1321">
                  <c:v>44691</c:v>
                </c:pt>
                <c:pt idx="1322">
                  <c:v>44692</c:v>
                </c:pt>
                <c:pt idx="1323">
                  <c:v>44693</c:v>
                </c:pt>
                <c:pt idx="1324">
                  <c:v>44694</c:v>
                </c:pt>
                <c:pt idx="1325">
                  <c:v>44697</c:v>
                </c:pt>
                <c:pt idx="1326">
                  <c:v>44698</c:v>
                </c:pt>
                <c:pt idx="1327">
                  <c:v>44699</c:v>
                </c:pt>
                <c:pt idx="1328">
                  <c:v>44700</c:v>
                </c:pt>
                <c:pt idx="1329">
                  <c:v>44701</c:v>
                </c:pt>
                <c:pt idx="1330">
                  <c:v>44704</c:v>
                </c:pt>
                <c:pt idx="1331">
                  <c:v>44705</c:v>
                </c:pt>
                <c:pt idx="1332">
                  <c:v>44706</c:v>
                </c:pt>
                <c:pt idx="1333">
                  <c:v>44707</c:v>
                </c:pt>
                <c:pt idx="1334">
                  <c:v>44708</c:v>
                </c:pt>
                <c:pt idx="1335">
                  <c:v>44712</c:v>
                </c:pt>
                <c:pt idx="1336">
                  <c:v>44713</c:v>
                </c:pt>
                <c:pt idx="1337">
                  <c:v>44714</c:v>
                </c:pt>
                <c:pt idx="1338">
                  <c:v>44715</c:v>
                </c:pt>
                <c:pt idx="1339">
                  <c:v>44718</c:v>
                </c:pt>
                <c:pt idx="1340">
                  <c:v>44719</c:v>
                </c:pt>
                <c:pt idx="1341">
                  <c:v>44720</c:v>
                </c:pt>
                <c:pt idx="1342">
                  <c:v>44721</c:v>
                </c:pt>
                <c:pt idx="1343">
                  <c:v>44722</c:v>
                </c:pt>
                <c:pt idx="1344">
                  <c:v>44725</c:v>
                </c:pt>
                <c:pt idx="1345">
                  <c:v>44726</c:v>
                </c:pt>
                <c:pt idx="1346">
                  <c:v>44727</c:v>
                </c:pt>
                <c:pt idx="1347">
                  <c:v>44728</c:v>
                </c:pt>
                <c:pt idx="1348">
                  <c:v>44729</c:v>
                </c:pt>
                <c:pt idx="1349">
                  <c:v>44733</c:v>
                </c:pt>
                <c:pt idx="1350">
                  <c:v>44734</c:v>
                </c:pt>
                <c:pt idx="1351">
                  <c:v>44735</c:v>
                </c:pt>
                <c:pt idx="1352">
                  <c:v>44736</c:v>
                </c:pt>
                <c:pt idx="1353">
                  <c:v>44739</c:v>
                </c:pt>
                <c:pt idx="1354">
                  <c:v>44740</c:v>
                </c:pt>
                <c:pt idx="1355">
                  <c:v>44741</c:v>
                </c:pt>
                <c:pt idx="1356">
                  <c:v>44742</c:v>
                </c:pt>
                <c:pt idx="1357">
                  <c:v>44743</c:v>
                </c:pt>
                <c:pt idx="1358">
                  <c:v>44747</c:v>
                </c:pt>
                <c:pt idx="1359">
                  <c:v>44748</c:v>
                </c:pt>
                <c:pt idx="1360">
                  <c:v>44749</c:v>
                </c:pt>
                <c:pt idx="1361">
                  <c:v>44750</c:v>
                </c:pt>
                <c:pt idx="1362">
                  <c:v>44753</c:v>
                </c:pt>
                <c:pt idx="1363">
                  <c:v>44754</c:v>
                </c:pt>
                <c:pt idx="1364">
                  <c:v>44755</c:v>
                </c:pt>
                <c:pt idx="1365">
                  <c:v>44756</c:v>
                </c:pt>
                <c:pt idx="1366">
                  <c:v>44757</c:v>
                </c:pt>
                <c:pt idx="1367">
                  <c:v>44760</c:v>
                </c:pt>
                <c:pt idx="1368">
                  <c:v>44761</c:v>
                </c:pt>
                <c:pt idx="1369">
                  <c:v>44762</c:v>
                </c:pt>
                <c:pt idx="1370">
                  <c:v>44763</c:v>
                </c:pt>
                <c:pt idx="1371">
                  <c:v>44764</c:v>
                </c:pt>
                <c:pt idx="1372">
                  <c:v>44767</c:v>
                </c:pt>
                <c:pt idx="1373">
                  <c:v>44768</c:v>
                </c:pt>
                <c:pt idx="1374">
                  <c:v>44769</c:v>
                </c:pt>
                <c:pt idx="1375">
                  <c:v>44770</c:v>
                </c:pt>
                <c:pt idx="1376">
                  <c:v>44771</c:v>
                </c:pt>
                <c:pt idx="1377">
                  <c:v>44774</c:v>
                </c:pt>
                <c:pt idx="1378">
                  <c:v>44775</c:v>
                </c:pt>
                <c:pt idx="1379">
                  <c:v>44776</c:v>
                </c:pt>
                <c:pt idx="1380">
                  <c:v>44777</c:v>
                </c:pt>
                <c:pt idx="1381">
                  <c:v>44778</c:v>
                </c:pt>
                <c:pt idx="1382">
                  <c:v>44781</c:v>
                </c:pt>
                <c:pt idx="1383">
                  <c:v>44782</c:v>
                </c:pt>
                <c:pt idx="1384">
                  <c:v>44783</c:v>
                </c:pt>
                <c:pt idx="1385">
                  <c:v>44784</c:v>
                </c:pt>
                <c:pt idx="1386">
                  <c:v>44785</c:v>
                </c:pt>
                <c:pt idx="1387">
                  <c:v>44788</c:v>
                </c:pt>
                <c:pt idx="1388">
                  <c:v>44789</c:v>
                </c:pt>
                <c:pt idx="1389">
                  <c:v>44790</c:v>
                </c:pt>
                <c:pt idx="1390">
                  <c:v>44791</c:v>
                </c:pt>
                <c:pt idx="1391">
                  <c:v>44792</c:v>
                </c:pt>
                <c:pt idx="1392">
                  <c:v>44795</c:v>
                </c:pt>
                <c:pt idx="1393">
                  <c:v>44796</c:v>
                </c:pt>
                <c:pt idx="1394">
                  <c:v>44797</c:v>
                </c:pt>
                <c:pt idx="1395">
                  <c:v>44798</c:v>
                </c:pt>
                <c:pt idx="1396">
                  <c:v>44799</c:v>
                </c:pt>
                <c:pt idx="1397">
                  <c:v>44802</c:v>
                </c:pt>
                <c:pt idx="1398">
                  <c:v>44803</c:v>
                </c:pt>
                <c:pt idx="1399">
                  <c:v>44804</c:v>
                </c:pt>
                <c:pt idx="1400">
                  <c:v>44805</c:v>
                </c:pt>
                <c:pt idx="1401">
                  <c:v>44806</c:v>
                </c:pt>
                <c:pt idx="1402">
                  <c:v>44810</c:v>
                </c:pt>
                <c:pt idx="1403">
                  <c:v>44811</c:v>
                </c:pt>
                <c:pt idx="1404">
                  <c:v>44812</c:v>
                </c:pt>
                <c:pt idx="1405">
                  <c:v>44813</c:v>
                </c:pt>
                <c:pt idx="1406">
                  <c:v>44816</c:v>
                </c:pt>
                <c:pt idx="1407">
                  <c:v>44817</c:v>
                </c:pt>
                <c:pt idx="1408">
                  <c:v>44818</c:v>
                </c:pt>
                <c:pt idx="1409">
                  <c:v>44819</c:v>
                </c:pt>
                <c:pt idx="1410">
                  <c:v>44820</c:v>
                </c:pt>
                <c:pt idx="1411">
                  <c:v>44823</c:v>
                </c:pt>
                <c:pt idx="1412">
                  <c:v>44824</c:v>
                </c:pt>
                <c:pt idx="1413">
                  <c:v>44825</c:v>
                </c:pt>
                <c:pt idx="1414">
                  <c:v>44826</c:v>
                </c:pt>
                <c:pt idx="1415">
                  <c:v>44827</c:v>
                </c:pt>
                <c:pt idx="1416">
                  <c:v>44830</c:v>
                </c:pt>
                <c:pt idx="1417">
                  <c:v>44831</c:v>
                </c:pt>
                <c:pt idx="1418">
                  <c:v>44832</c:v>
                </c:pt>
                <c:pt idx="1419">
                  <c:v>44833</c:v>
                </c:pt>
                <c:pt idx="1420">
                  <c:v>44834</c:v>
                </c:pt>
                <c:pt idx="1421">
                  <c:v>44837</c:v>
                </c:pt>
                <c:pt idx="1422">
                  <c:v>44838</c:v>
                </c:pt>
                <c:pt idx="1423">
                  <c:v>44839</c:v>
                </c:pt>
                <c:pt idx="1424">
                  <c:v>44840</c:v>
                </c:pt>
                <c:pt idx="1425">
                  <c:v>44841</c:v>
                </c:pt>
                <c:pt idx="1426">
                  <c:v>44844</c:v>
                </c:pt>
                <c:pt idx="1427">
                  <c:v>44845</c:v>
                </c:pt>
                <c:pt idx="1428">
                  <c:v>44846</c:v>
                </c:pt>
                <c:pt idx="1429">
                  <c:v>44847</c:v>
                </c:pt>
                <c:pt idx="1430">
                  <c:v>44848</c:v>
                </c:pt>
                <c:pt idx="1431">
                  <c:v>44851</c:v>
                </c:pt>
                <c:pt idx="1432">
                  <c:v>44852</c:v>
                </c:pt>
                <c:pt idx="1433">
                  <c:v>44853</c:v>
                </c:pt>
                <c:pt idx="1434">
                  <c:v>44854</c:v>
                </c:pt>
                <c:pt idx="1435">
                  <c:v>44855</c:v>
                </c:pt>
                <c:pt idx="1436">
                  <c:v>44858</c:v>
                </c:pt>
                <c:pt idx="1437">
                  <c:v>44859</c:v>
                </c:pt>
                <c:pt idx="1438">
                  <c:v>44860</c:v>
                </c:pt>
                <c:pt idx="1439">
                  <c:v>44861</c:v>
                </c:pt>
                <c:pt idx="1440">
                  <c:v>44862</c:v>
                </c:pt>
                <c:pt idx="1441">
                  <c:v>44865</c:v>
                </c:pt>
                <c:pt idx="1442">
                  <c:v>44866</c:v>
                </c:pt>
                <c:pt idx="1443">
                  <c:v>44867</c:v>
                </c:pt>
                <c:pt idx="1444">
                  <c:v>44868</c:v>
                </c:pt>
                <c:pt idx="1445">
                  <c:v>44869</c:v>
                </c:pt>
                <c:pt idx="1446">
                  <c:v>44872</c:v>
                </c:pt>
                <c:pt idx="1447">
                  <c:v>44873</c:v>
                </c:pt>
                <c:pt idx="1448">
                  <c:v>44874</c:v>
                </c:pt>
                <c:pt idx="1449">
                  <c:v>44875</c:v>
                </c:pt>
                <c:pt idx="1450">
                  <c:v>44876</c:v>
                </c:pt>
                <c:pt idx="1451">
                  <c:v>44879</c:v>
                </c:pt>
                <c:pt idx="1452">
                  <c:v>44880</c:v>
                </c:pt>
                <c:pt idx="1453">
                  <c:v>44881</c:v>
                </c:pt>
                <c:pt idx="1454">
                  <c:v>44882</c:v>
                </c:pt>
                <c:pt idx="1455">
                  <c:v>44883</c:v>
                </c:pt>
                <c:pt idx="1456">
                  <c:v>44886</c:v>
                </c:pt>
                <c:pt idx="1457">
                  <c:v>44887</c:v>
                </c:pt>
                <c:pt idx="1458">
                  <c:v>44888</c:v>
                </c:pt>
                <c:pt idx="1459">
                  <c:v>44890</c:v>
                </c:pt>
                <c:pt idx="1460">
                  <c:v>44893</c:v>
                </c:pt>
                <c:pt idx="1461">
                  <c:v>44894</c:v>
                </c:pt>
                <c:pt idx="1462">
                  <c:v>44895</c:v>
                </c:pt>
                <c:pt idx="1463">
                  <c:v>44896</c:v>
                </c:pt>
                <c:pt idx="1464">
                  <c:v>44897</c:v>
                </c:pt>
                <c:pt idx="1465">
                  <c:v>44900</c:v>
                </c:pt>
                <c:pt idx="1466">
                  <c:v>44901</c:v>
                </c:pt>
                <c:pt idx="1467">
                  <c:v>44902</c:v>
                </c:pt>
                <c:pt idx="1468">
                  <c:v>44903</c:v>
                </c:pt>
                <c:pt idx="1469">
                  <c:v>44904</c:v>
                </c:pt>
                <c:pt idx="1470">
                  <c:v>44907</c:v>
                </c:pt>
                <c:pt idx="1471">
                  <c:v>44908</c:v>
                </c:pt>
                <c:pt idx="1472">
                  <c:v>44909</c:v>
                </c:pt>
                <c:pt idx="1473">
                  <c:v>44910</c:v>
                </c:pt>
                <c:pt idx="1474">
                  <c:v>44911</c:v>
                </c:pt>
                <c:pt idx="1475">
                  <c:v>44914</c:v>
                </c:pt>
                <c:pt idx="1476">
                  <c:v>44915</c:v>
                </c:pt>
                <c:pt idx="1477">
                  <c:v>44916</c:v>
                </c:pt>
                <c:pt idx="1478">
                  <c:v>44917</c:v>
                </c:pt>
                <c:pt idx="1479">
                  <c:v>44918</c:v>
                </c:pt>
                <c:pt idx="1480">
                  <c:v>44922</c:v>
                </c:pt>
                <c:pt idx="1481">
                  <c:v>44923</c:v>
                </c:pt>
                <c:pt idx="1482">
                  <c:v>44924</c:v>
                </c:pt>
                <c:pt idx="1483">
                  <c:v>44925</c:v>
                </c:pt>
                <c:pt idx="1484">
                  <c:v>44929</c:v>
                </c:pt>
                <c:pt idx="1485">
                  <c:v>44930</c:v>
                </c:pt>
                <c:pt idx="1486">
                  <c:v>44931</c:v>
                </c:pt>
                <c:pt idx="1487">
                  <c:v>44932</c:v>
                </c:pt>
                <c:pt idx="1488">
                  <c:v>44935</c:v>
                </c:pt>
                <c:pt idx="1489">
                  <c:v>44936</c:v>
                </c:pt>
                <c:pt idx="1490">
                  <c:v>44937</c:v>
                </c:pt>
                <c:pt idx="1491">
                  <c:v>44938</c:v>
                </c:pt>
                <c:pt idx="1492">
                  <c:v>44939</c:v>
                </c:pt>
                <c:pt idx="1493">
                  <c:v>44943</c:v>
                </c:pt>
                <c:pt idx="1494">
                  <c:v>44944</c:v>
                </c:pt>
                <c:pt idx="1495">
                  <c:v>44945</c:v>
                </c:pt>
                <c:pt idx="1496">
                  <c:v>44946</c:v>
                </c:pt>
                <c:pt idx="1497">
                  <c:v>44949</c:v>
                </c:pt>
                <c:pt idx="1498">
                  <c:v>44950</c:v>
                </c:pt>
                <c:pt idx="1499">
                  <c:v>44951</c:v>
                </c:pt>
                <c:pt idx="1500">
                  <c:v>44952</c:v>
                </c:pt>
                <c:pt idx="1501">
                  <c:v>44953</c:v>
                </c:pt>
                <c:pt idx="1502">
                  <c:v>44956</c:v>
                </c:pt>
                <c:pt idx="1503">
                  <c:v>44957</c:v>
                </c:pt>
                <c:pt idx="1504">
                  <c:v>44958</c:v>
                </c:pt>
                <c:pt idx="1505">
                  <c:v>44959</c:v>
                </c:pt>
                <c:pt idx="1506">
                  <c:v>44960</c:v>
                </c:pt>
                <c:pt idx="1507">
                  <c:v>44963</c:v>
                </c:pt>
                <c:pt idx="1508">
                  <c:v>44964</c:v>
                </c:pt>
                <c:pt idx="1509">
                  <c:v>44965</c:v>
                </c:pt>
                <c:pt idx="1510">
                  <c:v>44966</c:v>
                </c:pt>
                <c:pt idx="1511">
                  <c:v>44967</c:v>
                </c:pt>
                <c:pt idx="1512">
                  <c:v>44970</c:v>
                </c:pt>
                <c:pt idx="1513">
                  <c:v>44971</c:v>
                </c:pt>
                <c:pt idx="1514">
                  <c:v>44972</c:v>
                </c:pt>
                <c:pt idx="1515">
                  <c:v>44973</c:v>
                </c:pt>
                <c:pt idx="1516">
                  <c:v>44974</c:v>
                </c:pt>
                <c:pt idx="1517">
                  <c:v>44978</c:v>
                </c:pt>
                <c:pt idx="1518">
                  <c:v>44979</c:v>
                </c:pt>
                <c:pt idx="1519">
                  <c:v>44980</c:v>
                </c:pt>
                <c:pt idx="1520">
                  <c:v>44981</c:v>
                </c:pt>
                <c:pt idx="1521">
                  <c:v>44984</c:v>
                </c:pt>
                <c:pt idx="1522">
                  <c:v>44985</c:v>
                </c:pt>
                <c:pt idx="1523">
                  <c:v>44986</c:v>
                </c:pt>
                <c:pt idx="1524">
                  <c:v>44987</c:v>
                </c:pt>
                <c:pt idx="1525">
                  <c:v>44988</c:v>
                </c:pt>
                <c:pt idx="1526">
                  <c:v>44991</c:v>
                </c:pt>
                <c:pt idx="1527">
                  <c:v>44992</c:v>
                </c:pt>
                <c:pt idx="1528">
                  <c:v>44993</c:v>
                </c:pt>
                <c:pt idx="1529">
                  <c:v>44994</c:v>
                </c:pt>
                <c:pt idx="1530">
                  <c:v>44995</c:v>
                </c:pt>
                <c:pt idx="1531">
                  <c:v>44998</c:v>
                </c:pt>
                <c:pt idx="1532">
                  <c:v>44999</c:v>
                </c:pt>
                <c:pt idx="1533">
                  <c:v>45000</c:v>
                </c:pt>
                <c:pt idx="1534">
                  <c:v>45001</c:v>
                </c:pt>
                <c:pt idx="1535">
                  <c:v>45002</c:v>
                </c:pt>
                <c:pt idx="1536">
                  <c:v>45005</c:v>
                </c:pt>
                <c:pt idx="1537">
                  <c:v>45006</c:v>
                </c:pt>
                <c:pt idx="1538">
                  <c:v>45007</c:v>
                </c:pt>
                <c:pt idx="1539">
                  <c:v>45008</c:v>
                </c:pt>
                <c:pt idx="1540">
                  <c:v>45009</c:v>
                </c:pt>
                <c:pt idx="1541">
                  <c:v>45012</c:v>
                </c:pt>
                <c:pt idx="1542">
                  <c:v>45013</c:v>
                </c:pt>
                <c:pt idx="1543">
                  <c:v>45014</c:v>
                </c:pt>
                <c:pt idx="1544">
                  <c:v>45015</c:v>
                </c:pt>
                <c:pt idx="1545">
                  <c:v>45016</c:v>
                </c:pt>
                <c:pt idx="1546">
                  <c:v>45019</c:v>
                </c:pt>
                <c:pt idx="1547">
                  <c:v>45020</c:v>
                </c:pt>
                <c:pt idx="1548">
                  <c:v>45021</c:v>
                </c:pt>
                <c:pt idx="1549">
                  <c:v>45022</c:v>
                </c:pt>
                <c:pt idx="1550">
                  <c:v>45026</c:v>
                </c:pt>
                <c:pt idx="1551">
                  <c:v>45027</c:v>
                </c:pt>
                <c:pt idx="1552">
                  <c:v>45028</c:v>
                </c:pt>
                <c:pt idx="1553">
                  <c:v>45029</c:v>
                </c:pt>
                <c:pt idx="1554">
                  <c:v>45030</c:v>
                </c:pt>
                <c:pt idx="1555">
                  <c:v>45033</c:v>
                </c:pt>
                <c:pt idx="1556">
                  <c:v>45034</c:v>
                </c:pt>
                <c:pt idx="1557">
                  <c:v>45035</c:v>
                </c:pt>
                <c:pt idx="1558">
                  <c:v>45036</c:v>
                </c:pt>
                <c:pt idx="1559">
                  <c:v>45037</c:v>
                </c:pt>
                <c:pt idx="1560">
                  <c:v>45040</c:v>
                </c:pt>
                <c:pt idx="1561">
                  <c:v>45041</c:v>
                </c:pt>
                <c:pt idx="1562">
                  <c:v>45042</c:v>
                </c:pt>
                <c:pt idx="1563">
                  <c:v>45043</c:v>
                </c:pt>
                <c:pt idx="1564">
                  <c:v>45044</c:v>
                </c:pt>
                <c:pt idx="1565">
                  <c:v>45047</c:v>
                </c:pt>
                <c:pt idx="1566">
                  <c:v>45048</c:v>
                </c:pt>
                <c:pt idx="1567">
                  <c:v>45049</c:v>
                </c:pt>
                <c:pt idx="1568">
                  <c:v>45050</c:v>
                </c:pt>
                <c:pt idx="1569">
                  <c:v>45051</c:v>
                </c:pt>
                <c:pt idx="1570">
                  <c:v>45054</c:v>
                </c:pt>
                <c:pt idx="1571">
                  <c:v>45055</c:v>
                </c:pt>
                <c:pt idx="1572">
                  <c:v>45056</c:v>
                </c:pt>
                <c:pt idx="1573">
                  <c:v>45057</c:v>
                </c:pt>
                <c:pt idx="1574">
                  <c:v>45058</c:v>
                </c:pt>
                <c:pt idx="1575">
                  <c:v>45061</c:v>
                </c:pt>
                <c:pt idx="1576">
                  <c:v>45062</c:v>
                </c:pt>
                <c:pt idx="1577">
                  <c:v>45063</c:v>
                </c:pt>
                <c:pt idx="1578">
                  <c:v>45064</c:v>
                </c:pt>
                <c:pt idx="1579">
                  <c:v>45065</c:v>
                </c:pt>
                <c:pt idx="1580">
                  <c:v>45068</c:v>
                </c:pt>
                <c:pt idx="1581">
                  <c:v>45069</c:v>
                </c:pt>
                <c:pt idx="1582">
                  <c:v>45070</c:v>
                </c:pt>
                <c:pt idx="1583">
                  <c:v>45071</c:v>
                </c:pt>
                <c:pt idx="1584">
                  <c:v>45072</c:v>
                </c:pt>
                <c:pt idx="1585">
                  <c:v>45076</c:v>
                </c:pt>
                <c:pt idx="1586">
                  <c:v>45077</c:v>
                </c:pt>
                <c:pt idx="1587">
                  <c:v>45078</c:v>
                </c:pt>
                <c:pt idx="1588">
                  <c:v>45079</c:v>
                </c:pt>
                <c:pt idx="1589">
                  <c:v>45082</c:v>
                </c:pt>
                <c:pt idx="1590">
                  <c:v>45083</c:v>
                </c:pt>
                <c:pt idx="1591">
                  <c:v>45084</c:v>
                </c:pt>
                <c:pt idx="1592">
                  <c:v>45085</c:v>
                </c:pt>
                <c:pt idx="1593">
                  <c:v>45086</c:v>
                </c:pt>
                <c:pt idx="1594">
                  <c:v>45089</c:v>
                </c:pt>
                <c:pt idx="1595">
                  <c:v>45090</c:v>
                </c:pt>
                <c:pt idx="1596">
                  <c:v>45091</c:v>
                </c:pt>
                <c:pt idx="1597">
                  <c:v>45092</c:v>
                </c:pt>
                <c:pt idx="1598">
                  <c:v>45093</c:v>
                </c:pt>
                <c:pt idx="1599">
                  <c:v>45097</c:v>
                </c:pt>
                <c:pt idx="1600">
                  <c:v>45098</c:v>
                </c:pt>
                <c:pt idx="1601">
                  <c:v>45099</c:v>
                </c:pt>
                <c:pt idx="1602">
                  <c:v>45100</c:v>
                </c:pt>
                <c:pt idx="1603">
                  <c:v>45103</c:v>
                </c:pt>
                <c:pt idx="1604">
                  <c:v>45104</c:v>
                </c:pt>
                <c:pt idx="1605">
                  <c:v>45105</c:v>
                </c:pt>
                <c:pt idx="1606">
                  <c:v>45106</c:v>
                </c:pt>
                <c:pt idx="1607">
                  <c:v>45107</c:v>
                </c:pt>
                <c:pt idx="1608">
                  <c:v>45110</c:v>
                </c:pt>
                <c:pt idx="1609">
                  <c:v>45112</c:v>
                </c:pt>
                <c:pt idx="1610">
                  <c:v>45113</c:v>
                </c:pt>
                <c:pt idx="1611">
                  <c:v>45114</c:v>
                </c:pt>
                <c:pt idx="1612">
                  <c:v>45117</c:v>
                </c:pt>
                <c:pt idx="1613">
                  <c:v>45118</c:v>
                </c:pt>
                <c:pt idx="1614">
                  <c:v>45119</c:v>
                </c:pt>
                <c:pt idx="1615">
                  <c:v>45120</c:v>
                </c:pt>
                <c:pt idx="1616">
                  <c:v>45121</c:v>
                </c:pt>
                <c:pt idx="1617">
                  <c:v>45124</c:v>
                </c:pt>
                <c:pt idx="1618">
                  <c:v>45125</c:v>
                </c:pt>
                <c:pt idx="1619">
                  <c:v>45126</c:v>
                </c:pt>
                <c:pt idx="1620">
                  <c:v>45127</c:v>
                </c:pt>
                <c:pt idx="1621">
                  <c:v>45128</c:v>
                </c:pt>
                <c:pt idx="1622">
                  <c:v>45131</c:v>
                </c:pt>
                <c:pt idx="1623">
                  <c:v>45132</c:v>
                </c:pt>
                <c:pt idx="1624">
                  <c:v>45133</c:v>
                </c:pt>
                <c:pt idx="1625">
                  <c:v>45134</c:v>
                </c:pt>
                <c:pt idx="1626">
                  <c:v>45135</c:v>
                </c:pt>
                <c:pt idx="1627">
                  <c:v>45138</c:v>
                </c:pt>
                <c:pt idx="1628">
                  <c:v>45139</c:v>
                </c:pt>
                <c:pt idx="1629">
                  <c:v>45140</c:v>
                </c:pt>
                <c:pt idx="1630">
                  <c:v>45141</c:v>
                </c:pt>
                <c:pt idx="1631">
                  <c:v>45142</c:v>
                </c:pt>
                <c:pt idx="1632">
                  <c:v>45145</c:v>
                </c:pt>
                <c:pt idx="1633">
                  <c:v>45146</c:v>
                </c:pt>
                <c:pt idx="1634">
                  <c:v>45147</c:v>
                </c:pt>
                <c:pt idx="1635">
                  <c:v>45148</c:v>
                </c:pt>
                <c:pt idx="1636">
                  <c:v>45149</c:v>
                </c:pt>
                <c:pt idx="1637">
                  <c:v>45152</c:v>
                </c:pt>
                <c:pt idx="1638">
                  <c:v>45153</c:v>
                </c:pt>
                <c:pt idx="1639">
                  <c:v>45154</c:v>
                </c:pt>
                <c:pt idx="1640">
                  <c:v>45155</c:v>
                </c:pt>
                <c:pt idx="1641">
                  <c:v>45156</c:v>
                </c:pt>
                <c:pt idx="1642">
                  <c:v>45159</c:v>
                </c:pt>
                <c:pt idx="1643">
                  <c:v>45160</c:v>
                </c:pt>
                <c:pt idx="1644">
                  <c:v>45161</c:v>
                </c:pt>
                <c:pt idx="1645">
                  <c:v>45162</c:v>
                </c:pt>
                <c:pt idx="1646">
                  <c:v>45163</c:v>
                </c:pt>
                <c:pt idx="1647">
                  <c:v>45166</c:v>
                </c:pt>
                <c:pt idx="1648">
                  <c:v>45167</c:v>
                </c:pt>
                <c:pt idx="1649">
                  <c:v>45168</c:v>
                </c:pt>
                <c:pt idx="1650">
                  <c:v>45169</c:v>
                </c:pt>
                <c:pt idx="1651">
                  <c:v>45170</c:v>
                </c:pt>
                <c:pt idx="1652">
                  <c:v>45174</c:v>
                </c:pt>
                <c:pt idx="1653">
                  <c:v>45175</c:v>
                </c:pt>
                <c:pt idx="1654">
                  <c:v>45176</c:v>
                </c:pt>
                <c:pt idx="1655">
                  <c:v>45177</c:v>
                </c:pt>
                <c:pt idx="1656">
                  <c:v>45180</c:v>
                </c:pt>
                <c:pt idx="1657">
                  <c:v>45181</c:v>
                </c:pt>
                <c:pt idx="1658">
                  <c:v>45182</c:v>
                </c:pt>
                <c:pt idx="1659">
                  <c:v>45183</c:v>
                </c:pt>
                <c:pt idx="1660">
                  <c:v>45184</c:v>
                </c:pt>
                <c:pt idx="1661">
                  <c:v>45187</c:v>
                </c:pt>
                <c:pt idx="1662">
                  <c:v>45188</c:v>
                </c:pt>
                <c:pt idx="1663">
                  <c:v>45189</c:v>
                </c:pt>
                <c:pt idx="1664">
                  <c:v>45190</c:v>
                </c:pt>
                <c:pt idx="1665">
                  <c:v>45191</c:v>
                </c:pt>
                <c:pt idx="1666">
                  <c:v>45194</c:v>
                </c:pt>
                <c:pt idx="1667">
                  <c:v>45195</c:v>
                </c:pt>
                <c:pt idx="1668">
                  <c:v>45196</c:v>
                </c:pt>
                <c:pt idx="1669">
                  <c:v>45197</c:v>
                </c:pt>
                <c:pt idx="1670">
                  <c:v>45198</c:v>
                </c:pt>
                <c:pt idx="1671">
                  <c:v>45201</c:v>
                </c:pt>
                <c:pt idx="1672">
                  <c:v>45202</c:v>
                </c:pt>
                <c:pt idx="1673">
                  <c:v>45203</c:v>
                </c:pt>
                <c:pt idx="1674">
                  <c:v>45204</c:v>
                </c:pt>
                <c:pt idx="1675">
                  <c:v>45205</c:v>
                </c:pt>
                <c:pt idx="1676">
                  <c:v>45208</c:v>
                </c:pt>
                <c:pt idx="1677">
                  <c:v>45209</c:v>
                </c:pt>
                <c:pt idx="1678">
                  <c:v>45210</c:v>
                </c:pt>
                <c:pt idx="1679">
                  <c:v>45211</c:v>
                </c:pt>
                <c:pt idx="1680">
                  <c:v>45212</c:v>
                </c:pt>
                <c:pt idx="1681">
                  <c:v>45215</c:v>
                </c:pt>
                <c:pt idx="1682">
                  <c:v>45216</c:v>
                </c:pt>
                <c:pt idx="1683">
                  <c:v>45217</c:v>
                </c:pt>
                <c:pt idx="1684">
                  <c:v>45218</c:v>
                </c:pt>
                <c:pt idx="1685">
                  <c:v>45219</c:v>
                </c:pt>
                <c:pt idx="1686">
                  <c:v>45222</c:v>
                </c:pt>
                <c:pt idx="1687">
                  <c:v>45223</c:v>
                </c:pt>
                <c:pt idx="1688">
                  <c:v>45224</c:v>
                </c:pt>
                <c:pt idx="1689">
                  <c:v>45225</c:v>
                </c:pt>
                <c:pt idx="1690">
                  <c:v>45226</c:v>
                </c:pt>
                <c:pt idx="1691">
                  <c:v>45229</c:v>
                </c:pt>
                <c:pt idx="1692">
                  <c:v>45230</c:v>
                </c:pt>
                <c:pt idx="1693">
                  <c:v>45231</c:v>
                </c:pt>
                <c:pt idx="1694">
                  <c:v>45232</c:v>
                </c:pt>
                <c:pt idx="1695">
                  <c:v>45233</c:v>
                </c:pt>
                <c:pt idx="1696">
                  <c:v>45236</c:v>
                </c:pt>
                <c:pt idx="1697">
                  <c:v>45237</c:v>
                </c:pt>
                <c:pt idx="1698">
                  <c:v>45238</c:v>
                </c:pt>
                <c:pt idx="1699">
                  <c:v>45239</c:v>
                </c:pt>
                <c:pt idx="1700">
                  <c:v>45240</c:v>
                </c:pt>
                <c:pt idx="1701">
                  <c:v>45243</c:v>
                </c:pt>
                <c:pt idx="1702">
                  <c:v>45244</c:v>
                </c:pt>
                <c:pt idx="1703">
                  <c:v>45245</c:v>
                </c:pt>
                <c:pt idx="1704">
                  <c:v>45246</c:v>
                </c:pt>
                <c:pt idx="1705">
                  <c:v>45247</c:v>
                </c:pt>
                <c:pt idx="1706">
                  <c:v>45250</c:v>
                </c:pt>
                <c:pt idx="1707">
                  <c:v>45251</c:v>
                </c:pt>
                <c:pt idx="1708">
                  <c:v>45252</c:v>
                </c:pt>
                <c:pt idx="1709">
                  <c:v>45254</c:v>
                </c:pt>
                <c:pt idx="1710">
                  <c:v>45257</c:v>
                </c:pt>
                <c:pt idx="1711">
                  <c:v>45258</c:v>
                </c:pt>
                <c:pt idx="1712">
                  <c:v>45259</c:v>
                </c:pt>
                <c:pt idx="1713">
                  <c:v>45260</c:v>
                </c:pt>
                <c:pt idx="1714">
                  <c:v>45261</c:v>
                </c:pt>
                <c:pt idx="1715">
                  <c:v>45264</c:v>
                </c:pt>
                <c:pt idx="1716">
                  <c:v>45265</c:v>
                </c:pt>
                <c:pt idx="1717">
                  <c:v>45266</c:v>
                </c:pt>
                <c:pt idx="1718">
                  <c:v>45267</c:v>
                </c:pt>
                <c:pt idx="1719">
                  <c:v>45268</c:v>
                </c:pt>
                <c:pt idx="1720">
                  <c:v>45271</c:v>
                </c:pt>
                <c:pt idx="1721">
                  <c:v>45272</c:v>
                </c:pt>
                <c:pt idx="1722">
                  <c:v>45273</c:v>
                </c:pt>
                <c:pt idx="1723">
                  <c:v>45274</c:v>
                </c:pt>
                <c:pt idx="1724">
                  <c:v>45275</c:v>
                </c:pt>
                <c:pt idx="1725">
                  <c:v>45278</c:v>
                </c:pt>
                <c:pt idx="1726">
                  <c:v>45279</c:v>
                </c:pt>
                <c:pt idx="1727">
                  <c:v>45280</c:v>
                </c:pt>
                <c:pt idx="1728">
                  <c:v>45281</c:v>
                </c:pt>
                <c:pt idx="1729">
                  <c:v>45282</c:v>
                </c:pt>
                <c:pt idx="1730">
                  <c:v>45286</c:v>
                </c:pt>
                <c:pt idx="1731">
                  <c:v>45287</c:v>
                </c:pt>
                <c:pt idx="1732">
                  <c:v>45288</c:v>
                </c:pt>
                <c:pt idx="1733">
                  <c:v>45289</c:v>
                </c:pt>
                <c:pt idx="1734">
                  <c:v>45293</c:v>
                </c:pt>
                <c:pt idx="1735">
                  <c:v>45294</c:v>
                </c:pt>
                <c:pt idx="1736">
                  <c:v>45295</c:v>
                </c:pt>
                <c:pt idx="1737">
                  <c:v>45296</c:v>
                </c:pt>
                <c:pt idx="1738">
                  <c:v>45299</c:v>
                </c:pt>
                <c:pt idx="1739">
                  <c:v>45300</c:v>
                </c:pt>
                <c:pt idx="1740">
                  <c:v>45301</c:v>
                </c:pt>
                <c:pt idx="1741">
                  <c:v>45302</c:v>
                </c:pt>
                <c:pt idx="1742">
                  <c:v>45303</c:v>
                </c:pt>
                <c:pt idx="1743">
                  <c:v>45307</c:v>
                </c:pt>
                <c:pt idx="1744">
                  <c:v>45308</c:v>
                </c:pt>
                <c:pt idx="1745">
                  <c:v>45309</c:v>
                </c:pt>
                <c:pt idx="1746">
                  <c:v>45310</c:v>
                </c:pt>
                <c:pt idx="1747">
                  <c:v>45313</c:v>
                </c:pt>
                <c:pt idx="1748">
                  <c:v>45314</c:v>
                </c:pt>
                <c:pt idx="1749">
                  <c:v>45315</c:v>
                </c:pt>
                <c:pt idx="1750">
                  <c:v>45316</c:v>
                </c:pt>
                <c:pt idx="1751">
                  <c:v>45317</c:v>
                </c:pt>
                <c:pt idx="1752">
                  <c:v>45320</c:v>
                </c:pt>
                <c:pt idx="1753">
                  <c:v>45321</c:v>
                </c:pt>
                <c:pt idx="1754">
                  <c:v>45322</c:v>
                </c:pt>
                <c:pt idx="1755">
                  <c:v>45323</c:v>
                </c:pt>
                <c:pt idx="1756">
                  <c:v>45324</c:v>
                </c:pt>
                <c:pt idx="1757">
                  <c:v>45327</c:v>
                </c:pt>
                <c:pt idx="1758">
                  <c:v>45328</c:v>
                </c:pt>
                <c:pt idx="1759">
                  <c:v>45329</c:v>
                </c:pt>
                <c:pt idx="1760">
                  <c:v>45330</c:v>
                </c:pt>
                <c:pt idx="1761">
                  <c:v>45331</c:v>
                </c:pt>
                <c:pt idx="1762">
                  <c:v>45334</c:v>
                </c:pt>
                <c:pt idx="1763">
                  <c:v>45335</c:v>
                </c:pt>
                <c:pt idx="1764">
                  <c:v>45336</c:v>
                </c:pt>
                <c:pt idx="1765">
                  <c:v>45337</c:v>
                </c:pt>
                <c:pt idx="1766">
                  <c:v>45338</c:v>
                </c:pt>
                <c:pt idx="1767">
                  <c:v>45342</c:v>
                </c:pt>
                <c:pt idx="1768">
                  <c:v>45343</c:v>
                </c:pt>
                <c:pt idx="1769">
                  <c:v>45344</c:v>
                </c:pt>
                <c:pt idx="1770">
                  <c:v>45345</c:v>
                </c:pt>
                <c:pt idx="1771">
                  <c:v>45348</c:v>
                </c:pt>
                <c:pt idx="1772">
                  <c:v>45349</c:v>
                </c:pt>
                <c:pt idx="1773">
                  <c:v>45350</c:v>
                </c:pt>
                <c:pt idx="1774">
                  <c:v>45351</c:v>
                </c:pt>
                <c:pt idx="1775">
                  <c:v>45352</c:v>
                </c:pt>
                <c:pt idx="1776">
                  <c:v>45355</c:v>
                </c:pt>
                <c:pt idx="1777">
                  <c:v>45356</c:v>
                </c:pt>
                <c:pt idx="1778">
                  <c:v>45357</c:v>
                </c:pt>
                <c:pt idx="1779">
                  <c:v>45358</c:v>
                </c:pt>
                <c:pt idx="1780">
                  <c:v>45359</c:v>
                </c:pt>
                <c:pt idx="1781">
                  <c:v>45362</c:v>
                </c:pt>
                <c:pt idx="1782">
                  <c:v>45363</c:v>
                </c:pt>
                <c:pt idx="1783">
                  <c:v>45364</c:v>
                </c:pt>
                <c:pt idx="1784">
                  <c:v>45365</c:v>
                </c:pt>
                <c:pt idx="1785">
                  <c:v>45366</c:v>
                </c:pt>
                <c:pt idx="1786">
                  <c:v>45369</c:v>
                </c:pt>
                <c:pt idx="1787">
                  <c:v>45370</c:v>
                </c:pt>
                <c:pt idx="1788">
                  <c:v>45371</c:v>
                </c:pt>
                <c:pt idx="1789">
                  <c:v>45372</c:v>
                </c:pt>
                <c:pt idx="1790">
                  <c:v>45373</c:v>
                </c:pt>
                <c:pt idx="1791">
                  <c:v>45376</c:v>
                </c:pt>
                <c:pt idx="1792">
                  <c:v>45377</c:v>
                </c:pt>
                <c:pt idx="1793">
                  <c:v>45378</c:v>
                </c:pt>
                <c:pt idx="1794">
                  <c:v>45379</c:v>
                </c:pt>
                <c:pt idx="1795">
                  <c:v>45383</c:v>
                </c:pt>
                <c:pt idx="1796">
                  <c:v>45384</c:v>
                </c:pt>
                <c:pt idx="1797">
                  <c:v>45385</c:v>
                </c:pt>
                <c:pt idx="1798">
                  <c:v>45386</c:v>
                </c:pt>
                <c:pt idx="1799">
                  <c:v>45387</c:v>
                </c:pt>
                <c:pt idx="1800">
                  <c:v>45390</c:v>
                </c:pt>
                <c:pt idx="1801">
                  <c:v>45391</c:v>
                </c:pt>
                <c:pt idx="1802">
                  <c:v>45392</c:v>
                </c:pt>
                <c:pt idx="1803">
                  <c:v>45393</c:v>
                </c:pt>
                <c:pt idx="1804">
                  <c:v>45394</c:v>
                </c:pt>
                <c:pt idx="1805">
                  <c:v>45397</c:v>
                </c:pt>
                <c:pt idx="1806">
                  <c:v>45398</c:v>
                </c:pt>
                <c:pt idx="1807">
                  <c:v>45399</c:v>
                </c:pt>
                <c:pt idx="1808">
                  <c:v>45400</c:v>
                </c:pt>
                <c:pt idx="1809">
                  <c:v>45401</c:v>
                </c:pt>
                <c:pt idx="1810">
                  <c:v>45404</c:v>
                </c:pt>
                <c:pt idx="1811">
                  <c:v>45405</c:v>
                </c:pt>
                <c:pt idx="1812">
                  <c:v>45406</c:v>
                </c:pt>
                <c:pt idx="1813">
                  <c:v>45407</c:v>
                </c:pt>
                <c:pt idx="1814">
                  <c:v>45408</c:v>
                </c:pt>
                <c:pt idx="1815">
                  <c:v>45411</c:v>
                </c:pt>
                <c:pt idx="1816">
                  <c:v>45412</c:v>
                </c:pt>
                <c:pt idx="1817">
                  <c:v>45413</c:v>
                </c:pt>
                <c:pt idx="1818">
                  <c:v>45414</c:v>
                </c:pt>
                <c:pt idx="1819">
                  <c:v>45415</c:v>
                </c:pt>
                <c:pt idx="1820">
                  <c:v>45418</c:v>
                </c:pt>
                <c:pt idx="1821">
                  <c:v>45419</c:v>
                </c:pt>
                <c:pt idx="1822">
                  <c:v>45420</c:v>
                </c:pt>
                <c:pt idx="1823">
                  <c:v>45421</c:v>
                </c:pt>
                <c:pt idx="1824">
                  <c:v>45422</c:v>
                </c:pt>
                <c:pt idx="1825">
                  <c:v>45425</c:v>
                </c:pt>
                <c:pt idx="1826">
                  <c:v>45426</c:v>
                </c:pt>
                <c:pt idx="1827">
                  <c:v>45427</c:v>
                </c:pt>
                <c:pt idx="1828">
                  <c:v>45428</c:v>
                </c:pt>
                <c:pt idx="1829">
                  <c:v>45429</c:v>
                </c:pt>
                <c:pt idx="1830">
                  <c:v>45432</c:v>
                </c:pt>
                <c:pt idx="1831">
                  <c:v>45433</c:v>
                </c:pt>
                <c:pt idx="1832">
                  <c:v>45434</c:v>
                </c:pt>
                <c:pt idx="1833">
                  <c:v>45435</c:v>
                </c:pt>
                <c:pt idx="1834">
                  <c:v>45436</c:v>
                </c:pt>
                <c:pt idx="1835">
                  <c:v>45440</c:v>
                </c:pt>
                <c:pt idx="1836">
                  <c:v>45441</c:v>
                </c:pt>
                <c:pt idx="1837">
                  <c:v>45442</c:v>
                </c:pt>
                <c:pt idx="1838">
                  <c:v>45443</c:v>
                </c:pt>
                <c:pt idx="1839">
                  <c:v>45446</c:v>
                </c:pt>
                <c:pt idx="1840">
                  <c:v>45447</c:v>
                </c:pt>
                <c:pt idx="1841">
                  <c:v>45448</c:v>
                </c:pt>
                <c:pt idx="1842">
                  <c:v>45449</c:v>
                </c:pt>
                <c:pt idx="1843">
                  <c:v>45450</c:v>
                </c:pt>
                <c:pt idx="1844">
                  <c:v>45453</c:v>
                </c:pt>
                <c:pt idx="1845">
                  <c:v>45454</c:v>
                </c:pt>
                <c:pt idx="1846">
                  <c:v>45455</c:v>
                </c:pt>
                <c:pt idx="1847">
                  <c:v>45456</c:v>
                </c:pt>
                <c:pt idx="1848">
                  <c:v>45457</c:v>
                </c:pt>
                <c:pt idx="1849">
                  <c:v>45460</c:v>
                </c:pt>
                <c:pt idx="1850">
                  <c:v>45461</c:v>
                </c:pt>
                <c:pt idx="1851">
                  <c:v>45463</c:v>
                </c:pt>
                <c:pt idx="1852">
                  <c:v>45464</c:v>
                </c:pt>
                <c:pt idx="1853">
                  <c:v>45467</c:v>
                </c:pt>
                <c:pt idx="1854">
                  <c:v>45468</c:v>
                </c:pt>
                <c:pt idx="1855">
                  <c:v>45469</c:v>
                </c:pt>
                <c:pt idx="1856">
                  <c:v>45470</c:v>
                </c:pt>
                <c:pt idx="1857">
                  <c:v>45471</c:v>
                </c:pt>
                <c:pt idx="1858">
                  <c:v>45474</c:v>
                </c:pt>
                <c:pt idx="1859">
                  <c:v>45475</c:v>
                </c:pt>
                <c:pt idx="1860">
                  <c:v>45476</c:v>
                </c:pt>
                <c:pt idx="1861">
                  <c:v>45478</c:v>
                </c:pt>
                <c:pt idx="1862">
                  <c:v>45481</c:v>
                </c:pt>
                <c:pt idx="1863">
                  <c:v>45482</c:v>
                </c:pt>
                <c:pt idx="1864">
                  <c:v>45483</c:v>
                </c:pt>
                <c:pt idx="1865">
                  <c:v>45484</c:v>
                </c:pt>
                <c:pt idx="1866">
                  <c:v>45485</c:v>
                </c:pt>
                <c:pt idx="1867">
                  <c:v>45488</c:v>
                </c:pt>
                <c:pt idx="1868">
                  <c:v>45489</c:v>
                </c:pt>
                <c:pt idx="1869">
                  <c:v>45490</c:v>
                </c:pt>
                <c:pt idx="1870">
                  <c:v>45491</c:v>
                </c:pt>
                <c:pt idx="1871">
                  <c:v>45492</c:v>
                </c:pt>
                <c:pt idx="1872">
                  <c:v>45495</c:v>
                </c:pt>
                <c:pt idx="1873">
                  <c:v>45496</c:v>
                </c:pt>
                <c:pt idx="1874">
                  <c:v>45497</c:v>
                </c:pt>
                <c:pt idx="1875">
                  <c:v>45498</c:v>
                </c:pt>
                <c:pt idx="1876">
                  <c:v>45499</c:v>
                </c:pt>
                <c:pt idx="1877">
                  <c:v>45502</c:v>
                </c:pt>
                <c:pt idx="1878">
                  <c:v>45503</c:v>
                </c:pt>
                <c:pt idx="1879">
                  <c:v>45504</c:v>
                </c:pt>
                <c:pt idx="1880">
                  <c:v>45505</c:v>
                </c:pt>
                <c:pt idx="1881">
                  <c:v>45506</c:v>
                </c:pt>
                <c:pt idx="1882">
                  <c:v>45509</c:v>
                </c:pt>
                <c:pt idx="1883">
                  <c:v>45510</c:v>
                </c:pt>
                <c:pt idx="1884">
                  <c:v>45511</c:v>
                </c:pt>
                <c:pt idx="1885">
                  <c:v>45512</c:v>
                </c:pt>
                <c:pt idx="1886">
                  <c:v>45513</c:v>
                </c:pt>
                <c:pt idx="1887">
                  <c:v>45516</c:v>
                </c:pt>
                <c:pt idx="1888">
                  <c:v>45517</c:v>
                </c:pt>
                <c:pt idx="1889">
                  <c:v>45518</c:v>
                </c:pt>
                <c:pt idx="1890">
                  <c:v>45519</c:v>
                </c:pt>
                <c:pt idx="1891">
                  <c:v>45520</c:v>
                </c:pt>
                <c:pt idx="1892">
                  <c:v>45523</c:v>
                </c:pt>
                <c:pt idx="1893">
                  <c:v>45524</c:v>
                </c:pt>
                <c:pt idx="1894">
                  <c:v>45525</c:v>
                </c:pt>
                <c:pt idx="1895">
                  <c:v>45526</c:v>
                </c:pt>
                <c:pt idx="1896">
                  <c:v>45527</c:v>
                </c:pt>
                <c:pt idx="1897">
                  <c:v>45530</c:v>
                </c:pt>
                <c:pt idx="1898">
                  <c:v>45531</c:v>
                </c:pt>
                <c:pt idx="1899">
                  <c:v>45532</c:v>
                </c:pt>
                <c:pt idx="1900">
                  <c:v>45533</c:v>
                </c:pt>
                <c:pt idx="1901">
                  <c:v>45534</c:v>
                </c:pt>
                <c:pt idx="1902">
                  <c:v>45538</c:v>
                </c:pt>
                <c:pt idx="1903">
                  <c:v>45539</c:v>
                </c:pt>
                <c:pt idx="1904">
                  <c:v>45540</c:v>
                </c:pt>
                <c:pt idx="1905">
                  <c:v>45541</c:v>
                </c:pt>
                <c:pt idx="1906">
                  <c:v>45544</c:v>
                </c:pt>
                <c:pt idx="1907">
                  <c:v>45545</c:v>
                </c:pt>
                <c:pt idx="1908">
                  <c:v>45546</c:v>
                </c:pt>
                <c:pt idx="1909">
                  <c:v>45547</c:v>
                </c:pt>
                <c:pt idx="1910">
                  <c:v>45548</c:v>
                </c:pt>
                <c:pt idx="1911">
                  <c:v>45551</c:v>
                </c:pt>
                <c:pt idx="1912">
                  <c:v>45552</c:v>
                </c:pt>
                <c:pt idx="1913">
                  <c:v>45553</c:v>
                </c:pt>
                <c:pt idx="1914">
                  <c:v>45554</c:v>
                </c:pt>
                <c:pt idx="1915">
                  <c:v>45555</c:v>
                </c:pt>
                <c:pt idx="1916">
                  <c:v>45558</c:v>
                </c:pt>
                <c:pt idx="1917">
                  <c:v>45559</c:v>
                </c:pt>
                <c:pt idx="1918">
                  <c:v>45560</c:v>
                </c:pt>
                <c:pt idx="1919">
                  <c:v>45561</c:v>
                </c:pt>
                <c:pt idx="1920">
                  <c:v>45562</c:v>
                </c:pt>
                <c:pt idx="1921">
                  <c:v>45565</c:v>
                </c:pt>
                <c:pt idx="1922">
                  <c:v>45566</c:v>
                </c:pt>
                <c:pt idx="1923">
                  <c:v>45567</c:v>
                </c:pt>
                <c:pt idx="1924">
                  <c:v>45568</c:v>
                </c:pt>
                <c:pt idx="1925">
                  <c:v>45569</c:v>
                </c:pt>
                <c:pt idx="1926">
                  <c:v>45572</c:v>
                </c:pt>
                <c:pt idx="1927">
                  <c:v>45573</c:v>
                </c:pt>
                <c:pt idx="1928">
                  <c:v>45574</c:v>
                </c:pt>
                <c:pt idx="1929">
                  <c:v>45575</c:v>
                </c:pt>
                <c:pt idx="1930">
                  <c:v>45576</c:v>
                </c:pt>
                <c:pt idx="1931">
                  <c:v>45579</c:v>
                </c:pt>
                <c:pt idx="1932">
                  <c:v>45580</c:v>
                </c:pt>
                <c:pt idx="1933">
                  <c:v>45581</c:v>
                </c:pt>
                <c:pt idx="1934">
                  <c:v>45582</c:v>
                </c:pt>
                <c:pt idx="1935">
                  <c:v>45583</c:v>
                </c:pt>
                <c:pt idx="1936">
                  <c:v>45586</c:v>
                </c:pt>
                <c:pt idx="1937">
                  <c:v>45587</c:v>
                </c:pt>
                <c:pt idx="1938">
                  <c:v>45588</c:v>
                </c:pt>
                <c:pt idx="1939">
                  <c:v>45589</c:v>
                </c:pt>
                <c:pt idx="1940">
                  <c:v>45590</c:v>
                </c:pt>
                <c:pt idx="1941">
                  <c:v>45593</c:v>
                </c:pt>
                <c:pt idx="1942">
                  <c:v>45594</c:v>
                </c:pt>
                <c:pt idx="1943">
                  <c:v>45595</c:v>
                </c:pt>
                <c:pt idx="1944">
                  <c:v>45596</c:v>
                </c:pt>
                <c:pt idx="1945">
                  <c:v>45597</c:v>
                </c:pt>
                <c:pt idx="1946">
                  <c:v>45600</c:v>
                </c:pt>
                <c:pt idx="1947">
                  <c:v>45601</c:v>
                </c:pt>
                <c:pt idx="1948">
                  <c:v>45602</c:v>
                </c:pt>
                <c:pt idx="1949">
                  <c:v>45603</c:v>
                </c:pt>
                <c:pt idx="1950">
                  <c:v>45604</c:v>
                </c:pt>
                <c:pt idx="1951">
                  <c:v>45607</c:v>
                </c:pt>
                <c:pt idx="1952">
                  <c:v>45608</c:v>
                </c:pt>
                <c:pt idx="1953">
                  <c:v>45609</c:v>
                </c:pt>
                <c:pt idx="1954">
                  <c:v>45610</c:v>
                </c:pt>
                <c:pt idx="1955">
                  <c:v>45611</c:v>
                </c:pt>
                <c:pt idx="1956">
                  <c:v>45614</c:v>
                </c:pt>
                <c:pt idx="1957">
                  <c:v>45615</c:v>
                </c:pt>
                <c:pt idx="1958">
                  <c:v>45616</c:v>
                </c:pt>
                <c:pt idx="1959">
                  <c:v>45617</c:v>
                </c:pt>
                <c:pt idx="1960">
                  <c:v>45618</c:v>
                </c:pt>
                <c:pt idx="1961">
                  <c:v>45621</c:v>
                </c:pt>
                <c:pt idx="1962">
                  <c:v>45622</c:v>
                </c:pt>
                <c:pt idx="1963">
                  <c:v>45623</c:v>
                </c:pt>
                <c:pt idx="1964">
                  <c:v>45625</c:v>
                </c:pt>
                <c:pt idx="1965">
                  <c:v>45628</c:v>
                </c:pt>
                <c:pt idx="1966">
                  <c:v>45629</c:v>
                </c:pt>
                <c:pt idx="1967">
                  <c:v>45630</c:v>
                </c:pt>
                <c:pt idx="1968">
                  <c:v>45631</c:v>
                </c:pt>
                <c:pt idx="1969">
                  <c:v>45632</c:v>
                </c:pt>
                <c:pt idx="1970">
                  <c:v>45635</c:v>
                </c:pt>
                <c:pt idx="1971">
                  <c:v>45636</c:v>
                </c:pt>
                <c:pt idx="1972">
                  <c:v>45637</c:v>
                </c:pt>
                <c:pt idx="1973">
                  <c:v>45638</c:v>
                </c:pt>
                <c:pt idx="1974">
                  <c:v>45639</c:v>
                </c:pt>
                <c:pt idx="1975">
                  <c:v>45642</c:v>
                </c:pt>
                <c:pt idx="1976">
                  <c:v>45643</c:v>
                </c:pt>
                <c:pt idx="1977">
                  <c:v>45644</c:v>
                </c:pt>
                <c:pt idx="1978">
                  <c:v>45645</c:v>
                </c:pt>
                <c:pt idx="1979">
                  <c:v>45646</c:v>
                </c:pt>
                <c:pt idx="1980">
                  <c:v>45649</c:v>
                </c:pt>
                <c:pt idx="1981">
                  <c:v>45650</c:v>
                </c:pt>
                <c:pt idx="1982">
                  <c:v>45652</c:v>
                </c:pt>
                <c:pt idx="1983">
                  <c:v>45653</c:v>
                </c:pt>
                <c:pt idx="1984">
                  <c:v>45656</c:v>
                </c:pt>
                <c:pt idx="1985">
                  <c:v>45657</c:v>
                </c:pt>
                <c:pt idx="1986">
                  <c:v>45659</c:v>
                </c:pt>
                <c:pt idx="1987">
                  <c:v>45660</c:v>
                </c:pt>
                <c:pt idx="1988">
                  <c:v>45663</c:v>
                </c:pt>
                <c:pt idx="1989">
                  <c:v>45664</c:v>
                </c:pt>
                <c:pt idx="1990">
                  <c:v>45665</c:v>
                </c:pt>
                <c:pt idx="1991">
                  <c:v>45667</c:v>
                </c:pt>
                <c:pt idx="1992">
                  <c:v>45670</c:v>
                </c:pt>
                <c:pt idx="1993">
                  <c:v>45671</c:v>
                </c:pt>
                <c:pt idx="1994">
                  <c:v>45672</c:v>
                </c:pt>
                <c:pt idx="1995">
                  <c:v>45673</c:v>
                </c:pt>
                <c:pt idx="1996">
                  <c:v>45674</c:v>
                </c:pt>
                <c:pt idx="1997">
                  <c:v>45678</c:v>
                </c:pt>
                <c:pt idx="1998">
                  <c:v>45679</c:v>
                </c:pt>
                <c:pt idx="1999">
                  <c:v>45680</c:v>
                </c:pt>
                <c:pt idx="2000">
                  <c:v>45681</c:v>
                </c:pt>
                <c:pt idx="2001">
                  <c:v>45684</c:v>
                </c:pt>
                <c:pt idx="2002">
                  <c:v>45685</c:v>
                </c:pt>
                <c:pt idx="2003">
                  <c:v>45686</c:v>
                </c:pt>
                <c:pt idx="2004">
                  <c:v>45687</c:v>
                </c:pt>
                <c:pt idx="2005">
                  <c:v>45688</c:v>
                </c:pt>
                <c:pt idx="2006">
                  <c:v>45691</c:v>
                </c:pt>
                <c:pt idx="2007">
                  <c:v>45692</c:v>
                </c:pt>
                <c:pt idx="2008">
                  <c:v>45693</c:v>
                </c:pt>
                <c:pt idx="2009">
                  <c:v>45694</c:v>
                </c:pt>
                <c:pt idx="2010">
                  <c:v>45695</c:v>
                </c:pt>
                <c:pt idx="2011">
                  <c:v>45698</c:v>
                </c:pt>
                <c:pt idx="2012">
                  <c:v>45699</c:v>
                </c:pt>
                <c:pt idx="2013">
                  <c:v>45700</c:v>
                </c:pt>
                <c:pt idx="2014">
                  <c:v>45701</c:v>
                </c:pt>
                <c:pt idx="2015">
                  <c:v>45702</c:v>
                </c:pt>
                <c:pt idx="2016">
                  <c:v>45706</c:v>
                </c:pt>
                <c:pt idx="2017">
                  <c:v>45707</c:v>
                </c:pt>
                <c:pt idx="2018">
                  <c:v>45708</c:v>
                </c:pt>
                <c:pt idx="2019">
                  <c:v>45709</c:v>
                </c:pt>
                <c:pt idx="2020">
                  <c:v>45712</c:v>
                </c:pt>
                <c:pt idx="2021">
                  <c:v>45713</c:v>
                </c:pt>
                <c:pt idx="2022">
                  <c:v>45714</c:v>
                </c:pt>
                <c:pt idx="2023">
                  <c:v>45715</c:v>
                </c:pt>
                <c:pt idx="2024">
                  <c:v>45716</c:v>
                </c:pt>
                <c:pt idx="2025">
                  <c:v>45719</c:v>
                </c:pt>
                <c:pt idx="2026">
                  <c:v>45720</c:v>
                </c:pt>
                <c:pt idx="2027">
                  <c:v>45721</c:v>
                </c:pt>
                <c:pt idx="2028">
                  <c:v>45722</c:v>
                </c:pt>
                <c:pt idx="2029">
                  <c:v>45723</c:v>
                </c:pt>
                <c:pt idx="2030">
                  <c:v>45726</c:v>
                </c:pt>
                <c:pt idx="2031">
                  <c:v>45727</c:v>
                </c:pt>
                <c:pt idx="2032">
                  <c:v>45728</c:v>
                </c:pt>
                <c:pt idx="2033">
                  <c:v>45729</c:v>
                </c:pt>
                <c:pt idx="2034">
                  <c:v>45730</c:v>
                </c:pt>
                <c:pt idx="2035">
                  <c:v>45733</c:v>
                </c:pt>
                <c:pt idx="2036">
                  <c:v>45734</c:v>
                </c:pt>
                <c:pt idx="2037">
                  <c:v>45735</c:v>
                </c:pt>
                <c:pt idx="2038">
                  <c:v>45736</c:v>
                </c:pt>
                <c:pt idx="2039">
                  <c:v>45737</c:v>
                </c:pt>
                <c:pt idx="2040">
                  <c:v>45740</c:v>
                </c:pt>
                <c:pt idx="2041">
                  <c:v>45741</c:v>
                </c:pt>
                <c:pt idx="2042">
                  <c:v>45742</c:v>
                </c:pt>
                <c:pt idx="2043">
                  <c:v>45743</c:v>
                </c:pt>
                <c:pt idx="2044">
                  <c:v>45744</c:v>
                </c:pt>
                <c:pt idx="2045">
                  <c:v>45747</c:v>
                </c:pt>
              </c:numCache>
            </c:numRef>
          </c:cat>
          <c:val>
            <c:numRef>
              <c:f>'Watsco - Share price and chart'!$E$28:$E$2073</c:f>
              <c:numCache>
                <c:formatCode>General</c:formatCode>
                <c:ptCount val="2046"/>
                <c:pt idx="0">
                  <c:v>154.520004</c:v>
                </c:pt>
                <c:pt idx="1">
                  <c:v>155.96000699999999</c:v>
                </c:pt>
                <c:pt idx="2">
                  <c:v>156.41999799999999</c:v>
                </c:pt>
                <c:pt idx="3">
                  <c:v>150.05999800000001</c:v>
                </c:pt>
                <c:pt idx="4">
                  <c:v>148.39999399999999</c:v>
                </c:pt>
                <c:pt idx="5">
                  <c:v>151.78999300000001</c:v>
                </c:pt>
                <c:pt idx="6">
                  <c:v>152.479996</c:v>
                </c:pt>
                <c:pt idx="7">
                  <c:v>153.94000199999999</c:v>
                </c:pt>
                <c:pt idx="8">
                  <c:v>153.44000199999999</c:v>
                </c:pt>
                <c:pt idx="9">
                  <c:v>152.08999600000001</c:v>
                </c:pt>
                <c:pt idx="10">
                  <c:v>150.270004</c:v>
                </c:pt>
                <c:pt idx="11">
                  <c:v>150.490005</c:v>
                </c:pt>
                <c:pt idx="12">
                  <c:v>148.270004</c:v>
                </c:pt>
                <c:pt idx="13">
                  <c:v>150.58999600000001</c:v>
                </c:pt>
                <c:pt idx="14">
                  <c:v>149.240005</c:v>
                </c:pt>
                <c:pt idx="15">
                  <c:v>149.770004</c:v>
                </c:pt>
                <c:pt idx="16">
                  <c:v>149.94000199999999</c:v>
                </c:pt>
                <c:pt idx="17">
                  <c:v>149.30999800000001</c:v>
                </c:pt>
                <c:pt idx="18">
                  <c:v>148.85000600000001</c:v>
                </c:pt>
                <c:pt idx="19">
                  <c:v>147.279999</c:v>
                </c:pt>
                <c:pt idx="20">
                  <c:v>147.759995</c:v>
                </c:pt>
                <c:pt idx="21">
                  <c:v>147.46000699999999</c:v>
                </c:pt>
                <c:pt idx="22">
                  <c:v>146.41999799999999</c:v>
                </c:pt>
                <c:pt idx="23">
                  <c:v>147.69000199999999</c:v>
                </c:pt>
                <c:pt idx="24">
                  <c:v>148.38999899999999</c:v>
                </c:pt>
                <c:pt idx="25">
                  <c:v>147.91000399999999</c:v>
                </c:pt>
                <c:pt idx="26">
                  <c:v>147.88999899999999</c:v>
                </c:pt>
                <c:pt idx="27">
                  <c:v>144.55999800000001</c:v>
                </c:pt>
                <c:pt idx="28">
                  <c:v>145.259995</c:v>
                </c:pt>
                <c:pt idx="29">
                  <c:v>146.029999</c:v>
                </c:pt>
                <c:pt idx="30">
                  <c:v>144.820007</c:v>
                </c:pt>
                <c:pt idx="31">
                  <c:v>143.33000200000001</c:v>
                </c:pt>
                <c:pt idx="32">
                  <c:v>144.529999</c:v>
                </c:pt>
                <c:pt idx="33">
                  <c:v>143</c:v>
                </c:pt>
                <c:pt idx="34">
                  <c:v>143.320007</c:v>
                </c:pt>
                <c:pt idx="35">
                  <c:v>143.179993</c:v>
                </c:pt>
                <c:pt idx="36">
                  <c:v>143.5</c:v>
                </c:pt>
                <c:pt idx="37">
                  <c:v>143.08000200000001</c:v>
                </c:pt>
                <c:pt idx="38">
                  <c:v>140.949997</c:v>
                </c:pt>
                <c:pt idx="39">
                  <c:v>141.25</c:v>
                </c:pt>
                <c:pt idx="40">
                  <c:v>140.020004</c:v>
                </c:pt>
                <c:pt idx="41">
                  <c:v>141.199997</c:v>
                </c:pt>
                <c:pt idx="42">
                  <c:v>140.949997</c:v>
                </c:pt>
                <c:pt idx="43">
                  <c:v>137.38000500000001</c:v>
                </c:pt>
                <c:pt idx="44">
                  <c:v>135.449997</c:v>
                </c:pt>
                <c:pt idx="45">
                  <c:v>136.63999899999999</c:v>
                </c:pt>
                <c:pt idx="46">
                  <c:v>136.550003</c:v>
                </c:pt>
                <c:pt idx="47">
                  <c:v>136.429993</c:v>
                </c:pt>
                <c:pt idx="48">
                  <c:v>136.96000699999999</c:v>
                </c:pt>
                <c:pt idx="49">
                  <c:v>138.61999499999999</c:v>
                </c:pt>
                <c:pt idx="50">
                  <c:v>139.429993</c:v>
                </c:pt>
                <c:pt idx="51">
                  <c:v>142.11000100000001</c:v>
                </c:pt>
                <c:pt idx="52">
                  <c:v>140</c:v>
                </c:pt>
                <c:pt idx="53">
                  <c:v>139.91999799999999</c:v>
                </c:pt>
                <c:pt idx="54">
                  <c:v>138.800003</c:v>
                </c:pt>
                <c:pt idx="55">
                  <c:v>138.41000399999999</c:v>
                </c:pt>
                <c:pt idx="56">
                  <c:v>138.820007</c:v>
                </c:pt>
                <c:pt idx="57">
                  <c:v>139.429993</c:v>
                </c:pt>
                <c:pt idx="58">
                  <c:v>139.11999499999999</c:v>
                </c:pt>
                <c:pt idx="59">
                  <c:v>139.229996</c:v>
                </c:pt>
                <c:pt idx="60">
                  <c:v>138.61000100000001</c:v>
                </c:pt>
                <c:pt idx="61">
                  <c:v>137.550003</c:v>
                </c:pt>
                <c:pt idx="62">
                  <c:v>137.86999499999999</c:v>
                </c:pt>
                <c:pt idx="63">
                  <c:v>139.16999799999999</c:v>
                </c:pt>
                <c:pt idx="64">
                  <c:v>137.88000500000001</c:v>
                </c:pt>
                <c:pt idx="65">
                  <c:v>139.58000200000001</c:v>
                </c:pt>
                <c:pt idx="66">
                  <c:v>139.550003</c:v>
                </c:pt>
                <c:pt idx="67">
                  <c:v>136.96000699999999</c:v>
                </c:pt>
                <c:pt idx="68">
                  <c:v>137.729996</c:v>
                </c:pt>
                <c:pt idx="69">
                  <c:v>140.61999499999999</c:v>
                </c:pt>
                <c:pt idx="70">
                  <c:v>141.220001</c:v>
                </c:pt>
                <c:pt idx="71">
                  <c:v>141.41000399999999</c:v>
                </c:pt>
                <c:pt idx="72">
                  <c:v>141.25</c:v>
                </c:pt>
                <c:pt idx="73">
                  <c:v>141.33000200000001</c:v>
                </c:pt>
                <c:pt idx="74">
                  <c:v>140.61000100000001</c:v>
                </c:pt>
                <c:pt idx="75">
                  <c:v>140.320007</c:v>
                </c:pt>
                <c:pt idx="76">
                  <c:v>141.11999499999999</c:v>
                </c:pt>
                <c:pt idx="77">
                  <c:v>143.720001</c:v>
                </c:pt>
                <c:pt idx="78">
                  <c:v>145.39999399999999</c:v>
                </c:pt>
                <c:pt idx="79">
                  <c:v>143.86000100000001</c:v>
                </c:pt>
                <c:pt idx="80">
                  <c:v>141.759995</c:v>
                </c:pt>
                <c:pt idx="81">
                  <c:v>141.41999799999999</c:v>
                </c:pt>
                <c:pt idx="82">
                  <c:v>143.13999899999999</c:v>
                </c:pt>
                <c:pt idx="83">
                  <c:v>146.08999600000001</c:v>
                </c:pt>
                <c:pt idx="84">
                  <c:v>147.91000399999999</c:v>
                </c:pt>
                <c:pt idx="85">
                  <c:v>148.979996</c:v>
                </c:pt>
                <c:pt idx="86">
                  <c:v>149.83999600000001</c:v>
                </c:pt>
                <c:pt idx="87">
                  <c:v>149.96000699999999</c:v>
                </c:pt>
                <c:pt idx="88">
                  <c:v>149.75</c:v>
                </c:pt>
                <c:pt idx="89">
                  <c:v>151.08999600000001</c:v>
                </c:pt>
                <c:pt idx="90">
                  <c:v>151.71000699999999</c:v>
                </c:pt>
                <c:pt idx="91">
                  <c:v>154.39999399999999</c:v>
                </c:pt>
                <c:pt idx="92">
                  <c:v>155.10000600000001</c:v>
                </c:pt>
                <c:pt idx="93">
                  <c:v>155.46000699999999</c:v>
                </c:pt>
                <c:pt idx="94">
                  <c:v>154.13000500000001</c:v>
                </c:pt>
                <c:pt idx="95">
                  <c:v>151.229996</c:v>
                </c:pt>
                <c:pt idx="96">
                  <c:v>152.88000500000001</c:v>
                </c:pt>
                <c:pt idx="97">
                  <c:v>152.820007</c:v>
                </c:pt>
                <c:pt idx="98">
                  <c:v>154.199997</c:v>
                </c:pt>
                <c:pt idx="99">
                  <c:v>155.21000699999999</c:v>
                </c:pt>
                <c:pt idx="100">
                  <c:v>155.699997</c:v>
                </c:pt>
                <c:pt idx="101">
                  <c:v>154.64999399999999</c:v>
                </c:pt>
                <c:pt idx="102">
                  <c:v>155.429993</c:v>
                </c:pt>
                <c:pt idx="103">
                  <c:v>153.529999</c:v>
                </c:pt>
                <c:pt idx="104">
                  <c:v>154.38000500000001</c:v>
                </c:pt>
                <c:pt idx="105">
                  <c:v>152.570007</c:v>
                </c:pt>
                <c:pt idx="106">
                  <c:v>151.44000199999999</c:v>
                </c:pt>
                <c:pt idx="107">
                  <c:v>150.83000200000001</c:v>
                </c:pt>
                <c:pt idx="108">
                  <c:v>149.35000600000001</c:v>
                </c:pt>
                <c:pt idx="109">
                  <c:v>150.89999399999999</c:v>
                </c:pt>
                <c:pt idx="110">
                  <c:v>152</c:v>
                </c:pt>
                <c:pt idx="111">
                  <c:v>151.96000699999999</c:v>
                </c:pt>
                <c:pt idx="112">
                  <c:v>150.990005</c:v>
                </c:pt>
                <c:pt idx="113">
                  <c:v>148.91999799999999</c:v>
                </c:pt>
                <c:pt idx="114">
                  <c:v>149.979996</c:v>
                </c:pt>
                <c:pt idx="115">
                  <c:v>148.270004</c:v>
                </c:pt>
                <c:pt idx="116">
                  <c:v>150.449997</c:v>
                </c:pt>
                <c:pt idx="117">
                  <c:v>150.05999800000001</c:v>
                </c:pt>
                <c:pt idx="118">
                  <c:v>150.770004</c:v>
                </c:pt>
                <c:pt idx="119">
                  <c:v>150.46000699999999</c:v>
                </c:pt>
                <c:pt idx="120">
                  <c:v>150.759995</c:v>
                </c:pt>
                <c:pt idx="121">
                  <c:v>151.88000500000001</c:v>
                </c:pt>
                <c:pt idx="122">
                  <c:v>152</c:v>
                </c:pt>
                <c:pt idx="123">
                  <c:v>151.78999300000001</c:v>
                </c:pt>
                <c:pt idx="124">
                  <c:v>151.11000100000001</c:v>
                </c:pt>
                <c:pt idx="125">
                  <c:v>149.66000399999999</c:v>
                </c:pt>
                <c:pt idx="126">
                  <c:v>147.71000699999999</c:v>
                </c:pt>
                <c:pt idx="127">
                  <c:v>147.33000200000001</c:v>
                </c:pt>
                <c:pt idx="128">
                  <c:v>148.720001</c:v>
                </c:pt>
                <c:pt idx="129">
                  <c:v>147.85000600000001</c:v>
                </c:pt>
                <c:pt idx="130">
                  <c:v>148.509995</c:v>
                </c:pt>
                <c:pt idx="131">
                  <c:v>146.91000399999999</c:v>
                </c:pt>
                <c:pt idx="132">
                  <c:v>145.259995</c:v>
                </c:pt>
                <c:pt idx="133">
                  <c:v>144.10000600000001</c:v>
                </c:pt>
                <c:pt idx="134">
                  <c:v>146.449997</c:v>
                </c:pt>
                <c:pt idx="135">
                  <c:v>144.300003</c:v>
                </c:pt>
                <c:pt idx="136">
                  <c:v>143.25</c:v>
                </c:pt>
                <c:pt idx="137">
                  <c:v>143.449997</c:v>
                </c:pt>
                <c:pt idx="138">
                  <c:v>142.300003</c:v>
                </c:pt>
                <c:pt idx="139">
                  <c:v>142.520004</c:v>
                </c:pt>
                <c:pt idx="140">
                  <c:v>145.66000399999999</c:v>
                </c:pt>
                <c:pt idx="141">
                  <c:v>147.36000100000001</c:v>
                </c:pt>
                <c:pt idx="142">
                  <c:v>148.16000399999999</c:v>
                </c:pt>
                <c:pt idx="143">
                  <c:v>146.320007</c:v>
                </c:pt>
                <c:pt idx="144">
                  <c:v>147.029999</c:v>
                </c:pt>
                <c:pt idx="145">
                  <c:v>147.509995</c:v>
                </c:pt>
                <c:pt idx="146">
                  <c:v>153.199997</c:v>
                </c:pt>
                <c:pt idx="147">
                  <c:v>152.80999800000001</c:v>
                </c:pt>
                <c:pt idx="148">
                  <c:v>155.36999499999999</c:v>
                </c:pt>
                <c:pt idx="149">
                  <c:v>152.55999800000001</c:v>
                </c:pt>
                <c:pt idx="150">
                  <c:v>152.36000100000001</c:v>
                </c:pt>
                <c:pt idx="151">
                  <c:v>155</c:v>
                </c:pt>
                <c:pt idx="152">
                  <c:v>154.479996</c:v>
                </c:pt>
                <c:pt idx="153">
                  <c:v>154.679993</c:v>
                </c:pt>
                <c:pt idx="154">
                  <c:v>157.05999800000001</c:v>
                </c:pt>
                <c:pt idx="155">
                  <c:v>157.570007</c:v>
                </c:pt>
                <c:pt idx="156">
                  <c:v>158.550003</c:v>
                </c:pt>
                <c:pt idx="157">
                  <c:v>158.88000500000001</c:v>
                </c:pt>
                <c:pt idx="158">
                  <c:v>159.13000500000001</c:v>
                </c:pt>
                <c:pt idx="159">
                  <c:v>159.570007</c:v>
                </c:pt>
                <c:pt idx="160">
                  <c:v>160.479996</c:v>
                </c:pt>
                <c:pt idx="161">
                  <c:v>161.070007</c:v>
                </c:pt>
                <c:pt idx="162">
                  <c:v>163.229996</c:v>
                </c:pt>
                <c:pt idx="163">
                  <c:v>163.69000199999999</c:v>
                </c:pt>
                <c:pt idx="164">
                  <c:v>163.320007</c:v>
                </c:pt>
                <c:pt idx="165">
                  <c:v>162.58999600000001</c:v>
                </c:pt>
                <c:pt idx="166">
                  <c:v>162.550003</c:v>
                </c:pt>
                <c:pt idx="167">
                  <c:v>162.449997</c:v>
                </c:pt>
                <c:pt idx="168">
                  <c:v>160.070007</c:v>
                </c:pt>
                <c:pt idx="169">
                  <c:v>159.96000699999999</c:v>
                </c:pt>
                <c:pt idx="170">
                  <c:v>160.78999300000001</c:v>
                </c:pt>
                <c:pt idx="171">
                  <c:v>159.55999800000001</c:v>
                </c:pt>
                <c:pt idx="172">
                  <c:v>159.46000699999999</c:v>
                </c:pt>
                <c:pt idx="173">
                  <c:v>159.83999600000001</c:v>
                </c:pt>
                <c:pt idx="174">
                  <c:v>160.33000200000001</c:v>
                </c:pt>
                <c:pt idx="175">
                  <c:v>159.300003</c:v>
                </c:pt>
                <c:pt idx="176">
                  <c:v>160.28999300000001</c:v>
                </c:pt>
                <c:pt idx="177">
                  <c:v>161.71000699999999</c:v>
                </c:pt>
                <c:pt idx="178">
                  <c:v>163.13999899999999</c:v>
                </c:pt>
                <c:pt idx="179">
                  <c:v>165.13999899999999</c:v>
                </c:pt>
                <c:pt idx="180">
                  <c:v>165.85000600000001</c:v>
                </c:pt>
                <c:pt idx="181">
                  <c:v>165.80999800000001</c:v>
                </c:pt>
                <c:pt idx="182">
                  <c:v>165.229996</c:v>
                </c:pt>
                <c:pt idx="183">
                  <c:v>166.570007</c:v>
                </c:pt>
                <c:pt idx="184">
                  <c:v>165.429993</c:v>
                </c:pt>
                <c:pt idx="185">
                  <c:v>166.050003</c:v>
                </c:pt>
                <c:pt idx="186">
                  <c:v>165.699997</c:v>
                </c:pt>
                <c:pt idx="187">
                  <c:v>166.16000399999999</c:v>
                </c:pt>
                <c:pt idx="188">
                  <c:v>167.61000100000001</c:v>
                </c:pt>
                <c:pt idx="189">
                  <c:v>165.520004</c:v>
                </c:pt>
                <c:pt idx="190">
                  <c:v>164.60000600000001</c:v>
                </c:pt>
                <c:pt idx="191">
                  <c:v>165.050003</c:v>
                </c:pt>
                <c:pt idx="192">
                  <c:v>164.38000500000001</c:v>
                </c:pt>
                <c:pt idx="193">
                  <c:v>164.19000199999999</c:v>
                </c:pt>
                <c:pt idx="194">
                  <c:v>164.19000199999999</c:v>
                </c:pt>
                <c:pt idx="195">
                  <c:v>165.949997</c:v>
                </c:pt>
                <c:pt idx="196">
                  <c:v>164.86999499999999</c:v>
                </c:pt>
                <c:pt idx="197">
                  <c:v>164.699997</c:v>
                </c:pt>
                <c:pt idx="198">
                  <c:v>164.41000399999999</c:v>
                </c:pt>
                <c:pt idx="199">
                  <c:v>164.10000600000001</c:v>
                </c:pt>
                <c:pt idx="200">
                  <c:v>164.479996</c:v>
                </c:pt>
                <c:pt idx="201">
                  <c:v>164.479996</c:v>
                </c:pt>
                <c:pt idx="202">
                  <c:v>165.66999799999999</c:v>
                </c:pt>
                <c:pt idx="203">
                  <c:v>166.5</c:v>
                </c:pt>
                <c:pt idx="204">
                  <c:v>167.5</c:v>
                </c:pt>
                <c:pt idx="205">
                  <c:v>165.990005</c:v>
                </c:pt>
                <c:pt idx="206">
                  <c:v>168.509995</c:v>
                </c:pt>
                <c:pt idx="207">
                  <c:v>167.479996</c:v>
                </c:pt>
                <c:pt idx="208">
                  <c:v>166.91999799999999</c:v>
                </c:pt>
                <c:pt idx="209">
                  <c:v>168.449997</c:v>
                </c:pt>
                <c:pt idx="210">
                  <c:v>169.479996</c:v>
                </c:pt>
                <c:pt idx="211">
                  <c:v>168.229996</c:v>
                </c:pt>
                <c:pt idx="212">
                  <c:v>168.820007</c:v>
                </c:pt>
                <c:pt idx="213">
                  <c:v>168.35000600000001</c:v>
                </c:pt>
                <c:pt idx="214">
                  <c:v>165.53999300000001</c:v>
                </c:pt>
                <c:pt idx="215">
                  <c:v>165.270004</c:v>
                </c:pt>
                <c:pt idx="216">
                  <c:v>167.61000100000001</c:v>
                </c:pt>
                <c:pt idx="217">
                  <c:v>167.63000500000001</c:v>
                </c:pt>
                <c:pt idx="218">
                  <c:v>168.679993</c:v>
                </c:pt>
                <c:pt idx="219">
                  <c:v>168.770004</c:v>
                </c:pt>
                <c:pt idx="220">
                  <c:v>168.28999300000001</c:v>
                </c:pt>
                <c:pt idx="221">
                  <c:v>169.33999600000001</c:v>
                </c:pt>
                <c:pt idx="222">
                  <c:v>170.479996</c:v>
                </c:pt>
                <c:pt idx="223">
                  <c:v>171.38000500000001</c:v>
                </c:pt>
                <c:pt idx="224">
                  <c:v>170.03999300000001</c:v>
                </c:pt>
                <c:pt idx="225">
                  <c:v>169.86999499999999</c:v>
                </c:pt>
                <c:pt idx="226">
                  <c:v>170.28999300000001</c:v>
                </c:pt>
                <c:pt idx="227">
                  <c:v>170.30999800000001</c:v>
                </c:pt>
                <c:pt idx="228">
                  <c:v>171.33999600000001</c:v>
                </c:pt>
                <c:pt idx="229">
                  <c:v>173.449997</c:v>
                </c:pt>
                <c:pt idx="230">
                  <c:v>173.05999800000001</c:v>
                </c:pt>
                <c:pt idx="231">
                  <c:v>171.69000199999999</c:v>
                </c:pt>
                <c:pt idx="232">
                  <c:v>175.070007</c:v>
                </c:pt>
                <c:pt idx="233">
                  <c:v>174.240005</c:v>
                </c:pt>
                <c:pt idx="234">
                  <c:v>173.35000600000001</c:v>
                </c:pt>
                <c:pt idx="235">
                  <c:v>173.66000399999999</c:v>
                </c:pt>
                <c:pt idx="236">
                  <c:v>173.679993</c:v>
                </c:pt>
                <c:pt idx="237">
                  <c:v>175.86999499999999</c:v>
                </c:pt>
                <c:pt idx="238">
                  <c:v>174.94000199999999</c:v>
                </c:pt>
                <c:pt idx="239">
                  <c:v>176.16000399999999</c:v>
                </c:pt>
                <c:pt idx="240">
                  <c:v>177.10000600000001</c:v>
                </c:pt>
                <c:pt idx="241">
                  <c:v>180.14999399999999</c:v>
                </c:pt>
                <c:pt idx="242">
                  <c:v>181.53999300000001</c:v>
                </c:pt>
                <c:pt idx="243">
                  <c:v>179.800003</c:v>
                </c:pt>
                <c:pt idx="244">
                  <c:v>179.58000200000001</c:v>
                </c:pt>
                <c:pt idx="245">
                  <c:v>179.78999300000001</c:v>
                </c:pt>
                <c:pt idx="246">
                  <c:v>179.85000600000001</c:v>
                </c:pt>
                <c:pt idx="247">
                  <c:v>176.429993</c:v>
                </c:pt>
                <c:pt idx="248">
                  <c:v>171.60000600000001</c:v>
                </c:pt>
                <c:pt idx="249">
                  <c:v>169.699997</c:v>
                </c:pt>
                <c:pt idx="250">
                  <c:v>171.449997</c:v>
                </c:pt>
                <c:pt idx="251">
                  <c:v>165.259995</c:v>
                </c:pt>
                <c:pt idx="252">
                  <c:v>164.979996</c:v>
                </c:pt>
                <c:pt idx="253">
                  <c:v>164.25</c:v>
                </c:pt>
                <c:pt idx="254">
                  <c:v>164.929993</c:v>
                </c:pt>
                <c:pt idx="255">
                  <c:v>166.60000600000001</c:v>
                </c:pt>
                <c:pt idx="256">
                  <c:v>169.729996</c:v>
                </c:pt>
                <c:pt idx="257">
                  <c:v>169.28999300000001</c:v>
                </c:pt>
                <c:pt idx="258">
                  <c:v>167.44000199999999</c:v>
                </c:pt>
                <c:pt idx="259">
                  <c:v>167.320007</c:v>
                </c:pt>
                <c:pt idx="260">
                  <c:v>167.19000199999999</c:v>
                </c:pt>
                <c:pt idx="261">
                  <c:v>168.490005</c:v>
                </c:pt>
                <c:pt idx="262">
                  <c:v>168.21000699999999</c:v>
                </c:pt>
                <c:pt idx="263">
                  <c:v>167.070007</c:v>
                </c:pt>
                <c:pt idx="264">
                  <c:v>165.36999499999999</c:v>
                </c:pt>
                <c:pt idx="265">
                  <c:v>165.529999</c:v>
                </c:pt>
                <c:pt idx="266">
                  <c:v>168.33000200000001</c:v>
                </c:pt>
                <c:pt idx="267">
                  <c:v>169.429993</c:v>
                </c:pt>
                <c:pt idx="268">
                  <c:v>171.08000200000001</c:v>
                </c:pt>
                <c:pt idx="269">
                  <c:v>172.720001</c:v>
                </c:pt>
                <c:pt idx="270">
                  <c:v>173.970001</c:v>
                </c:pt>
                <c:pt idx="271">
                  <c:v>176.19000199999999</c:v>
                </c:pt>
                <c:pt idx="272">
                  <c:v>181.71000699999999</c:v>
                </c:pt>
                <c:pt idx="273">
                  <c:v>181.270004</c:v>
                </c:pt>
                <c:pt idx="274">
                  <c:v>182.13999899999999</c:v>
                </c:pt>
                <c:pt idx="275">
                  <c:v>181.38000500000001</c:v>
                </c:pt>
                <c:pt idx="276">
                  <c:v>180.25</c:v>
                </c:pt>
                <c:pt idx="277">
                  <c:v>177.779999</c:v>
                </c:pt>
                <c:pt idx="278">
                  <c:v>177.05999800000001</c:v>
                </c:pt>
                <c:pt idx="279">
                  <c:v>177.66999799999999</c:v>
                </c:pt>
                <c:pt idx="280">
                  <c:v>173.85000600000001</c:v>
                </c:pt>
                <c:pt idx="281">
                  <c:v>172.949997</c:v>
                </c:pt>
                <c:pt idx="282">
                  <c:v>177.779999</c:v>
                </c:pt>
                <c:pt idx="283">
                  <c:v>175.46000699999999</c:v>
                </c:pt>
                <c:pt idx="284">
                  <c:v>176.08999600000001</c:v>
                </c:pt>
                <c:pt idx="285">
                  <c:v>180.970001</c:v>
                </c:pt>
                <c:pt idx="286">
                  <c:v>178.800003</c:v>
                </c:pt>
                <c:pt idx="287">
                  <c:v>184.5</c:v>
                </c:pt>
                <c:pt idx="288">
                  <c:v>187.220001</c:v>
                </c:pt>
                <c:pt idx="289">
                  <c:v>189.25</c:v>
                </c:pt>
                <c:pt idx="290">
                  <c:v>185.88000500000001</c:v>
                </c:pt>
                <c:pt idx="291">
                  <c:v>184.36999499999999</c:v>
                </c:pt>
                <c:pt idx="292">
                  <c:v>187.16000399999999</c:v>
                </c:pt>
                <c:pt idx="293">
                  <c:v>184.61000100000001</c:v>
                </c:pt>
                <c:pt idx="294">
                  <c:v>187.86999499999999</c:v>
                </c:pt>
                <c:pt idx="295">
                  <c:v>183.41000399999999</c:v>
                </c:pt>
                <c:pt idx="296">
                  <c:v>186.63000500000001</c:v>
                </c:pt>
                <c:pt idx="297">
                  <c:v>188.96000699999999</c:v>
                </c:pt>
                <c:pt idx="298">
                  <c:v>191.179993</c:v>
                </c:pt>
                <c:pt idx="299">
                  <c:v>189.66000399999999</c:v>
                </c:pt>
                <c:pt idx="300">
                  <c:v>187.35000600000001</c:v>
                </c:pt>
                <c:pt idx="301">
                  <c:v>187.46000699999999</c:v>
                </c:pt>
                <c:pt idx="302">
                  <c:v>173.770004</c:v>
                </c:pt>
                <c:pt idx="303">
                  <c:v>168.679993</c:v>
                </c:pt>
                <c:pt idx="304">
                  <c:v>171.199997</c:v>
                </c:pt>
                <c:pt idx="305">
                  <c:v>169.990005</c:v>
                </c:pt>
                <c:pt idx="306">
                  <c:v>167.41999799999999</c:v>
                </c:pt>
                <c:pt idx="307">
                  <c:v>167.88999899999999</c:v>
                </c:pt>
                <c:pt idx="308">
                  <c:v>166.88999899999999</c:v>
                </c:pt>
                <c:pt idx="309">
                  <c:v>168.13999899999999</c:v>
                </c:pt>
                <c:pt idx="310">
                  <c:v>172.86999499999999</c:v>
                </c:pt>
                <c:pt idx="311">
                  <c:v>174.050003</c:v>
                </c:pt>
                <c:pt idx="312">
                  <c:v>175.800003</c:v>
                </c:pt>
                <c:pt idx="313">
                  <c:v>177.08000200000001</c:v>
                </c:pt>
                <c:pt idx="314">
                  <c:v>177.30999800000001</c:v>
                </c:pt>
                <c:pt idx="315">
                  <c:v>178.61999499999999</c:v>
                </c:pt>
                <c:pt idx="316">
                  <c:v>178.020004</c:v>
                </c:pt>
                <c:pt idx="317">
                  <c:v>178.770004</c:v>
                </c:pt>
                <c:pt idx="318">
                  <c:v>180.300003</c:v>
                </c:pt>
                <c:pt idx="319">
                  <c:v>181.91000399999999</c:v>
                </c:pt>
                <c:pt idx="320">
                  <c:v>183.070007</c:v>
                </c:pt>
                <c:pt idx="321">
                  <c:v>185.28999300000001</c:v>
                </c:pt>
                <c:pt idx="322">
                  <c:v>182.990005</c:v>
                </c:pt>
                <c:pt idx="323">
                  <c:v>183.029999</c:v>
                </c:pt>
                <c:pt idx="324">
                  <c:v>183</c:v>
                </c:pt>
                <c:pt idx="325">
                  <c:v>182.009995</c:v>
                </c:pt>
                <c:pt idx="326">
                  <c:v>183</c:v>
                </c:pt>
                <c:pt idx="327">
                  <c:v>186.009995</c:v>
                </c:pt>
                <c:pt idx="328">
                  <c:v>184.020004</c:v>
                </c:pt>
                <c:pt idx="329">
                  <c:v>185.94000199999999</c:v>
                </c:pt>
                <c:pt idx="330">
                  <c:v>185.11999499999999</c:v>
                </c:pt>
                <c:pt idx="331">
                  <c:v>186.470001</c:v>
                </c:pt>
                <c:pt idx="332">
                  <c:v>186.5</c:v>
                </c:pt>
                <c:pt idx="333">
                  <c:v>187.509995</c:v>
                </c:pt>
                <c:pt idx="334">
                  <c:v>188.66999799999999</c:v>
                </c:pt>
                <c:pt idx="335">
                  <c:v>188.36999499999999</c:v>
                </c:pt>
                <c:pt idx="336">
                  <c:v>191.35000600000001</c:v>
                </c:pt>
                <c:pt idx="337">
                  <c:v>187.94000199999999</c:v>
                </c:pt>
                <c:pt idx="338">
                  <c:v>188.41000399999999</c:v>
                </c:pt>
                <c:pt idx="339">
                  <c:v>187.89999399999999</c:v>
                </c:pt>
                <c:pt idx="340">
                  <c:v>188.10000600000001</c:v>
                </c:pt>
                <c:pt idx="341">
                  <c:v>186</c:v>
                </c:pt>
                <c:pt idx="342">
                  <c:v>185.970001</c:v>
                </c:pt>
                <c:pt idx="343">
                  <c:v>183</c:v>
                </c:pt>
                <c:pt idx="344">
                  <c:v>181.61000100000001</c:v>
                </c:pt>
                <c:pt idx="345">
                  <c:v>178.300003</c:v>
                </c:pt>
                <c:pt idx="346">
                  <c:v>177.60000600000001</c:v>
                </c:pt>
                <c:pt idx="347">
                  <c:v>176.44000199999999</c:v>
                </c:pt>
                <c:pt idx="348">
                  <c:v>176.970001</c:v>
                </c:pt>
                <c:pt idx="349">
                  <c:v>178.279999</c:v>
                </c:pt>
                <c:pt idx="350">
                  <c:v>178.479996</c:v>
                </c:pt>
                <c:pt idx="351">
                  <c:v>176.63999899999999</c:v>
                </c:pt>
                <c:pt idx="352">
                  <c:v>177.949997</c:v>
                </c:pt>
                <c:pt idx="353">
                  <c:v>178.759995</c:v>
                </c:pt>
                <c:pt idx="354">
                  <c:v>184.179993</c:v>
                </c:pt>
                <c:pt idx="355">
                  <c:v>185.66000399999999</c:v>
                </c:pt>
                <c:pt idx="356">
                  <c:v>183.44000199999999</c:v>
                </c:pt>
                <c:pt idx="357">
                  <c:v>183.10000600000001</c:v>
                </c:pt>
                <c:pt idx="358">
                  <c:v>184.05999800000001</c:v>
                </c:pt>
                <c:pt idx="359">
                  <c:v>180.720001</c:v>
                </c:pt>
                <c:pt idx="360">
                  <c:v>182.28999300000001</c:v>
                </c:pt>
                <c:pt idx="361">
                  <c:v>183.38000500000001</c:v>
                </c:pt>
                <c:pt idx="362">
                  <c:v>185.449997</c:v>
                </c:pt>
                <c:pt idx="363">
                  <c:v>185.729996</c:v>
                </c:pt>
                <c:pt idx="364">
                  <c:v>185.11999499999999</c:v>
                </c:pt>
                <c:pt idx="365">
                  <c:v>182.46000699999999</c:v>
                </c:pt>
                <c:pt idx="366">
                  <c:v>170.009995</c:v>
                </c:pt>
                <c:pt idx="367">
                  <c:v>166</c:v>
                </c:pt>
                <c:pt idx="368">
                  <c:v>172.58000200000001</c:v>
                </c:pt>
                <c:pt idx="369">
                  <c:v>169.009995</c:v>
                </c:pt>
                <c:pt idx="370">
                  <c:v>172.509995</c:v>
                </c:pt>
                <c:pt idx="371">
                  <c:v>168.800003</c:v>
                </c:pt>
                <c:pt idx="372">
                  <c:v>168.78999300000001</c:v>
                </c:pt>
                <c:pt idx="373">
                  <c:v>168.78999300000001</c:v>
                </c:pt>
                <c:pt idx="374">
                  <c:v>171.38999899999999</c:v>
                </c:pt>
                <c:pt idx="375">
                  <c:v>172.529999</c:v>
                </c:pt>
                <c:pt idx="376">
                  <c:v>173.509995</c:v>
                </c:pt>
                <c:pt idx="377">
                  <c:v>171.89999399999999</c:v>
                </c:pt>
                <c:pt idx="378">
                  <c:v>171.949997</c:v>
                </c:pt>
                <c:pt idx="379">
                  <c:v>169.66000399999999</c:v>
                </c:pt>
                <c:pt idx="380">
                  <c:v>172.66999799999999</c:v>
                </c:pt>
                <c:pt idx="381">
                  <c:v>170.050003</c:v>
                </c:pt>
                <c:pt idx="382">
                  <c:v>169.88000500000001</c:v>
                </c:pt>
                <c:pt idx="383">
                  <c:v>171.89999399999999</c:v>
                </c:pt>
                <c:pt idx="384">
                  <c:v>173.490005</c:v>
                </c:pt>
                <c:pt idx="385">
                  <c:v>175.64999399999999</c:v>
                </c:pt>
                <c:pt idx="386">
                  <c:v>174.779999</c:v>
                </c:pt>
                <c:pt idx="387">
                  <c:v>173.66999799999999</c:v>
                </c:pt>
                <c:pt idx="388">
                  <c:v>174.979996</c:v>
                </c:pt>
                <c:pt idx="389">
                  <c:v>174.33000200000001</c:v>
                </c:pt>
                <c:pt idx="390">
                  <c:v>175.16999799999999</c:v>
                </c:pt>
                <c:pt idx="391">
                  <c:v>175.479996</c:v>
                </c:pt>
                <c:pt idx="392">
                  <c:v>174.55999800000001</c:v>
                </c:pt>
                <c:pt idx="393">
                  <c:v>174.990005</c:v>
                </c:pt>
                <c:pt idx="394">
                  <c:v>175.66999799999999</c:v>
                </c:pt>
                <c:pt idx="395">
                  <c:v>176.08999600000001</c:v>
                </c:pt>
                <c:pt idx="396">
                  <c:v>175.949997</c:v>
                </c:pt>
                <c:pt idx="397">
                  <c:v>175.75</c:v>
                </c:pt>
                <c:pt idx="398">
                  <c:v>180.070007</c:v>
                </c:pt>
                <c:pt idx="399">
                  <c:v>178.89999399999999</c:v>
                </c:pt>
                <c:pt idx="400">
                  <c:v>180.979996</c:v>
                </c:pt>
                <c:pt idx="401">
                  <c:v>183.050003</c:v>
                </c:pt>
                <c:pt idx="402">
                  <c:v>183.35000600000001</c:v>
                </c:pt>
                <c:pt idx="403">
                  <c:v>182.58999600000001</c:v>
                </c:pt>
                <c:pt idx="404">
                  <c:v>182.78999300000001</c:v>
                </c:pt>
                <c:pt idx="405">
                  <c:v>179.80999800000001</c:v>
                </c:pt>
                <c:pt idx="406">
                  <c:v>179.21000699999999</c:v>
                </c:pt>
                <c:pt idx="407">
                  <c:v>175.94000199999999</c:v>
                </c:pt>
                <c:pt idx="408">
                  <c:v>175.820007</c:v>
                </c:pt>
                <c:pt idx="409">
                  <c:v>176.80999800000001</c:v>
                </c:pt>
                <c:pt idx="410">
                  <c:v>176.320007</c:v>
                </c:pt>
                <c:pt idx="411">
                  <c:v>177.020004</c:v>
                </c:pt>
                <c:pt idx="412">
                  <c:v>178.10000600000001</c:v>
                </c:pt>
                <c:pt idx="413">
                  <c:v>174.570007</c:v>
                </c:pt>
                <c:pt idx="414">
                  <c:v>176.39999399999999</c:v>
                </c:pt>
                <c:pt idx="415">
                  <c:v>175.41000399999999</c:v>
                </c:pt>
                <c:pt idx="416">
                  <c:v>172.89999399999999</c:v>
                </c:pt>
                <c:pt idx="417">
                  <c:v>173</c:v>
                </c:pt>
                <c:pt idx="418">
                  <c:v>171.990005</c:v>
                </c:pt>
                <c:pt idx="419">
                  <c:v>172.520004</c:v>
                </c:pt>
                <c:pt idx="420">
                  <c:v>168.19000199999999</c:v>
                </c:pt>
                <c:pt idx="421">
                  <c:v>163.85000600000001</c:v>
                </c:pt>
                <c:pt idx="422">
                  <c:v>163.11000100000001</c:v>
                </c:pt>
                <c:pt idx="423">
                  <c:v>164.270004</c:v>
                </c:pt>
                <c:pt idx="424">
                  <c:v>167.5</c:v>
                </c:pt>
                <c:pt idx="425">
                  <c:v>165.25</c:v>
                </c:pt>
                <c:pt idx="426">
                  <c:v>163.5</c:v>
                </c:pt>
                <c:pt idx="427">
                  <c:v>159.33999600000001</c:v>
                </c:pt>
                <c:pt idx="428">
                  <c:v>159.449997</c:v>
                </c:pt>
                <c:pt idx="429">
                  <c:v>159.66999799999999</c:v>
                </c:pt>
                <c:pt idx="430">
                  <c:v>154.36000100000001</c:v>
                </c:pt>
                <c:pt idx="431">
                  <c:v>149.60000600000001</c:v>
                </c:pt>
                <c:pt idx="432">
                  <c:v>146.259995</c:v>
                </c:pt>
                <c:pt idx="433">
                  <c:v>142.44000199999999</c:v>
                </c:pt>
                <c:pt idx="434">
                  <c:v>141.479996</c:v>
                </c:pt>
                <c:pt idx="435">
                  <c:v>148.179993</c:v>
                </c:pt>
                <c:pt idx="436">
                  <c:v>149.16999799999999</c:v>
                </c:pt>
                <c:pt idx="437">
                  <c:v>149.229996</c:v>
                </c:pt>
                <c:pt idx="438">
                  <c:v>149.229996</c:v>
                </c:pt>
                <c:pt idx="439">
                  <c:v>146.63999899999999</c:v>
                </c:pt>
                <c:pt idx="440">
                  <c:v>150.679993</c:v>
                </c:pt>
                <c:pt idx="441">
                  <c:v>146.820007</c:v>
                </c:pt>
                <c:pt idx="442">
                  <c:v>144.61000100000001</c:v>
                </c:pt>
                <c:pt idx="443">
                  <c:v>142.85000600000001</c:v>
                </c:pt>
                <c:pt idx="444">
                  <c:v>145.96000699999999</c:v>
                </c:pt>
                <c:pt idx="445">
                  <c:v>145.14999399999999</c:v>
                </c:pt>
                <c:pt idx="446">
                  <c:v>145.80999800000001</c:v>
                </c:pt>
                <c:pt idx="447">
                  <c:v>147.36999499999999</c:v>
                </c:pt>
                <c:pt idx="448">
                  <c:v>148.800003</c:v>
                </c:pt>
                <c:pt idx="449">
                  <c:v>147.449997</c:v>
                </c:pt>
                <c:pt idx="450">
                  <c:v>150.929993</c:v>
                </c:pt>
                <c:pt idx="451">
                  <c:v>149.53999300000001</c:v>
                </c:pt>
                <c:pt idx="452">
                  <c:v>150.800003</c:v>
                </c:pt>
                <c:pt idx="453">
                  <c:v>150.80999800000001</c:v>
                </c:pt>
                <c:pt idx="454">
                  <c:v>153.38000500000001</c:v>
                </c:pt>
                <c:pt idx="455">
                  <c:v>152.58000200000001</c:v>
                </c:pt>
                <c:pt idx="456">
                  <c:v>153.699997</c:v>
                </c:pt>
                <c:pt idx="457">
                  <c:v>153.88999899999999</c:v>
                </c:pt>
                <c:pt idx="458">
                  <c:v>153</c:v>
                </c:pt>
                <c:pt idx="459">
                  <c:v>154.300003</c:v>
                </c:pt>
                <c:pt idx="460">
                  <c:v>152.050003</c:v>
                </c:pt>
                <c:pt idx="461">
                  <c:v>149.69000199999999</c:v>
                </c:pt>
                <c:pt idx="462">
                  <c:v>149</c:v>
                </c:pt>
                <c:pt idx="463">
                  <c:v>150.11000100000001</c:v>
                </c:pt>
                <c:pt idx="464">
                  <c:v>149.58999600000001</c:v>
                </c:pt>
                <c:pt idx="465">
                  <c:v>147.429993</c:v>
                </c:pt>
                <c:pt idx="466">
                  <c:v>145.53999300000001</c:v>
                </c:pt>
                <c:pt idx="467">
                  <c:v>143.33000200000001</c:v>
                </c:pt>
                <c:pt idx="468">
                  <c:v>140.58000200000001</c:v>
                </c:pt>
                <c:pt idx="469">
                  <c:v>140.96000699999999</c:v>
                </c:pt>
                <c:pt idx="470">
                  <c:v>133.58999600000001</c:v>
                </c:pt>
                <c:pt idx="471">
                  <c:v>132.58999600000001</c:v>
                </c:pt>
                <c:pt idx="472">
                  <c:v>137.91999799999999</c:v>
                </c:pt>
                <c:pt idx="473">
                  <c:v>137.14999399999999</c:v>
                </c:pt>
                <c:pt idx="474">
                  <c:v>137.979996</c:v>
                </c:pt>
                <c:pt idx="475">
                  <c:v>139.13999899999999</c:v>
                </c:pt>
                <c:pt idx="476">
                  <c:v>139.19000199999999</c:v>
                </c:pt>
                <c:pt idx="477">
                  <c:v>137.30999800000001</c:v>
                </c:pt>
                <c:pt idx="478">
                  <c:v>142.88999899999999</c:v>
                </c:pt>
                <c:pt idx="479">
                  <c:v>142.86000100000001</c:v>
                </c:pt>
                <c:pt idx="480">
                  <c:v>143.60000600000001</c:v>
                </c:pt>
                <c:pt idx="481">
                  <c:v>141.240005</c:v>
                </c:pt>
                <c:pt idx="482">
                  <c:v>144.03999300000001</c:v>
                </c:pt>
                <c:pt idx="483">
                  <c:v>143.020004</c:v>
                </c:pt>
                <c:pt idx="484">
                  <c:v>142.91000399999999</c:v>
                </c:pt>
                <c:pt idx="485">
                  <c:v>142.05999800000001</c:v>
                </c:pt>
                <c:pt idx="486">
                  <c:v>140.529999</c:v>
                </c:pt>
                <c:pt idx="487">
                  <c:v>143.66999799999999</c:v>
                </c:pt>
                <c:pt idx="488">
                  <c:v>145.83000200000001</c:v>
                </c:pt>
                <c:pt idx="489">
                  <c:v>144.38000500000001</c:v>
                </c:pt>
                <c:pt idx="490">
                  <c:v>144.509995</c:v>
                </c:pt>
                <c:pt idx="491">
                  <c:v>144.729996</c:v>
                </c:pt>
                <c:pt idx="492">
                  <c:v>145.929993</c:v>
                </c:pt>
                <c:pt idx="493">
                  <c:v>146.300003</c:v>
                </c:pt>
                <c:pt idx="494">
                  <c:v>147.679993</c:v>
                </c:pt>
                <c:pt idx="495">
                  <c:v>145.279999</c:v>
                </c:pt>
                <c:pt idx="496">
                  <c:v>147.479996</c:v>
                </c:pt>
                <c:pt idx="497">
                  <c:v>147.240005</c:v>
                </c:pt>
                <c:pt idx="498">
                  <c:v>148.800003</c:v>
                </c:pt>
                <c:pt idx="499">
                  <c:v>148.509995</c:v>
                </c:pt>
                <c:pt idx="500">
                  <c:v>145.94000199999999</c:v>
                </c:pt>
                <c:pt idx="501">
                  <c:v>146</c:v>
                </c:pt>
                <c:pt idx="502">
                  <c:v>145.16999799999999</c:v>
                </c:pt>
                <c:pt idx="503">
                  <c:v>148.46000699999999</c:v>
                </c:pt>
                <c:pt idx="504">
                  <c:v>151.479996</c:v>
                </c:pt>
                <c:pt idx="505">
                  <c:v>152.990005</c:v>
                </c:pt>
                <c:pt idx="506">
                  <c:v>143.08000200000001</c:v>
                </c:pt>
                <c:pt idx="507">
                  <c:v>143.36000100000001</c:v>
                </c:pt>
                <c:pt idx="508">
                  <c:v>144.550003</c:v>
                </c:pt>
                <c:pt idx="509">
                  <c:v>143.08000200000001</c:v>
                </c:pt>
                <c:pt idx="510">
                  <c:v>142.91999799999999</c:v>
                </c:pt>
                <c:pt idx="511">
                  <c:v>144.050003</c:v>
                </c:pt>
                <c:pt idx="512">
                  <c:v>144.71000699999999</c:v>
                </c:pt>
                <c:pt idx="513">
                  <c:v>143.550003</c:v>
                </c:pt>
                <c:pt idx="514">
                  <c:v>144.58000200000001</c:v>
                </c:pt>
                <c:pt idx="515">
                  <c:v>143.88999899999999</c:v>
                </c:pt>
                <c:pt idx="516">
                  <c:v>144.28999300000001</c:v>
                </c:pt>
                <c:pt idx="517">
                  <c:v>141.80999800000001</c:v>
                </c:pt>
                <c:pt idx="518">
                  <c:v>141.08000200000001</c:v>
                </c:pt>
                <c:pt idx="519">
                  <c:v>143.69000199999999</c:v>
                </c:pt>
                <c:pt idx="520">
                  <c:v>141.009995</c:v>
                </c:pt>
                <c:pt idx="521">
                  <c:v>140.429993</c:v>
                </c:pt>
                <c:pt idx="522">
                  <c:v>140.029999</c:v>
                </c:pt>
                <c:pt idx="523">
                  <c:v>140.33999600000001</c:v>
                </c:pt>
                <c:pt idx="524">
                  <c:v>142.229996</c:v>
                </c:pt>
                <c:pt idx="525">
                  <c:v>140.53999300000001</c:v>
                </c:pt>
                <c:pt idx="526">
                  <c:v>139.80999800000001</c:v>
                </c:pt>
                <c:pt idx="527">
                  <c:v>143.46000699999999</c:v>
                </c:pt>
                <c:pt idx="528">
                  <c:v>141.699997</c:v>
                </c:pt>
                <c:pt idx="529">
                  <c:v>141.449997</c:v>
                </c:pt>
                <c:pt idx="530">
                  <c:v>141.11999499999999</c:v>
                </c:pt>
                <c:pt idx="531">
                  <c:v>137.240005</c:v>
                </c:pt>
                <c:pt idx="532">
                  <c:v>138.61999499999999</c:v>
                </c:pt>
                <c:pt idx="533">
                  <c:v>139.71000699999999</c:v>
                </c:pt>
                <c:pt idx="534">
                  <c:v>141.279999</c:v>
                </c:pt>
                <c:pt idx="535">
                  <c:v>141.86000100000001</c:v>
                </c:pt>
                <c:pt idx="536">
                  <c:v>143.21000699999999</c:v>
                </c:pt>
                <c:pt idx="537">
                  <c:v>145.229996</c:v>
                </c:pt>
                <c:pt idx="538">
                  <c:v>146.220001</c:v>
                </c:pt>
                <c:pt idx="539">
                  <c:v>146.14999399999999</c:v>
                </c:pt>
                <c:pt idx="540">
                  <c:v>148.58000200000001</c:v>
                </c:pt>
                <c:pt idx="541">
                  <c:v>150.11000100000001</c:v>
                </c:pt>
                <c:pt idx="542">
                  <c:v>148.509995</c:v>
                </c:pt>
                <c:pt idx="543">
                  <c:v>144.720001</c:v>
                </c:pt>
                <c:pt idx="544">
                  <c:v>142.5</c:v>
                </c:pt>
                <c:pt idx="545">
                  <c:v>144.300003</c:v>
                </c:pt>
                <c:pt idx="546">
                  <c:v>144.75</c:v>
                </c:pt>
                <c:pt idx="547">
                  <c:v>145.91999799999999</c:v>
                </c:pt>
                <c:pt idx="548">
                  <c:v>147.729996</c:v>
                </c:pt>
                <c:pt idx="549">
                  <c:v>150.39999399999999</c:v>
                </c:pt>
                <c:pt idx="550">
                  <c:v>151.33000200000001</c:v>
                </c:pt>
                <c:pt idx="551">
                  <c:v>150.990005</c:v>
                </c:pt>
                <c:pt idx="552">
                  <c:v>156.970001</c:v>
                </c:pt>
                <c:pt idx="553">
                  <c:v>160</c:v>
                </c:pt>
                <c:pt idx="554">
                  <c:v>159.83999600000001</c:v>
                </c:pt>
                <c:pt idx="555">
                  <c:v>159.279999</c:v>
                </c:pt>
                <c:pt idx="556">
                  <c:v>158.259995</c:v>
                </c:pt>
                <c:pt idx="557">
                  <c:v>158.470001</c:v>
                </c:pt>
                <c:pt idx="558">
                  <c:v>156.270004</c:v>
                </c:pt>
                <c:pt idx="559">
                  <c:v>157.88999899999999</c:v>
                </c:pt>
                <c:pt idx="560">
                  <c:v>160.38999899999999</c:v>
                </c:pt>
                <c:pt idx="561">
                  <c:v>160.44000199999999</c:v>
                </c:pt>
                <c:pt idx="562">
                  <c:v>157.44000199999999</c:v>
                </c:pt>
                <c:pt idx="563">
                  <c:v>158.66999799999999</c:v>
                </c:pt>
                <c:pt idx="564">
                  <c:v>157.740005</c:v>
                </c:pt>
                <c:pt idx="565">
                  <c:v>159.679993</c:v>
                </c:pt>
                <c:pt idx="566">
                  <c:v>154.38999899999999</c:v>
                </c:pt>
                <c:pt idx="567">
                  <c:v>155.38000500000001</c:v>
                </c:pt>
                <c:pt idx="568">
                  <c:v>156.46000699999999</c:v>
                </c:pt>
                <c:pt idx="569">
                  <c:v>157.279999</c:v>
                </c:pt>
                <c:pt idx="570">
                  <c:v>156.46000699999999</c:v>
                </c:pt>
                <c:pt idx="571">
                  <c:v>156.75</c:v>
                </c:pt>
                <c:pt idx="572">
                  <c:v>158.61000100000001</c:v>
                </c:pt>
                <c:pt idx="573">
                  <c:v>157.759995</c:v>
                </c:pt>
                <c:pt idx="574">
                  <c:v>156.91999799999999</c:v>
                </c:pt>
                <c:pt idx="575">
                  <c:v>156.699997</c:v>
                </c:pt>
                <c:pt idx="576">
                  <c:v>155.66000399999999</c:v>
                </c:pt>
                <c:pt idx="577">
                  <c:v>155.479996</c:v>
                </c:pt>
                <c:pt idx="578">
                  <c:v>158.679993</c:v>
                </c:pt>
                <c:pt idx="579">
                  <c:v>157.38999899999999</c:v>
                </c:pt>
                <c:pt idx="580">
                  <c:v>160.69000199999999</c:v>
                </c:pt>
                <c:pt idx="581">
                  <c:v>165.759995</c:v>
                </c:pt>
                <c:pt idx="582">
                  <c:v>166.60000600000001</c:v>
                </c:pt>
                <c:pt idx="583">
                  <c:v>166.36000100000001</c:v>
                </c:pt>
                <c:pt idx="584">
                  <c:v>167.720001</c:v>
                </c:pt>
                <c:pt idx="585">
                  <c:v>167.61999499999999</c:v>
                </c:pt>
                <c:pt idx="586">
                  <c:v>164.38000500000001</c:v>
                </c:pt>
                <c:pt idx="587">
                  <c:v>164.91999799999999</c:v>
                </c:pt>
                <c:pt idx="588">
                  <c:v>164.5</c:v>
                </c:pt>
                <c:pt idx="589">
                  <c:v>163.44000199999999</c:v>
                </c:pt>
                <c:pt idx="590">
                  <c:v>161.770004</c:v>
                </c:pt>
                <c:pt idx="591">
                  <c:v>161.479996</c:v>
                </c:pt>
                <c:pt idx="592">
                  <c:v>161.13000500000001</c:v>
                </c:pt>
                <c:pt idx="593">
                  <c:v>161.929993</c:v>
                </c:pt>
                <c:pt idx="594">
                  <c:v>164.08000200000001</c:v>
                </c:pt>
                <c:pt idx="595">
                  <c:v>161.550003</c:v>
                </c:pt>
                <c:pt idx="596">
                  <c:v>160.83999600000001</c:v>
                </c:pt>
                <c:pt idx="597">
                  <c:v>161.03999300000001</c:v>
                </c:pt>
                <c:pt idx="598">
                  <c:v>163.470001</c:v>
                </c:pt>
                <c:pt idx="599">
                  <c:v>163.529999</c:v>
                </c:pt>
                <c:pt idx="600">
                  <c:v>164.36000100000001</c:v>
                </c:pt>
                <c:pt idx="601">
                  <c:v>163.85000600000001</c:v>
                </c:pt>
                <c:pt idx="602">
                  <c:v>163.86999499999999</c:v>
                </c:pt>
                <c:pt idx="603">
                  <c:v>163.729996</c:v>
                </c:pt>
                <c:pt idx="604">
                  <c:v>163.229996</c:v>
                </c:pt>
                <c:pt idx="605">
                  <c:v>162.740005</c:v>
                </c:pt>
                <c:pt idx="606">
                  <c:v>161.91999799999999</c:v>
                </c:pt>
                <c:pt idx="607">
                  <c:v>162.58000200000001</c:v>
                </c:pt>
                <c:pt idx="608">
                  <c:v>164.83999600000001</c:v>
                </c:pt>
                <c:pt idx="609">
                  <c:v>161.550003</c:v>
                </c:pt>
                <c:pt idx="610">
                  <c:v>161.96000699999999</c:v>
                </c:pt>
                <c:pt idx="611">
                  <c:v>159.570007</c:v>
                </c:pt>
                <c:pt idx="612">
                  <c:v>157.320007</c:v>
                </c:pt>
                <c:pt idx="613">
                  <c:v>155.25</c:v>
                </c:pt>
                <c:pt idx="614">
                  <c:v>157.41000399999999</c:v>
                </c:pt>
                <c:pt idx="615">
                  <c:v>160.520004</c:v>
                </c:pt>
                <c:pt idx="616">
                  <c:v>163.25</c:v>
                </c:pt>
                <c:pt idx="617">
                  <c:v>164.279999</c:v>
                </c:pt>
                <c:pt idx="618">
                  <c:v>161.720001</c:v>
                </c:pt>
                <c:pt idx="619">
                  <c:v>161.71000699999999</c:v>
                </c:pt>
                <c:pt idx="620">
                  <c:v>165.050003</c:v>
                </c:pt>
                <c:pt idx="621">
                  <c:v>162.61999499999999</c:v>
                </c:pt>
                <c:pt idx="622">
                  <c:v>157.39999399999999</c:v>
                </c:pt>
                <c:pt idx="623">
                  <c:v>158.80999800000001</c:v>
                </c:pt>
                <c:pt idx="624">
                  <c:v>154.029999</c:v>
                </c:pt>
                <c:pt idx="625">
                  <c:v>156.63000500000001</c:v>
                </c:pt>
                <c:pt idx="626">
                  <c:v>159</c:v>
                </c:pt>
                <c:pt idx="627">
                  <c:v>160.33000200000001</c:v>
                </c:pt>
                <c:pt idx="628">
                  <c:v>159.679993</c:v>
                </c:pt>
                <c:pt idx="629">
                  <c:v>157.66000399999999</c:v>
                </c:pt>
                <c:pt idx="630">
                  <c:v>159.479996</c:v>
                </c:pt>
                <c:pt idx="631">
                  <c:v>156.30999800000001</c:v>
                </c:pt>
                <c:pt idx="632">
                  <c:v>157.449997</c:v>
                </c:pt>
                <c:pt idx="633">
                  <c:v>159.479996</c:v>
                </c:pt>
                <c:pt idx="634">
                  <c:v>160</c:v>
                </c:pt>
                <c:pt idx="635">
                  <c:v>160.179993</c:v>
                </c:pt>
                <c:pt idx="636">
                  <c:v>157.509995</c:v>
                </c:pt>
                <c:pt idx="637">
                  <c:v>158.96000699999999</c:v>
                </c:pt>
                <c:pt idx="638">
                  <c:v>155.61999499999999</c:v>
                </c:pt>
                <c:pt idx="639">
                  <c:v>158.320007</c:v>
                </c:pt>
                <c:pt idx="640">
                  <c:v>157.86999499999999</c:v>
                </c:pt>
                <c:pt idx="641">
                  <c:v>159</c:v>
                </c:pt>
                <c:pt idx="642">
                  <c:v>161.929993</c:v>
                </c:pt>
                <c:pt idx="643">
                  <c:v>163.550003</c:v>
                </c:pt>
                <c:pt idx="644">
                  <c:v>162.070007</c:v>
                </c:pt>
                <c:pt idx="645">
                  <c:v>163.509995</c:v>
                </c:pt>
                <c:pt idx="646">
                  <c:v>167.05999800000001</c:v>
                </c:pt>
                <c:pt idx="647">
                  <c:v>166.570007</c:v>
                </c:pt>
                <c:pt idx="648">
                  <c:v>165.61000100000001</c:v>
                </c:pt>
                <c:pt idx="649">
                  <c:v>164.94000199999999</c:v>
                </c:pt>
                <c:pt idx="650">
                  <c:v>167.429993</c:v>
                </c:pt>
                <c:pt idx="651">
                  <c:v>169.19000199999999</c:v>
                </c:pt>
                <c:pt idx="652">
                  <c:v>169.88000500000001</c:v>
                </c:pt>
                <c:pt idx="653">
                  <c:v>167.88999899999999</c:v>
                </c:pt>
                <c:pt idx="654">
                  <c:v>168.38999899999999</c:v>
                </c:pt>
                <c:pt idx="655">
                  <c:v>167.179993</c:v>
                </c:pt>
                <c:pt idx="656">
                  <c:v>165.970001</c:v>
                </c:pt>
                <c:pt idx="657">
                  <c:v>164.46000699999999</c:v>
                </c:pt>
                <c:pt idx="658">
                  <c:v>165.21000699999999</c:v>
                </c:pt>
                <c:pt idx="659">
                  <c:v>165.16999799999999</c:v>
                </c:pt>
                <c:pt idx="660">
                  <c:v>163.63000500000001</c:v>
                </c:pt>
                <c:pt idx="661">
                  <c:v>166.259995</c:v>
                </c:pt>
                <c:pt idx="662">
                  <c:v>166.529999</c:v>
                </c:pt>
                <c:pt idx="663">
                  <c:v>169.179993</c:v>
                </c:pt>
                <c:pt idx="664">
                  <c:v>164.13999899999999</c:v>
                </c:pt>
                <c:pt idx="665">
                  <c:v>161.509995</c:v>
                </c:pt>
                <c:pt idx="666">
                  <c:v>160.279999</c:v>
                </c:pt>
                <c:pt idx="667">
                  <c:v>164.070007</c:v>
                </c:pt>
                <c:pt idx="668">
                  <c:v>164.490005</c:v>
                </c:pt>
                <c:pt idx="669">
                  <c:v>165</c:v>
                </c:pt>
                <c:pt idx="670">
                  <c:v>165.720001</c:v>
                </c:pt>
                <c:pt idx="671">
                  <c:v>167.979996</c:v>
                </c:pt>
                <c:pt idx="672">
                  <c:v>169.41000399999999</c:v>
                </c:pt>
                <c:pt idx="673">
                  <c:v>168.770004</c:v>
                </c:pt>
                <c:pt idx="674">
                  <c:v>166.740005</c:v>
                </c:pt>
                <c:pt idx="675">
                  <c:v>165.509995</c:v>
                </c:pt>
                <c:pt idx="676">
                  <c:v>174.83000200000001</c:v>
                </c:pt>
                <c:pt idx="677">
                  <c:v>173.300003</c:v>
                </c:pt>
                <c:pt idx="678">
                  <c:v>174.529999</c:v>
                </c:pt>
                <c:pt idx="679">
                  <c:v>176.979996</c:v>
                </c:pt>
                <c:pt idx="680">
                  <c:v>176.720001</c:v>
                </c:pt>
                <c:pt idx="681">
                  <c:v>175.16999799999999</c:v>
                </c:pt>
                <c:pt idx="682">
                  <c:v>175.89999399999999</c:v>
                </c:pt>
                <c:pt idx="683">
                  <c:v>175.270004</c:v>
                </c:pt>
                <c:pt idx="684">
                  <c:v>176.41000399999999</c:v>
                </c:pt>
                <c:pt idx="685">
                  <c:v>176.220001</c:v>
                </c:pt>
                <c:pt idx="686">
                  <c:v>176.300003</c:v>
                </c:pt>
                <c:pt idx="687">
                  <c:v>178.779999</c:v>
                </c:pt>
                <c:pt idx="688">
                  <c:v>178.509995</c:v>
                </c:pt>
                <c:pt idx="689">
                  <c:v>178.470001</c:v>
                </c:pt>
                <c:pt idx="690">
                  <c:v>178.699997</c:v>
                </c:pt>
                <c:pt idx="691">
                  <c:v>177.38999899999999</c:v>
                </c:pt>
                <c:pt idx="692">
                  <c:v>177.770004</c:v>
                </c:pt>
                <c:pt idx="693">
                  <c:v>177.08000200000001</c:v>
                </c:pt>
                <c:pt idx="694">
                  <c:v>177.520004</c:v>
                </c:pt>
                <c:pt idx="695">
                  <c:v>178.39999399999999</c:v>
                </c:pt>
                <c:pt idx="696">
                  <c:v>177.800003</c:v>
                </c:pt>
                <c:pt idx="697">
                  <c:v>179.61999499999999</c:v>
                </c:pt>
                <c:pt idx="698">
                  <c:v>179.94000199999999</c:v>
                </c:pt>
                <c:pt idx="699">
                  <c:v>178.30999800000001</c:v>
                </c:pt>
                <c:pt idx="700">
                  <c:v>177.71000699999999</c:v>
                </c:pt>
                <c:pt idx="701">
                  <c:v>177.41000399999999</c:v>
                </c:pt>
                <c:pt idx="702">
                  <c:v>177.679993</c:v>
                </c:pt>
                <c:pt idx="703">
                  <c:v>178.520004</c:v>
                </c:pt>
                <c:pt idx="704">
                  <c:v>179.759995</c:v>
                </c:pt>
                <c:pt idx="705">
                  <c:v>179.96000699999999</c:v>
                </c:pt>
                <c:pt idx="706">
                  <c:v>177.970001</c:v>
                </c:pt>
                <c:pt idx="707">
                  <c:v>176.25</c:v>
                </c:pt>
                <c:pt idx="708">
                  <c:v>176.96000699999999</c:v>
                </c:pt>
                <c:pt idx="709">
                  <c:v>178.33999600000001</c:v>
                </c:pt>
                <c:pt idx="710">
                  <c:v>179.779999</c:v>
                </c:pt>
                <c:pt idx="711">
                  <c:v>181.679993</c:v>
                </c:pt>
                <c:pt idx="712">
                  <c:v>180.070007</c:v>
                </c:pt>
                <c:pt idx="713">
                  <c:v>178.770004</c:v>
                </c:pt>
                <c:pt idx="714">
                  <c:v>179.44000199999999</c:v>
                </c:pt>
                <c:pt idx="715">
                  <c:v>180.75</c:v>
                </c:pt>
                <c:pt idx="716">
                  <c:v>178.770004</c:v>
                </c:pt>
                <c:pt idx="717">
                  <c:v>179.240005</c:v>
                </c:pt>
                <c:pt idx="718">
                  <c:v>180.509995</c:v>
                </c:pt>
                <c:pt idx="719">
                  <c:v>178.220001</c:v>
                </c:pt>
                <c:pt idx="720">
                  <c:v>178.91000399999999</c:v>
                </c:pt>
                <c:pt idx="721">
                  <c:v>179.94000199999999</c:v>
                </c:pt>
                <c:pt idx="722">
                  <c:v>181.75</c:v>
                </c:pt>
                <c:pt idx="723">
                  <c:v>181.83999600000001</c:v>
                </c:pt>
                <c:pt idx="724">
                  <c:v>181.94000199999999</c:v>
                </c:pt>
                <c:pt idx="725">
                  <c:v>180.729996</c:v>
                </c:pt>
                <c:pt idx="726">
                  <c:v>180.61000100000001</c:v>
                </c:pt>
                <c:pt idx="727">
                  <c:v>180.14999399999999</c:v>
                </c:pt>
                <c:pt idx="728">
                  <c:v>179.30999800000001</c:v>
                </c:pt>
                <c:pt idx="729">
                  <c:v>179.28999300000001</c:v>
                </c:pt>
                <c:pt idx="730">
                  <c:v>178.5</c:v>
                </c:pt>
                <c:pt idx="731">
                  <c:v>176.21000699999999</c:v>
                </c:pt>
                <c:pt idx="732">
                  <c:v>175.10000600000001</c:v>
                </c:pt>
                <c:pt idx="733">
                  <c:v>175.800003</c:v>
                </c:pt>
                <c:pt idx="734">
                  <c:v>175.11999499999999</c:v>
                </c:pt>
                <c:pt idx="735">
                  <c:v>176.33000200000001</c:v>
                </c:pt>
                <c:pt idx="736">
                  <c:v>176.550003</c:v>
                </c:pt>
                <c:pt idx="737">
                  <c:v>175.41000399999999</c:v>
                </c:pt>
                <c:pt idx="738">
                  <c:v>176</c:v>
                </c:pt>
                <c:pt idx="739">
                  <c:v>175.13000500000001</c:v>
                </c:pt>
                <c:pt idx="740">
                  <c:v>176.699997</c:v>
                </c:pt>
                <c:pt idx="741">
                  <c:v>177.30999800000001</c:v>
                </c:pt>
                <c:pt idx="742">
                  <c:v>178.490005</c:v>
                </c:pt>
                <c:pt idx="743">
                  <c:v>178.08999600000001</c:v>
                </c:pt>
                <c:pt idx="744">
                  <c:v>177.28999300000001</c:v>
                </c:pt>
                <c:pt idx="745">
                  <c:v>178.83000200000001</c:v>
                </c:pt>
                <c:pt idx="746">
                  <c:v>179.10000600000001</c:v>
                </c:pt>
                <c:pt idx="747">
                  <c:v>177.83000200000001</c:v>
                </c:pt>
                <c:pt idx="748">
                  <c:v>173.91999799999999</c:v>
                </c:pt>
                <c:pt idx="749">
                  <c:v>175.300003</c:v>
                </c:pt>
                <c:pt idx="750">
                  <c:v>175.80999800000001</c:v>
                </c:pt>
                <c:pt idx="751">
                  <c:v>178.64999399999999</c:v>
                </c:pt>
                <c:pt idx="752">
                  <c:v>175.75</c:v>
                </c:pt>
                <c:pt idx="753">
                  <c:v>172.770004</c:v>
                </c:pt>
                <c:pt idx="754">
                  <c:v>171.28999300000001</c:v>
                </c:pt>
                <c:pt idx="755">
                  <c:v>173.38000500000001</c:v>
                </c:pt>
                <c:pt idx="756">
                  <c:v>174.520004</c:v>
                </c:pt>
                <c:pt idx="757">
                  <c:v>174.199997</c:v>
                </c:pt>
                <c:pt idx="758">
                  <c:v>172.320007</c:v>
                </c:pt>
                <c:pt idx="759">
                  <c:v>170.55999800000001</c:v>
                </c:pt>
                <c:pt idx="760">
                  <c:v>169.949997</c:v>
                </c:pt>
                <c:pt idx="761">
                  <c:v>170.529999</c:v>
                </c:pt>
                <c:pt idx="762">
                  <c:v>168.470001</c:v>
                </c:pt>
                <c:pt idx="763">
                  <c:v>165.61999499999999</c:v>
                </c:pt>
                <c:pt idx="764">
                  <c:v>160.78999300000001</c:v>
                </c:pt>
                <c:pt idx="765">
                  <c:v>162.5</c:v>
                </c:pt>
                <c:pt idx="766">
                  <c:v>160.80999800000001</c:v>
                </c:pt>
                <c:pt idx="767">
                  <c:v>156.979996</c:v>
                </c:pt>
                <c:pt idx="768">
                  <c:v>164.300003</c:v>
                </c:pt>
                <c:pt idx="769">
                  <c:v>164.41999799999999</c:v>
                </c:pt>
                <c:pt idx="770">
                  <c:v>177.699997</c:v>
                </c:pt>
                <c:pt idx="771">
                  <c:v>180.13000500000001</c:v>
                </c:pt>
                <c:pt idx="772">
                  <c:v>181.029999</c:v>
                </c:pt>
                <c:pt idx="773">
                  <c:v>182.86000100000001</c:v>
                </c:pt>
                <c:pt idx="774">
                  <c:v>172</c:v>
                </c:pt>
                <c:pt idx="775">
                  <c:v>164.88999899999999</c:v>
                </c:pt>
                <c:pt idx="776">
                  <c:v>153.949997</c:v>
                </c:pt>
                <c:pt idx="777">
                  <c:v>162.58000200000001</c:v>
                </c:pt>
                <c:pt idx="778">
                  <c:v>155.66000399999999</c:v>
                </c:pt>
                <c:pt idx="779">
                  <c:v>161.759995</c:v>
                </c:pt>
                <c:pt idx="780">
                  <c:v>159.61000100000001</c:v>
                </c:pt>
                <c:pt idx="781">
                  <c:v>162.479996</c:v>
                </c:pt>
                <c:pt idx="782">
                  <c:v>145.71000699999999</c:v>
                </c:pt>
                <c:pt idx="783">
                  <c:v>138.41999799999999</c:v>
                </c:pt>
                <c:pt idx="784">
                  <c:v>141.259995</c:v>
                </c:pt>
                <c:pt idx="785">
                  <c:v>141.490005</c:v>
                </c:pt>
                <c:pt idx="786">
                  <c:v>149.86999499999999</c:v>
                </c:pt>
                <c:pt idx="787">
                  <c:v>148.199997</c:v>
                </c:pt>
                <c:pt idx="788">
                  <c:v>155.820007</c:v>
                </c:pt>
                <c:pt idx="789">
                  <c:v>158.029999</c:v>
                </c:pt>
                <c:pt idx="790">
                  <c:v>157.970001</c:v>
                </c:pt>
                <c:pt idx="791">
                  <c:v>158.179993</c:v>
                </c:pt>
                <c:pt idx="792">
                  <c:v>147.320007</c:v>
                </c:pt>
                <c:pt idx="793">
                  <c:v>153.509995</c:v>
                </c:pt>
                <c:pt idx="794">
                  <c:v>151.35000600000001</c:v>
                </c:pt>
                <c:pt idx="795">
                  <c:v>157.36000100000001</c:v>
                </c:pt>
                <c:pt idx="796">
                  <c:v>161.479996</c:v>
                </c:pt>
                <c:pt idx="797">
                  <c:v>154</c:v>
                </c:pt>
                <c:pt idx="798">
                  <c:v>154.86999499999999</c:v>
                </c:pt>
                <c:pt idx="799">
                  <c:v>156.53999300000001</c:v>
                </c:pt>
                <c:pt idx="800">
                  <c:v>152.550003</c:v>
                </c:pt>
                <c:pt idx="801">
                  <c:v>154.259995</c:v>
                </c:pt>
                <c:pt idx="802">
                  <c:v>147.770004</c:v>
                </c:pt>
                <c:pt idx="803">
                  <c:v>145.449997</c:v>
                </c:pt>
                <c:pt idx="804">
                  <c:v>149.179993</c:v>
                </c:pt>
                <c:pt idx="805">
                  <c:v>151.509995</c:v>
                </c:pt>
                <c:pt idx="806">
                  <c:v>160.5</c:v>
                </c:pt>
                <c:pt idx="807">
                  <c:v>161.91000399999999</c:v>
                </c:pt>
                <c:pt idx="808">
                  <c:v>164.75</c:v>
                </c:pt>
                <c:pt idx="809">
                  <c:v>163.25</c:v>
                </c:pt>
                <c:pt idx="810">
                  <c:v>160.990005</c:v>
                </c:pt>
                <c:pt idx="811">
                  <c:v>159.529999</c:v>
                </c:pt>
                <c:pt idx="812">
                  <c:v>157.05999800000001</c:v>
                </c:pt>
                <c:pt idx="813">
                  <c:v>163.020004</c:v>
                </c:pt>
                <c:pt idx="814">
                  <c:v>161.94000199999999</c:v>
                </c:pt>
                <c:pt idx="815">
                  <c:v>159.929993</c:v>
                </c:pt>
                <c:pt idx="816">
                  <c:v>162.520004</c:v>
                </c:pt>
                <c:pt idx="817">
                  <c:v>163.91999799999999</c:v>
                </c:pt>
                <c:pt idx="818">
                  <c:v>157.60000600000001</c:v>
                </c:pt>
                <c:pt idx="819">
                  <c:v>154.16999799999999</c:v>
                </c:pt>
                <c:pt idx="820">
                  <c:v>155.479996</c:v>
                </c:pt>
                <c:pt idx="821">
                  <c:v>158.13000500000001</c:v>
                </c:pt>
                <c:pt idx="822">
                  <c:v>162.94000199999999</c:v>
                </c:pt>
                <c:pt idx="823">
                  <c:v>160.61000100000001</c:v>
                </c:pt>
                <c:pt idx="824">
                  <c:v>165.14999399999999</c:v>
                </c:pt>
                <c:pt idx="825">
                  <c:v>165.71000699999999</c:v>
                </c:pt>
                <c:pt idx="826">
                  <c:v>165.729996</c:v>
                </c:pt>
                <c:pt idx="827">
                  <c:v>170.470001</c:v>
                </c:pt>
                <c:pt idx="828">
                  <c:v>174.509995</c:v>
                </c:pt>
                <c:pt idx="829">
                  <c:v>176.66999799999999</c:v>
                </c:pt>
                <c:pt idx="830">
                  <c:v>177.91000399999999</c:v>
                </c:pt>
                <c:pt idx="831">
                  <c:v>175.070007</c:v>
                </c:pt>
                <c:pt idx="832">
                  <c:v>177.69000199999999</c:v>
                </c:pt>
                <c:pt idx="833">
                  <c:v>178.91999799999999</c:v>
                </c:pt>
                <c:pt idx="834">
                  <c:v>178.08000200000001</c:v>
                </c:pt>
                <c:pt idx="835">
                  <c:v>177.36000100000001</c:v>
                </c:pt>
                <c:pt idx="836">
                  <c:v>178.490005</c:v>
                </c:pt>
                <c:pt idx="837">
                  <c:v>181.55999800000001</c:v>
                </c:pt>
                <c:pt idx="838">
                  <c:v>180.91999799999999</c:v>
                </c:pt>
                <c:pt idx="839">
                  <c:v>174.96000699999999</c:v>
                </c:pt>
                <c:pt idx="840">
                  <c:v>172.529999</c:v>
                </c:pt>
                <c:pt idx="841">
                  <c:v>177.279999</c:v>
                </c:pt>
                <c:pt idx="842">
                  <c:v>180.91000399999999</c:v>
                </c:pt>
                <c:pt idx="843">
                  <c:v>180.33999600000001</c:v>
                </c:pt>
                <c:pt idx="844">
                  <c:v>179.050003</c:v>
                </c:pt>
                <c:pt idx="845">
                  <c:v>178.30999800000001</c:v>
                </c:pt>
                <c:pt idx="846">
                  <c:v>175.75</c:v>
                </c:pt>
                <c:pt idx="847">
                  <c:v>174.19000199999999</c:v>
                </c:pt>
                <c:pt idx="848">
                  <c:v>170.55999800000001</c:v>
                </c:pt>
                <c:pt idx="849">
                  <c:v>171.11999499999999</c:v>
                </c:pt>
                <c:pt idx="850">
                  <c:v>173.19000199999999</c:v>
                </c:pt>
                <c:pt idx="851">
                  <c:v>174.270004</c:v>
                </c:pt>
                <c:pt idx="852">
                  <c:v>177.699997</c:v>
                </c:pt>
                <c:pt idx="853">
                  <c:v>177.970001</c:v>
                </c:pt>
                <c:pt idx="854">
                  <c:v>179.69000199999999</c:v>
                </c:pt>
                <c:pt idx="855">
                  <c:v>180.69000199999999</c:v>
                </c:pt>
                <c:pt idx="856">
                  <c:v>182.770004</c:v>
                </c:pt>
                <c:pt idx="857">
                  <c:v>184.08000200000001</c:v>
                </c:pt>
                <c:pt idx="858">
                  <c:v>185.28999300000001</c:v>
                </c:pt>
                <c:pt idx="859">
                  <c:v>184.08999600000001</c:v>
                </c:pt>
                <c:pt idx="860">
                  <c:v>185.020004</c:v>
                </c:pt>
                <c:pt idx="861">
                  <c:v>190.21000699999999</c:v>
                </c:pt>
                <c:pt idx="862">
                  <c:v>191.33999600000001</c:v>
                </c:pt>
                <c:pt idx="863">
                  <c:v>193.35000600000001</c:v>
                </c:pt>
                <c:pt idx="864">
                  <c:v>193.979996</c:v>
                </c:pt>
                <c:pt idx="865">
                  <c:v>194.33999600000001</c:v>
                </c:pt>
                <c:pt idx="866">
                  <c:v>196.009995</c:v>
                </c:pt>
                <c:pt idx="867">
                  <c:v>197.240005</c:v>
                </c:pt>
                <c:pt idx="868">
                  <c:v>230</c:v>
                </c:pt>
                <c:pt idx="869">
                  <c:v>227.320007</c:v>
                </c:pt>
                <c:pt idx="870">
                  <c:v>228.55999800000001</c:v>
                </c:pt>
                <c:pt idx="871">
                  <c:v>226.41000399999999</c:v>
                </c:pt>
                <c:pt idx="872">
                  <c:v>234.58999600000001</c:v>
                </c:pt>
                <c:pt idx="873">
                  <c:v>234.449997</c:v>
                </c:pt>
                <c:pt idx="874">
                  <c:v>236.070007</c:v>
                </c:pt>
                <c:pt idx="875">
                  <c:v>237.449997</c:v>
                </c:pt>
                <c:pt idx="876">
                  <c:v>233.38999899999999</c:v>
                </c:pt>
                <c:pt idx="877">
                  <c:v>237.070007</c:v>
                </c:pt>
                <c:pt idx="878">
                  <c:v>233.58000200000001</c:v>
                </c:pt>
                <c:pt idx="879">
                  <c:v>237.529999</c:v>
                </c:pt>
                <c:pt idx="880">
                  <c:v>239.229996</c:v>
                </c:pt>
                <c:pt idx="881">
                  <c:v>236.979996</c:v>
                </c:pt>
                <c:pt idx="882">
                  <c:v>238.86000100000001</c:v>
                </c:pt>
                <c:pt idx="883">
                  <c:v>239.270004</c:v>
                </c:pt>
                <c:pt idx="884">
                  <c:v>238.16999799999999</c:v>
                </c:pt>
                <c:pt idx="885">
                  <c:v>242.800003</c:v>
                </c:pt>
                <c:pt idx="886">
                  <c:v>241.03999300000001</c:v>
                </c:pt>
                <c:pt idx="887">
                  <c:v>240.53999300000001</c:v>
                </c:pt>
                <c:pt idx="888">
                  <c:v>240.60000600000001</c:v>
                </c:pt>
                <c:pt idx="889">
                  <c:v>240.36000100000001</c:v>
                </c:pt>
                <c:pt idx="890">
                  <c:v>243.35000600000001</c:v>
                </c:pt>
                <c:pt idx="891">
                  <c:v>244.220001</c:v>
                </c:pt>
                <c:pt idx="892">
                  <c:v>245.14999399999999</c:v>
                </c:pt>
                <c:pt idx="893">
                  <c:v>244.070007</c:v>
                </c:pt>
                <c:pt idx="894">
                  <c:v>246.35000600000001</c:v>
                </c:pt>
                <c:pt idx="895">
                  <c:v>244.990005</c:v>
                </c:pt>
                <c:pt idx="896">
                  <c:v>247.529999</c:v>
                </c:pt>
                <c:pt idx="897">
                  <c:v>248.64999399999999</c:v>
                </c:pt>
                <c:pt idx="898">
                  <c:v>240.61000100000001</c:v>
                </c:pt>
                <c:pt idx="899">
                  <c:v>238.30999800000001</c:v>
                </c:pt>
                <c:pt idx="900">
                  <c:v>231.21000699999999</c:v>
                </c:pt>
                <c:pt idx="901">
                  <c:v>236.86999499999999</c:v>
                </c:pt>
                <c:pt idx="902">
                  <c:v>232.33999600000001</c:v>
                </c:pt>
                <c:pt idx="903">
                  <c:v>233.75</c:v>
                </c:pt>
                <c:pt idx="904">
                  <c:v>237.509995</c:v>
                </c:pt>
                <c:pt idx="905">
                  <c:v>236.25</c:v>
                </c:pt>
                <c:pt idx="906">
                  <c:v>235.03999300000001</c:v>
                </c:pt>
                <c:pt idx="907">
                  <c:v>237.220001</c:v>
                </c:pt>
                <c:pt idx="908">
                  <c:v>234.5</c:v>
                </c:pt>
                <c:pt idx="909">
                  <c:v>230.28999300000001</c:v>
                </c:pt>
                <c:pt idx="910">
                  <c:v>231.699997</c:v>
                </c:pt>
                <c:pt idx="911">
                  <c:v>229.320007</c:v>
                </c:pt>
                <c:pt idx="912">
                  <c:v>229.490005</c:v>
                </c:pt>
                <c:pt idx="913">
                  <c:v>229.44000199999999</c:v>
                </c:pt>
                <c:pt idx="914">
                  <c:v>233.490005</c:v>
                </c:pt>
                <c:pt idx="915">
                  <c:v>232.38000500000001</c:v>
                </c:pt>
                <c:pt idx="916">
                  <c:v>232.88999899999999</c:v>
                </c:pt>
                <c:pt idx="917">
                  <c:v>232.08000200000001</c:v>
                </c:pt>
                <c:pt idx="918">
                  <c:v>230.970001</c:v>
                </c:pt>
                <c:pt idx="919">
                  <c:v>233.720001</c:v>
                </c:pt>
                <c:pt idx="920">
                  <c:v>232.41000399999999</c:v>
                </c:pt>
                <c:pt idx="921">
                  <c:v>236.80999800000001</c:v>
                </c:pt>
                <c:pt idx="922">
                  <c:v>236.479996</c:v>
                </c:pt>
                <c:pt idx="923">
                  <c:v>237.14999399999999</c:v>
                </c:pt>
                <c:pt idx="924">
                  <c:v>238.83000200000001</c:v>
                </c:pt>
                <c:pt idx="925">
                  <c:v>236.96000699999999</c:v>
                </c:pt>
                <c:pt idx="926">
                  <c:v>237.96000699999999</c:v>
                </c:pt>
                <c:pt idx="927">
                  <c:v>239.16000399999999</c:v>
                </c:pt>
                <c:pt idx="928">
                  <c:v>239.83999600000001</c:v>
                </c:pt>
                <c:pt idx="929">
                  <c:v>232.220001</c:v>
                </c:pt>
                <c:pt idx="930">
                  <c:v>229.89999399999999</c:v>
                </c:pt>
                <c:pt idx="931">
                  <c:v>227.570007</c:v>
                </c:pt>
                <c:pt idx="932">
                  <c:v>227.970001</c:v>
                </c:pt>
                <c:pt idx="933">
                  <c:v>235.41999799999999</c:v>
                </c:pt>
                <c:pt idx="934">
                  <c:v>227.820007</c:v>
                </c:pt>
                <c:pt idx="935">
                  <c:v>227.020004</c:v>
                </c:pt>
                <c:pt idx="936">
                  <c:v>225.11000100000001</c:v>
                </c:pt>
                <c:pt idx="937">
                  <c:v>226.470001</c:v>
                </c:pt>
                <c:pt idx="938">
                  <c:v>224.13999899999999</c:v>
                </c:pt>
                <c:pt idx="939">
                  <c:v>228.929993</c:v>
                </c:pt>
                <c:pt idx="940">
                  <c:v>233.63999899999999</c:v>
                </c:pt>
                <c:pt idx="941">
                  <c:v>234.08000200000001</c:v>
                </c:pt>
                <c:pt idx="942">
                  <c:v>234.759995</c:v>
                </c:pt>
                <c:pt idx="943">
                  <c:v>242.03999300000001</c:v>
                </c:pt>
                <c:pt idx="944">
                  <c:v>223.78999300000001</c:v>
                </c:pt>
                <c:pt idx="945">
                  <c:v>228.679993</c:v>
                </c:pt>
                <c:pt idx="946">
                  <c:v>233.14999399999999</c:v>
                </c:pt>
                <c:pt idx="947">
                  <c:v>234.13999899999999</c:v>
                </c:pt>
                <c:pt idx="948">
                  <c:v>231.41000399999999</c:v>
                </c:pt>
                <c:pt idx="949">
                  <c:v>235.80999800000001</c:v>
                </c:pt>
                <c:pt idx="950">
                  <c:v>232.740005</c:v>
                </c:pt>
                <c:pt idx="951">
                  <c:v>232.36999499999999</c:v>
                </c:pt>
                <c:pt idx="952">
                  <c:v>234.66999799999999</c:v>
                </c:pt>
                <c:pt idx="953">
                  <c:v>232.14999399999999</c:v>
                </c:pt>
                <c:pt idx="954">
                  <c:v>235.770004</c:v>
                </c:pt>
                <c:pt idx="955">
                  <c:v>227.570007</c:v>
                </c:pt>
                <c:pt idx="956">
                  <c:v>223.75</c:v>
                </c:pt>
                <c:pt idx="957">
                  <c:v>223.08999600000001</c:v>
                </c:pt>
                <c:pt idx="958">
                  <c:v>227.36000100000001</c:v>
                </c:pt>
                <c:pt idx="959">
                  <c:v>226.21000699999999</c:v>
                </c:pt>
                <c:pt idx="960">
                  <c:v>221.529999</c:v>
                </c:pt>
                <c:pt idx="961">
                  <c:v>217.979996</c:v>
                </c:pt>
                <c:pt idx="962">
                  <c:v>218.479996</c:v>
                </c:pt>
                <c:pt idx="963">
                  <c:v>220.08000200000001</c:v>
                </c:pt>
                <c:pt idx="964">
                  <c:v>223.10000600000001</c:v>
                </c:pt>
                <c:pt idx="965">
                  <c:v>222.429993</c:v>
                </c:pt>
                <c:pt idx="966">
                  <c:v>217.96000699999999</c:v>
                </c:pt>
                <c:pt idx="967">
                  <c:v>219.66000399999999</c:v>
                </c:pt>
                <c:pt idx="968">
                  <c:v>219.75</c:v>
                </c:pt>
                <c:pt idx="969">
                  <c:v>224.520004</c:v>
                </c:pt>
                <c:pt idx="970">
                  <c:v>226.71000699999999</c:v>
                </c:pt>
                <c:pt idx="971">
                  <c:v>232.91999799999999</c:v>
                </c:pt>
                <c:pt idx="972">
                  <c:v>228.449997</c:v>
                </c:pt>
                <c:pt idx="973">
                  <c:v>230.30999800000001</c:v>
                </c:pt>
                <c:pt idx="974">
                  <c:v>232.949997</c:v>
                </c:pt>
                <c:pt idx="975">
                  <c:v>235.029999</c:v>
                </c:pt>
                <c:pt idx="976">
                  <c:v>234.19000199999999</c:v>
                </c:pt>
                <c:pt idx="977">
                  <c:v>229.970001</c:v>
                </c:pt>
                <c:pt idx="978">
                  <c:v>227.529999</c:v>
                </c:pt>
                <c:pt idx="979">
                  <c:v>227.83999600000001</c:v>
                </c:pt>
                <c:pt idx="980">
                  <c:v>226.550003</c:v>
                </c:pt>
                <c:pt idx="981">
                  <c:v>225.53999300000001</c:v>
                </c:pt>
                <c:pt idx="982">
                  <c:v>227.699997</c:v>
                </c:pt>
                <c:pt idx="983">
                  <c:v>236.070007</c:v>
                </c:pt>
                <c:pt idx="984">
                  <c:v>245.800003</c:v>
                </c:pt>
                <c:pt idx="985">
                  <c:v>242.88999899999999</c:v>
                </c:pt>
                <c:pt idx="986">
                  <c:v>239.13999899999999</c:v>
                </c:pt>
                <c:pt idx="987">
                  <c:v>239.64999399999999</c:v>
                </c:pt>
                <c:pt idx="988">
                  <c:v>235.36999499999999</c:v>
                </c:pt>
                <c:pt idx="989">
                  <c:v>232.88000500000001</c:v>
                </c:pt>
                <c:pt idx="990">
                  <c:v>236.979996</c:v>
                </c:pt>
                <c:pt idx="991">
                  <c:v>243.449997</c:v>
                </c:pt>
                <c:pt idx="992">
                  <c:v>249.199997</c:v>
                </c:pt>
                <c:pt idx="993">
                  <c:v>245.570007</c:v>
                </c:pt>
                <c:pt idx="994">
                  <c:v>252.58000200000001</c:v>
                </c:pt>
                <c:pt idx="995">
                  <c:v>257.07998700000002</c:v>
                </c:pt>
                <c:pt idx="996">
                  <c:v>248.33000200000001</c:v>
                </c:pt>
                <c:pt idx="997">
                  <c:v>260</c:v>
                </c:pt>
                <c:pt idx="998">
                  <c:v>250.91999799999999</c:v>
                </c:pt>
                <c:pt idx="999">
                  <c:v>238.490005</c:v>
                </c:pt>
                <c:pt idx="1000">
                  <c:v>244.41999799999999</c:v>
                </c:pt>
                <c:pt idx="1001">
                  <c:v>244.279999</c:v>
                </c:pt>
                <c:pt idx="1002">
                  <c:v>244.75</c:v>
                </c:pt>
                <c:pt idx="1003">
                  <c:v>243.020004</c:v>
                </c:pt>
                <c:pt idx="1004">
                  <c:v>242.229996</c:v>
                </c:pt>
                <c:pt idx="1005">
                  <c:v>254.35000600000001</c:v>
                </c:pt>
                <c:pt idx="1006">
                  <c:v>253.25</c:v>
                </c:pt>
                <c:pt idx="1007">
                  <c:v>251.69000199999999</c:v>
                </c:pt>
                <c:pt idx="1008">
                  <c:v>249.220001</c:v>
                </c:pt>
                <c:pt idx="1009">
                  <c:v>248.16000399999999</c:v>
                </c:pt>
                <c:pt idx="1010">
                  <c:v>244.179993</c:v>
                </c:pt>
                <c:pt idx="1011">
                  <c:v>240.949997</c:v>
                </c:pt>
                <c:pt idx="1012">
                  <c:v>241.449997</c:v>
                </c:pt>
                <c:pt idx="1013">
                  <c:v>243.58000200000001</c:v>
                </c:pt>
                <c:pt idx="1014">
                  <c:v>244.220001</c:v>
                </c:pt>
                <c:pt idx="1015">
                  <c:v>246.25</c:v>
                </c:pt>
                <c:pt idx="1016">
                  <c:v>247.61000100000001</c:v>
                </c:pt>
                <c:pt idx="1017">
                  <c:v>246.39999399999999</c:v>
                </c:pt>
                <c:pt idx="1018">
                  <c:v>243.10000600000001</c:v>
                </c:pt>
                <c:pt idx="1019">
                  <c:v>250.83999600000001</c:v>
                </c:pt>
                <c:pt idx="1020">
                  <c:v>246.44000199999999</c:v>
                </c:pt>
                <c:pt idx="1021">
                  <c:v>240</c:v>
                </c:pt>
                <c:pt idx="1022">
                  <c:v>233.66000399999999</c:v>
                </c:pt>
                <c:pt idx="1023">
                  <c:v>239.66000399999999</c:v>
                </c:pt>
                <c:pt idx="1024">
                  <c:v>237.729996</c:v>
                </c:pt>
                <c:pt idx="1025">
                  <c:v>239.320007</c:v>
                </c:pt>
                <c:pt idx="1026">
                  <c:v>241.520004</c:v>
                </c:pt>
                <c:pt idx="1027">
                  <c:v>245.679993</c:v>
                </c:pt>
                <c:pt idx="1028">
                  <c:v>248.05999800000001</c:v>
                </c:pt>
                <c:pt idx="1029">
                  <c:v>255.490005</c:v>
                </c:pt>
                <c:pt idx="1030">
                  <c:v>255.36999499999999</c:v>
                </c:pt>
                <c:pt idx="1031">
                  <c:v>257.73998999999998</c:v>
                </c:pt>
                <c:pt idx="1032">
                  <c:v>257.35998499999999</c:v>
                </c:pt>
                <c:pt idx="1033">
                  <c:v>253.679993</c:v>
                </c:pt>
                <c:pt idx="1034">
                  <c:v>254.490005</c:v>
                </c:pt>
                <c:pt idx="1035">
                  <c:v>251.89999399999999</c:v>
                </c:pt>
                <c:pt idx="1036">
                  <c:v>254.66000399999999</c:v>
                </c:pt>
                <c:pt idx="1037">
                  <c:v>258.73998999999998</c:v>
                </c:pt>
                <c:pt idx="1038">
                  <c:v>259.91000400000001</c:v>
                </c:pt>
                <c:pt idx="1039">
                  <c:v>257.95001200000002</c:v>
                </c:pt>
                <c:pt idx="1040">
                  <c:v>260.22000100000002</c:v>
                </c:pt>
                <c:pt idx="1041">
                  <c:v>260.75</c:v>
                </c:pt>
                <c:pt idx="1042">
                  <c:v>267.22000100000002</c:v>
                </c:pt>
                <c:pt idx="1043">
                  <c:v>270.89001500000001</c:v>
                </c:pt>
                <c:pt idx="1044">
                  <c:v>271.27999899999998</c:v>
                </c:pt>
                <c:pt idx="1045">
                  <c:v>270.01998900000001</c:v>
                </c:pt>
                <c:pt idx="1046">
                  <c:v>271.41000400000001</c:v>
                </c:pt>
                <c:pt idx="1047">
                  <c:v>276.10000600000001</c:v>
                </c:pt>
                <c:pt idx="1048">
                  <c:v>279.88000499999998</c:v>
                </c:pt>
                <c:pt idx="1049">
                  <c:v>279.26998900000001</c:v>
                </c:pt>
                <c:pt idx="1050">
                  <c:v>276.89001500000001</c:v>
                </c:pt>
                <c:pt idx="1051">
                  <c:v>279.66000400000001</c:v>
                </c:pt>
                <c:pt idx="1052">
                  <c:v>283.67999300000002</c:v>
                </c:pt>
                <c:pt idx="1053">
                  <c:v>283.10998499999999</c:v>
                </c:pt>
                <c:pt idx="1054">
                  <c:v>282.33999599999999</c:v>
                </c:pt>
                <c:pt idx="1055">
                  <c:v>284.98001099999999</c:v>
                </c:pt>
                <c:pt idx="1056">
                  <c:v>291.14999399999999</c:v>
                </c:pt>
                <c:pt idx="1057">
                  <c:v>292.26998900000001</c:v>
                </c:pt>
                <c:pt idx="1058">
                  <c:v>291.290009</c:v>
                </c:pt>
                <c:pt idx="1059">
                  <c:v>294.88000499999998</c:v>
                </c:pt>
                <c:pt idx="1060">
                  <c:v>290.44000199999999</c:v>
                </c:pt>
                <c:pt idx="1061">
                  <c:v>297.88000499999998</c:v>
                </c:pt>
                <c:pt idx="1062">
                  <c:v>292.85998499999999</c:v>
                </c:pt>
                <c:pt idx="1063">
                  <c:v>295.459991</c:v>
                </c:pt>
                <c:pt idx="1064">
                  <c:v>297.14999399999999</c:v>
                </c:pt>
                <c:pt idx="1065">
                  <c:v>297.26001000000002</c:v>
                </c:pt>
                <c:pt idx="1066">
                  <c:v>294.32000699999998</c:v>
                </c:pt>
                <c:pt idx="1067">
                  <c:v>300.44000199999999</c:v>
                </c:pt>
                <c:pt idx="1068">
                  <c:v>305.42999300000002</c:v>
                </c:pt>
                <c:pt idx="1069">
                  <c:v>298.39001500000001</c:v>
                </c:pt>
                <c:pt idx="1070">
                  <c:v>287.72000100000002</c:v>
                </c:pt>
                <c:pt idx="1071">
                  <c:v>294.94000199999999</c:v>
                </c:pt>
                <c:pt idx="1072">
                  <c:v>297.91000400000001</c:v>
                </c:pt>
                <c:pt idx="1073">
                  <c:v>297.08999599999999</c:v>
                </c:pt>
                <c:pt idx="1074">
                  <c:v>288.69000199999999</c:v>
                </c:pt>
                <c:pt idx="1075">
                  <c:v>282.51998900000001</c:v>
                </c:pt>
                <c:pt idx="1076">
                  <c:v>284.32000699999998</c:v>
                </c:pt>
                <c:pt idx="1077">
                  <c:v>284.01001000000002</c:v>
                </c:pt>
                <c:pt idx="1078">
                  <c:v>285.83999599999999</c:v>
                </c:pt>
                <c:pt idx="1079">
                  <c:v>285.72000100000002</c:v>
                </c:pt>
                <c:pt idx="1080">
                  <c:v>288.57000699999998</c:v>
                </c:pt>
                <c:pt idx="1081">
                  <c:v>288.82000699999998</c:v>
                </c:pt>
                <c:pt idx="1082">
                  <c:v>291.39999399999999</c:v>
                </c:pt>
                <c:pt idx="1083">
                  <c:v>291.07998700000002</c:v>
                </c:pt>
                <c:pt idx="1084">
                  <c:v>287.92999300000002</c:v>
                </c:pt>
                <c:pt idx="1085">
                  <c:v>287.38000499999998</c:v>
                </c:pt>
                <c:pt idx="1086">
                  <c:v>288.26001000000002</c:v>
                </c:pt>
                <c:pt idx="1087">
                  <c:v>287.959991</c:v>
                </c:pt>
                <c:pt idx="1088">
                  <c:v>290.98001099999999</c:v>
                </c:pt>
                <c:pt idx="1089">
                  <c:v>288.83999599999999</c:v>
                </c:pt>
                <c:pt idx="1090">
                  <c:v>287.47000100000002</c:v>
                </c:pt>
                <c:pt idx="1091">
                  <c:v>285.72000100000002</c:v>
                </c:pt>
                <c:pt idx="1092">
                  <c:v>285.66000400000001</c:v>
                </c:pt>
                <c:pt idx="1093">
                  <c:v>286.26001000000002</c:v>
                </c:pt>
                <c:pt idx="1094">
                  <c:v>282.86999500000002</c:v>
                </c:pt>
                <c:pt idx="1095">
                  <c:v>278.72000100000002</c:v>
                </c:pt>
                <c:pt idx="1096">
                  <c:v>274.73998999999998</c:v>
                </c:pt>
                <c:pt idx="1097">
                  <c:v>281.77999899999998</c:v>
                </c:pt>
                <c:pt idx="1098">
                  <c:v>280.23998999999998</c:v>
                </c:pt>
                <c:pt idx="1099">
                  <c:v>280.55999800000001</c:v>
                </c:pt>
                <c:pt idx="1100">
                  <c:v>283.98998999999998</c:v>
                </c:pt>
                <c:pt idx="1101">
                  <c:v>280.85000600000001</c:v>
                </c:pt>
                <c:pt idx="1102">
                  <c:v>281.10998499999999</c:v>
                </c:pt>
                <c:pt idx="1103">
                  <c:v>284.47000100000002</c:v>
                </c:pt>
                <c:pt idx="1104">
                  <c:v>286.64001500000001</c:v>
                </c:pt>
                <c:pt idx="1105">
                  <c:v>289.60998499999999</c:v>
                </c:pt>
                <c:pt idx="1106">
                  <c:v>288.64999399999999</c:v>
                </c:pt>
                <c:pt idx="1107">
                  <c:v>286.60998499999999</c:v>
                </c:pt>
                <c:pt idx="1108">
                  <c:v>295.47000100000002</c:v>
                </c:pt>
                <c:pt idx="1109">
                  <c:v>288.77999899999998</c:v>
                </c:pt>
                <c:pt idx="1110">
                  <c:v>291.17001299999998</c:v>
                </c:pt>
                <c:pt idx="1111">
                  <c:v>291.98001099999999</c:v>
                </c:pt>
                <c:pt idx="1112">
                  <c:v>286.85998499999999</c:v>
                </c:pt>
                <c:pt idx="1113">
                  <c:v>286.67999300000002</c:v>
                </c:pt>
                <c:pt idx="1114">
                  <c:v>285.89001500000001</c:v>
                </c:pt>
                <c:pt idx="1115">
                  <c:v>282.70001200000002</c:v>
                </c:pt>
                <c:pt idx="1116">
                  <c:v>278.57998700000002</c:v>
                </c:pt>
                <c:pt idx="1117">
                  <c:v>283.48001099999999</c:v>
                </c:pt>
                <c:pt idx="1118">
                  <c:v>281.52999899999998</c:v>
                </c:pt>
                <c:pt idx="1119">
                  <c:v>287.92999300000002</c:v>
                </c:pt>
                <c:pt idx="1120">
                  <c:v>295.14001500000001</c:v>
                </c:pt>
                <c:pt idx="1121">
                  <c:v>288</c:v>
                </c:pt>
                <c:pt idx="1122">
                  <c:v>280.98998999999998</c:v>
                </c:pt>
                <c:pt idx="1123">
                  <c:v>275.98998999999998</c:v>
                </c:pt>
                <c:pt idx="1124">
                  <c:v>279.35000600000001</c:v>
                </c:pt>
                <c:pt idx="1125">
                  <c:v>282.44000199999999</c:v>
                </c:pt>
                <c:pt idx="1126">
                  <c:v>281.26998900000001</c:v>
                </c:pt>
                <c:pt idx="1127">
                  <c:v>283.32000699999998</c:v>
                </c:pt>
                <c:pt idx="1128">
                  <c:v>279.79998799999998</c:v>
                </c:pt>
                <c:pt idx="1129">
                  <c:v>278.14999399999999</c:v>
                </c:pt>
                <c:pt idx="1130">
                  <c:v>276.709991</c:v>
                </c:pt>
                <c:pt idx="1131">
                  <c:v>277.16000400000001</c:v>
                </c:pt>
                <c:pt idx="1132">
                  <c:v>275.32998700000002</c:v>
                </c:pt>
                <c:pt idx="1133">
                  <c:v>277.32998700000002</c:v>
                </c:pt>
                <c:pt idx="1134">
                  <c:v>275.98998999999998</c:v>
                </c:pt>
                <c:pt idx="1135">
                  <c:v>276.23998999999998</c:v>
                </c:pt>
                <c:pt idx="1136">
                  <c:v>278.75</c:v>
                </c:pt>
                <c:pt idx="1137">
                  <c:v>274.60000600000001</c:v>
                </c:pt>
                <c:pt idx="1138">
                  <c:v>271.48001099999999</c:v>
                </c:pt>
                <c:pt idx="1139">
                  <c:v>273.04998799999998</c:v>
                </c:pt>
                <c:pt idx="1140">
                  <c:v>274.85998499999999</c:v>
                </c:pt>
                <c:pt idx="1141">
                  <c:v>275.35000600000001</c:v>
                </c:pt>
                <c:pt idx="1142">
                  <c:v>276.26998900000001</c:v>
                </c:pt>
                <c:pt idx="1143">
                  <c:v>277.98998999999998</c:v>
                </c:pt>
                <c:pt idx="1144">
                  <c:v>275.459991</c:v>
                </c:pt>
                <c:pt idx="1145">
                  <c:v>278.10000600000001</c:v>
                </c:pt>
                <c:pt idx="1146">
                  <c:v>281.48998999999998</c:v>
                </c:pt>
                <c:pt idx="1147">
                  <c:v>278.42001299999998</c:v>
                </c:pt>
                <c:pt idx="1148">
                  <c:v>279.82998700000002</c:v>
                </c:pt>
                <c:pt idx="1149">
                  <c:v>287.07000699999998</c:v>
                </c:pt>
                <c:pt idx="1150">
                  <c:v>289.13000499999998</c:v>
                </c:pt>
                <c:pt idx="1151">
                  <c:v>282.23001099999999</c:v>
                </c:pt>
                <c:pt idx="1152">
                  <c:v>284.57998700000002</c:v>
                </c:pt>
                <c:pt idx="1153">
                  <c:v>282.5</c:v>
                </c:pt>
                <c:pt idx="1154">
                  <c:v>282.38000499999998</c:v>
                </c:pt>
                <c:pt idx="1155">
                  <c:v>280.42999300000002</c:v>
                </c:pt>
                <c:pt idx="1156">
                  <c:v>277.26998900000001</c:v>
                </c:pt>
                <c:pt idx="1157">
                  <c:v>280.35998499999999</c:v>
                </c:pt>
                <c:pt idx="1158">
                  <c:v>276.63000499999998</c:v>
                </c:pt>
                <c:pt idx="1159">
                  <c:v>273.86999500000002</c:v>
                </c:pt>
                <c:pt idx="1160">
                  <c:v>273.55999800000001</c:v>
                </c:pt>
                <c:pt idx="1161">
                  <c:v>273.98998999999998</c:v>
                </c:pt>
                <c:pt idx="1162">
                  <c:v>276.72000100000002</c:v>
                </c:pt>
                <c:pt idx="1163">
                  <c:v>278.57000699999998</c:v>
                </c:pt>
                <c:pt idx="1164">
                  <c:v>277.57000699999998</c:v>
                </c:pt>
                <c:pt idx="1165">
                  <c:v>276.790009</c:v>
                </c:pt>
                <c:pt idx="1166">
                  <c:v>271.709991</c:v>
                </c:pt>
                <c:pt idx="1167">
                  <c:v>271.82000699999998</c:v>
                </c:pt>
                <c:pt idx="1168">
                  <c:v>264.61999500000002</c:v>
                </c:pt>
                <c:pt idx="1169">
                  <c:v>267.47000100000002</c:v>
                </c:pt>
                <c:pt idx="1170">
                  <c:v>267.36999500000002</c:v>
                </c:pt>
                <c:pt idx="1171">
                  <c:v>269.16000400000001</c:v>
                </c:pt>
                <c:pt idx="1172">
                  <c:v>271.11999500000002</c:v>
                </c:pt>
                <c:pt idx="1173">
                  <c:v>275.89001500000001</c:v>
                </c:pt>
                <c:pt idx="1174">
                  <c:v>273.32998700000002</c:v>
                </c:pt>
                <c:pt idx="1175">
                  <c:v>274.60998499999999</c:v>
                </c:pt>
                <c:pt idx="1176">
                  <c:v>275.709991</c:v>
                </c:pt>
                <c:pt idx="1177">
                  <c:v>278.35000600000001</c:v>
                </c:pt>
                <c:pt idx="1178">
                  <c:v>282.97000100000002</c:v>
                </c:pt>
                <c:pt idx="1179">
                  <c:v>285.290009</c:v>
                </c:pt>
                <c:pt idx="1180">
                  <c:v>285.82998700000002</c:v>
                </c:pt>
                <c:pt idx="1181">
                  <c:v>286.52999899999998</c:v>
                </c:pt>
                <c:pt idx="1182">
                  <c:v>289.64999399999999</c:v>
                </c:pt>
                <c:pt idx="1183">
                  <c:v>298.040009</c:v>
                </c:pt>
                <c:pt idx="1184">
                  <c:v>294.91000400000001</c:v>
                </c:pt>
                <c:pt idx="1185">
                  <c:v>293.76001000000002</c:v>
                </c:pt>
                <c:pt idx="1186">
                  <c:v>287.35000600000001</c:v>
                </c:pt>
                <c:pt idx="1187">
                  <c:v>279.89999399999999</c:v>
                </c:pt>
                <c:pt idx="1188">
                  <c:v>285.82998700000002</c:v>
                </c:pt>
                <c:pt idx="1189">
                  <c:v>289.57998700000002</c:v>
                </c:pt>
                <c:pt idx="1190">
                  <c:v>294.55999800000001</c:v>
                </c:pt>
                <c:pt idx="1191">
                  <c:v>297.02999899999998</c:v>
                </c:pt>
                <c:pt idx="1192">
                  <c:v>294.19000199999999</c:v>
                </c:pt>
                <c:pt idx="1193">
                  <c:v>298.32000699999998</c:v>
                </c:pt>
                <c:pt idx="1194">
                  <c:v>295.22000100000002</c:v>
                </c:pt>
                <c:pt idx="1195">
                  <c:v>295.5</c:v>
                </c:pt>
                <c:pt idx="1196">
                  <c:v>297.67999300000002</c:v>
                </c:pt>
                <c:pt idx="1197">
                  <c:v>295.45001200000002</c:v>
                </c:pt>
                <c:pt idx="1198">
                  <c:v>296</c:v>
                </c:pt>
                <c:pt idx="1199">
                  <c:v>302.13000499999998</c:v>
                </c:pt>
                <c:pt idx="1200">
                  <c:v>300.91000400000001</c:v>
                </c:pt>
                <c:pt idx="1201">
                  <c:v>302.29998799999998</c:v>
                </c:pt>
                <c:pt idx="1202">
                  <c:v>304.540009</c:v>
                </c:pt>
                <c:pt idx="1203">
                  <c:v>299.25</c:v>
                </c:pt>
                <c:pt idx="1204">
                  <c:v>302.44000199999999</c:v>
                </c:pt>
                <c:pt idx="1205">
                  <c:v>306.51001000000002</c:v>
                </c:pt>
                <c:pt idx="1206">
                  <c:v>306.92001299999998</c:v>
                </c:pt>
                <c:pt idx="1207">
                  <c:v>308.39999399999999</c:v>
                </c:pt>
                <c:pt idx="1208">
                  <c:v>300.23998999999998</c:v>
                </c:pt>
                <c:pt idx="1209">
                  <c:v>299.63000499999998</c:v>
                </c:pt>
                <c:pt idx="1210">
                  <c:v>292.709991</c:v>
                </c:pt>
                <c:pt idx="1211">
                  <c:v>290.27999899999998</c:v>
                </c:pt>
                <c:pt idx="1212">
                  <c:v>299.14999399999999</c:v>
                </c:pt>
                <c:pt idx="1213">
                  <c:v>301.959991</c:v>
                </c:pt>
                <c:pt idx="1214">
                  <c:v>304.92999300000002</c:v>
                </c:pt>
                <c:pt idx="1215">
                  <c:v>313.76001000000002</c:v>
                </c:pt>
                <c:pt idx="1216">
                  <c:v>314.459991</c:v>
                </c:pt>
                <c:pt idx="1217">
                  <c:v>309.76001000000002</c:v>
                </c:pt>
                <c:pt idx="1218">
                  <c:v>309.16000400000001</c:v>
                </c:pt>
                <c:pt idx="1219">
                  <c:v>314.38000499999998</c:v>
                </c:pt>
                <c:pt idx="1220">
                  <c:v>309.60000600000001</c:v>
                </c:pt>
                <c:pt idx="1221">
                  <c:v>315.959991</c:v>
                </c:pt>
                <c:pt idx="1222">
                  <c:v>313.70001200000002</c:v>
                </c:pt>
                <c:pt idx="1223">
                  <c:v>304.80999800000001</c:v>
                </c:pt>
                <c:pt idx="1224">
                  <c:v>299.85000600000001</c:v>
                </c:pt>
                <c:pt idx="1225">
                  <c:v>303.67001299999998</c:v>
                </c:pt>
                <c:pt idx="1226">
                  <c:v>302.790009</c:v>
                </c:pt>
                <c:pt idx="1227">
                  <c:v>302.91000400000001</c:v>
                </c:pt>
                <c:pt idx="1228">
                  <c:v>305.72000100000002</c:v>
                </c:pt>
                <c:pt idx="1229">
                  <c:v>305.98998999999998</c:v>
                </c:pt>
                <c:pt idx="1230">
                  <c:v>311.61999500000002</c:v>
                </c:pt>
                <c:pt idx="1231">
                  <c:v>308.92999300000002</c:v>
                </c:pt>
                <c:pt idx="1232">
                  <c:v>312.88000499999998</c:v>
                </c:pt>
                <c:pt idx="1233">
                  <c:v>304.51001000000002</c:v>
                </c:pt>
                <c:pt idx="1234">
                  <c:v>311.32000699999998</c:v>
                </c:pt>
                <c:pt idx="1235">
                  <c:v>307.97000100000002</c:v>
                </c:pt>
                <c:pt idx="1236">
                  <c:v>304.70001200000002</c:v>
                </c:pt>
                <c:pt idx="1237">
                  <c:v>299.39999399999999</c:v>
                </c:pt>
                <c:pt idx="1238">
                  <c:v>298.61999500000002</c:v>
                </c:pt>
                <c:pt idx="1239">
                  <c:v>301.95001200000002</c:v>
                </c:pt>
                <c:pt idx="1240">
                  <c:v>304.540009</c:v>
                </c:pt>
                <c:pt idx="1241">
                  <c:v>301.48998999999998</c:v>
                </c:pt>
                <c:pt idx="1242">
                  <c:v>298.04998799999998</c:v>
                </c:pt>
                <c:pt idx="1243">
                  <c:v>292.89999399999999</c:v>
                </c:pt>
                <c:pt idx="1244">
                  <c:v>292.64999399999999</c:v>
                </c:pt>
                <c:pt idx="1245">
                  <c:v>285.54998799999998</c:v>
                </c:pt>
                <c:pt idx="1246">
                  <c:v>282.790009</c:v>
                </c:pt>
                <c:pt idx="1247">
                  <c:v>287.459991</c:v>
                </c:pt>
                <c:pt idx="1248">
                  <c:v>278.89999399999999</c:v>
                </c:pt>
                <c:pt idx="1249">
                  <c:v>276.23001099999999</c:v>
                </c:pt>
                <c:pt idx="1250">
                  <c:v>271.92001299999998</c:v>
                </c:pt>
                <c:pt idx="1251">
                  <c:v>279.14999399999999</c:v>
                </c:pt>
                <c:pt idx="1252">
                  <c:v>282.55999800000001</c:v>
                </c:pt>
                <c:pt idx="1253">
                  <c:v>280.25</c:v>
                </c:pt>
                <c:pt idx="1254">
                  <c:v>281.5</c:v>
                </c:pt>
                <c:pt idx="1255">
                  <c:v>274.95001200000002</c:v>
                </c:pt>
                <c:pt idx="1256">
                  <c:v>267.47000100000002</c:v>
                </c:pt>
                <c:pt idx="1257">
                  <c:v>265.23998999999998</c:v>
                </c:pt>
                <c:pt idx="1258">
                  <c:v>269.07000699999998</c:v>
                </c:pt>
                <c:pt idx="1259">
                  <c:v>276.17001299999998</c:v>
                </c:pt>
                <c:pt idx="1260">
                  <c:v>269.54998799999998</c:v>
                </c:pt>
                <c:pt idx="1261">
                  <c:v>263</c:v>
                </c:pt>
                <c:pt idx="1262">
                  <c:v>261.07998700000002</c:v>
                </c:pt>
                <c:pt idx="1263">
                  <c:v>262.58999599999999</c:v>
                </c:pt>
                <c:pt idx="1264">
                  <c:v>262.89999399999999</c:v>
                </c:pt>
                <c:pt idx="1265">
                  <c:v>257.95001200000002</c:v>
                </c:pt>
                <c:pt idx="1266">
                  <c:v>259.209991</c:v>
                </c:pt>
                <c:pt idx="1267">
                  <c:v>260.29998799999998</c:v>
                </c:pt>
                <c:pt idx="1268">
                  <c:v>256.27999899999998</c:v>
                </c:pt>
                <c:pt idx="1269">
                  <c:v>262.57000699999998</c:v>
                </c:pt>
                <c:pt idx="1270">
                  <c:v>267.51998900000001</c:v>
                </c:pt>
                <c:pt idx="1271">
                  <c:v>273.05999800000001</c:v>
                </c:pt>
                <c:pt idx="1272">
                  <c:v>273.26001000000002</c:v>
                </c:pt>
                <c:pt idx="1273">
                  <c:v>279.07998700000002</c:v>
                </c:pt>
                <c:pt idx="1274">
                  <c:v>279.73998999999998</c:v>
                </c:pt>
                <c:pt idx="1275">
                  <c:v>283.88000499999998</c:v>
                </c:pt>
                <c:pt idx="1276">
                  <c:v>284.30999800000001</c:v>
                </c:pt>
                <c:pt idx="1277">
                  <c:v>284.41000400000001</c:v>
                </c:pt>
                <c:pt idx="1278">
                  <c:v>286.48001099999999</c:v>
                </c:pt>
                <c:pt idx="1279">
                  <c:v>286.26001000000002</c:v>
                </c:pt>
                <c:pt idx="1280">
                  <c:v>284.41000400000001</c:v>
                </c:pt>
                <c:pt idx="1281">
                  <c:v>288.35998499999999</c:v>
                </c:pt>
                <c:pt idx="1282">
                  <c:v>293.19000199999999</c:v>
                </c:pt>
                <c:pt idx="1283">
                  <c:v>293.85000600000001</c:v>
                </c:pt>
                <c:pt idx="1284">
                  <c:v>302</c:v>
                </c:pt>
                <c:pt idx="1285">
                  <c:v>308.80999800000001</c:v>
                </c:pt>
                <c:pt idx="1286">
                  <c:v>303.55999800000001</c:v>
                </c:pt>
                <c:pt idx="1287">
                  <c:v>301.10000600000001</c:v>
                </c:pt>
                <c:pt idx="1288">
                  <c:v>300.26998900000001</c:v>
                </c:pt>
                <c:pt idx="1289">
                  <c:v>297.66000400000001</c:v>
                </c:pt>
                <c:pt idx="1290">
                  <c:v>298.20001200000002</c:v>
                </c:pt>
                <c:pt idx="1291">
                  <c:v>303.709991</c:v>
                </c:pt>
                <c:pt idx="1292">
                  <c:v>304.92999300000002</c:v>
                </c:pt>
                <c:pt idx="1293">
                  <c:v>308.17999300000002</c:v>
                </c:pt>
                <c:pt idx="1294">
                  <c:v>304.64001500000001</c:v>
                </c:pt>
                <c:pt idx="1295">
                  <c:v>304.20001200000002</c:v>
                </c:pt>
                <c:pt idx="1296">
                  <c:v>305.51998900000001</c:v>
                </c:pt>
                <c:pt idx="1297">
                  <c:v>302.42999300000002</c:v>
                </c:pt>
                <c:pt idx="1298">
                  <c:v>292.85998499999999</c:v>
                </c:pt>
                <c:pt idx="1299">
                  <c:v>297.47000100000002</c:v>
                </c:pt>
                <c:pt idx="1300">
                  <c:v>300.35998499999999</c:v>
                </c:pt>
                <c:pt idx="1301">
                  <c:v>291.19000199999999</c:v>
                </c:pt>
                <c:pt idx="1302">
                  <c:v>289.08999599999999</c:v>
                </c:pt>
                <c:pt idx="1303">
                  <c:v>294.73001099999999</c:v>
                </c:pt>
                <c:pt idx="1304">
                  <c:v>288.39001500000001</c:v>
                </c:pt>
                <c:pt idx="1305">
                  <c:v>279.55999800000001</c:v>
                </c:pt>
                <c:pt idx="1306">
                  <c:v>285.73998999999998</c:v>
                </c:pt>
                <c:pt idx="1307">
                  <c:v>286.57998700000002</c:v>
                </c:pt>
                <c:pt idx="1308">
                  <c:v>299.33999599999999</c:v>
                </c:pt>
                <c:pt idx="1309">
                  <c:v>290.98001099999999</c:v>
                </c:pt>
                <c:pt idx="1310">
                  <c:v>290.709991</c:v>
                </c:pt>
                <c:pt idx="1311">
                  <c:v>284.69000199999999</c:v>
                </c:pt>
                <c:pt idx="1312">
                  <c:v>281.33999599999999</c:v>
                </c:pt>
                <c:pt idx="1313">
                  <c:v>279.540009</c:v>
                </c:pt>
                <c:pt idx="1314">
                  <c:v>266.77999899999998</c:v>
                </c:pt>
                <c:pt idx="1315">
                  <c:v>266.39001500000001</c:v>
                </c:pt>
                <c:pt idx="1316">
                  <c:v>264.27999899999998</c:v>
                </c:pt>
                <c:pt idx="1317">
                  <c:v>273.86999500000002</c:v>
                </c:pt>
                <c:pt idx="1318">
                  <c:v>260.23998999999998</c:v>
                </c:pt>
                <c:pt idx="1319">
                  <c:v>256.67999300000002</c:v>
                </c:pt>
                <c:pt idx="1320">
                  <c:v>254.770004</c:v>
                </c:pt>
                <c:pt idx="1321">
                  <c:v>255.229996</c:v>
                </c:pt>
                <c:pt idx="1322">
                  <c:v>249.41000399999999</c:v>
                </c:pt>
                <c:pt idx="1323">
                  <c:v>255.60000600000001</c:v>
                </c:pt>
                <c:pt idx="1324">
                  <c:v>258.13000499999998</c:v>
                </c:pt>
                <c:pt idx="1325">
                  <c:v>258.540009</c:v>
                </c:pt>
                <c:pt idx="1326">
                  <c:v>264.41000400000001</c:v>
                </c:pt>
                <c:pt idx="1327">
                  <c:v>247.64999399999999</c:v>
                </c:pt>
                <c:pt idx="1328">
                  <c:v>247.259995</c:v>
                </c:pt>
                <c:pt idx="1329">
                  <c:v>246.679993</c:v>
                </c:pt>
                <c:pt idx="1330">
                  <c:v>247.779999</c:v>
                </c:pt>
                <c:pt idx="1331">
                  <c:v>244.050003</c:v>
                </c:pt>
                <c:pt idx="1332">
                  <c:v>244.009995</c:v>
                </c:pt>
                <c:pt idx="1333">
                  <c:v>249.63000500000001</c:v>
                </c:pt>
                <c:pt idx="1334">
                  <c:v>255.449997</c:v>
                </c:pt>
                <c:pt idx="1335">
                  <c:v>255.63000500000001</c:v>
                </c:pt>
                <c:pt idx="1336">
                  <c:v>254.429993</c:v>
                </c:pt>
                <c:pt idx="1337">
                  <c:v>263.10998499999999</c:v>
                </c:pt>
                <c:pt idx="1338">
                  <c:v>256.14999399999999</c:v>
                </c:pt>
                <c:pt idx="1339">
                  <c:v>260.27999899999998</c:v>
                </c:pt>
                <c:pt idx="1340">
                  <c:v>261.17001299999998</c:v>
                </c:pt>
                <c:pt idx="1341">
                  <c:v>255</c:v>
                </c:pt>
                <c:pt idx="1342">
                  <c:v>257.02999899999998</c:v>
                </c:pt>
                <c:pt idx="1343">
                  <c:v>253.979996</c:v>
                </c:pt>
                <c:pt idx="1344">
                  <c:v>252.199997</c:v>
                </c:pt>
                <c:pt idx="1345">
                  <c:v>247.970001</c:v>
                </c:pt>
                <c:pt idx="1346">
                  <c:v>245.020004</c:v>
                </c:pt>
                <c:pt idx="1347">
                  <c:v>228.10000600000001</c:v>
                </c:pt>
                <c:pt idx="1348">
                  <c:v>227.13999899999999</c:v>
                </c:pt>
                <c:pt idx="1349">
                  <c:v>230.60000600000001</c:v>
                </c:pt>
                <c:pt idx="1350">
                  <c:v>226.94000199999999</c:v>
                </c:pt>
                <c:pt idx="1351">
                  <c:v>231.91999799999999</c:v>
                </c:pt>
                <c:pt idx="1352">
                  <c:v>240.300003</c:v>
                </c:pt>
                <c:pt idx="1353">
                  <c:v>243.10000600000001</c:v>
                </c:pt>
                <c:pt idx="1354">
                  <c:v>238.39999399999999</c:v>
                </c:pt>
                <c:pt idx="1355">
                  <c:v>237.979996</c:v>
                </c:pt>
                <c:pt idx="1356">
                  <c:v>238.820007</c:v>
                </c:pt>
                <c:pt idx="1357">
                  <c:v>240.979996</c:v>
                </c:pt>
                <c:pt idx="1358">
                  <c:v>244.64999399999999</c:v>
                </c:pt>
                <c:pt idx="1359">
                  <c:v>246.970001</c:v>
                </c:pt>
                <c:pt idx="1360">
                  <c:v>248.05999800000001</c:v>
                </c:pt>
                <c:pt idx="1361">
                  <c:v>248.550003</c:v>
                </c:pt>
                <c:pt idx="1362">
                  <c:v>252.320007</c:v>
                </c:pt>
                <c:pt idx="1363">
                  <c:v>249.53999300000001</c:v>
                </c:pt>
                <c:pt idx="1364">
                  <c:v>250.05999800000001</c:v>
                </c:pt>
                <c:pt idx="1365">
                  <c:v>249.25</c:v>
                </c:pt>
                <c:pt idx="1366">
                  <c:v>253.69000199999999</c:v>
                </c:pt>
                <c:pt idx="1367">
                  <c:v>247.78999300000001</c:v>
                </c:pt>
                <c:pt idx="1368">
                  <c:v>257.08999599999999</c:v>
                </c:pt>
                <c:pt idx="1369">
                  <c:v>260.58999599999999</c:v>
                </c:pt>
                <c:pt idx="1370">
                  <c:v>257.60998499999999</c:v>
                </c:pt>
                <c:pt idx="1371">
                  <c:v>254.25</c:v>
                </c:pt>
                <c:pt idx="1372">
                  <c:v>252.96000699999999</c:v>
                </c:pt>
                <c:pt idx="1373">
                  <c:v>244.25</c:v>
                </c:pt>
                <c:pt idx="1374">
                  <c:v>254.75</c:v>
                </c:pt>
                <c:pt idx="1375">
                  <c:v>263.70001200000002</c:v>
                </c:pt>
                <c:pt idx="1376">
                  <c:v>273.95001200000002</c:v>
                </c:pt>
                <c:pt idx="1377">
                  <c:v>278.82000699999998</c:v>
                </c:pt>
                <c:pt idx="1378">
                  <c:v>273.22000100000002</c:v>
                </c:pt>
                <c:pt idx="1379">
                  <c:v>276.459991</c:v>
                </c:pt>
                <c:pt idx="1380">
                  <c:v>278.14001500000001</c:v>
                </c:pt>
                <c:pt idx="1381">
                  <c:v>282.04998799999998</c:v>
                </c:pt>
                <c:pt idx="1382">
                  <c:v>285.91000400000001</c:v>
                </c:pt>
                <c:pt idx="1383">
                  <c:v>281.04998799999998</c:v>
                </c:pt>
                <c:pt idx="1384">
                  <c:v>292.07998700000002</c:v>
                </c:pt>
                <c:pt idx="1385">
                  <c:v>292.92999300000002</c:v>
                </c:pt>
                <c:pt idx="1386">
                  <c:v>302.89999399999999</c:v>
                </c:pt>
                <c:pt idx="1387">
                  <c:v>305.29998799999998</c:v>
                </c:pt>
                <c:pt idx="1388">
                  <c:v>302.41000400000001</c:v>
                </c:pt>
                <c:pt idx="1389">
                  <c:v>304.39001500000001</c:v>
                </c:pt>
                <c:pt idx="1390">
                  <c:v>305.48001099999999</c:v>
                </c:pt>
                <c:pt idx="1391">
                  <c:v>294.61999500000002</c:v>
                </c:pt>
                <c:pt idx="1392">
                  <c:v>289.33999599999999</c:v>
                </c:pt>
                <c:pt idx="1393">
                  <c:v>284.82998700000002</c:v>
                </c:pt>
                <c:pt idx="1394">
                  <c:v>287.39001500000001</c:v>
                </c:pt>
                <c:pt idx="1395">
                  <c:v>291.72000100000002</c:v>
                </c:pt>
                <c:pt idx="1396">
                  <c:v>284.5</c:v>
                </c:pt>
                <c:pt idx="1397">
                  <c:v>280.58999599999999</c:v>
                </c:pt>
                <c:pt idx="1398">
                  <c:v>276.94000199999999</c:v>
                </c:pt>
                <c:pt idx="1399">
                  <c:v>272.02999899999998</c:v>
                </c:pt>
                <c:pt idx="1400">
                  <c:v>273.98998999999998</c:v>
                </c:pt>
                <c:pt idx="1401">
                  <c:v>272</c:v>
                </c:pt>
                <c:pt idx="1402">
                  <c:v>276.82998700000002</c:v>
                </c:pt>
                <c:pt idx="1403">
                  <c:v>284.51001000000002</c:v>
                </c:pt>
                <c:pt idx="1404">
                  <c:v>285.60000600000001</c:v>
                </c:pt>
                <c:pt idx="1405">
                  <c:v>285.98998999999998</c:v>
                </c:pt>
                <c:pt idx="1406">
                  <c:v>286.82998700000002</c:v>
                </c:pt>
                <c:pt idx="1407">
                  <c:v>276.07000699999998</c:v>
                </c:pt>
                <c:pt idx="1408">
                  <c:v>274.67999300000002</c:v>
                </c:pt>
                <c:pt idx="1409">
                  <c:v>272.23998999999998</c:v>
                </c:pt>
                <c:pt idx="1410">
                  <c:v>269.92999300000002</c:v>
                </c:pt>
                <c:pt idx="1411">
                  <c:v>273.51998900000001</c:v>
                </c:pt>
                <c:pt idx="1412">
                  <c:v>271</c:v>
                </c:pt>
                <c:pt idx="1413">
                  <c:v>265.61999500000002</c:v>
                </c:pt>
                <c:pt idx="1414">
                  <c:v>255.86000100000001</c:v>
                </c:pt>
                <c:pt idx="1415">
                  <c:v>252.929993</c:v>
                </c:pt>
                <c:pt idx="1416">
                  <c:v>253.770004</c:v>
                </c:pt>
                <c:pt idx="1417">
                  <c:v>257.01998900000001</c:v>
                </c:pt>
                <c:pt idx="1418">
                  <c:v>267.26998900000001</c:v>
                </c:pt>
                <c:pt idx="1419">
                  <c:v>256.02999899999998</c:v>
                </c:pt>
                <c:pt idx="1420">
                  <c:v>257.459991</c:v>
                </c:pt>
                <c:pt idx="1421">
                  <c:v>265.41000400000001</c:v>
                </c:pt>
                <c:pt idx="1422">
                  <c:v>274.540009</c:v>
                </c:pt>
                <c:pt idx="1423">
                  <c:v>274.10000600000001</c:v>
                </c:pt>
                <c:pt idx="1424">
                  <c:v>268.19000199999999</c:v>
                </c:pt>
                <c:pt idx="1425">
                  <c:v>258.48001099999999</c:v>
                </c:pt>
                <c:pt idx="1426">
                  <c:v>260.98001099999999</c:v>
                </c:pt>
                <c:pt idx="1427">
                  <c:v>264.23001099999999</c:v>
                </c:pt>
                <c:pt idx="1428">
                  <c:v>263.33999599999999</c:v>
                </c:pt>
                <c:pt idx="1429">
                  <c:v>256.73001099999999</c:v>
                </c:pt>
                <c:pt idx="1430">
                  <c:v>241.470001</c:v>
                </c:pt>
                <c:pt idx="1431">
                  <c:v>250.720001</c:v>
                </c:pt>
                <c:pt idx="1432">
                  <c:v>257.27999899999998</c:v>
                </c:pt>
                <c:pt idx="1433">
                  <c:v>246.38000500000001</c:v>
                </c:pt>
                <c:pt idx="1434">
                  <c:v>238.58999600000001</c:v>
                </c:pt>
                <c:pt idx="1435">
                  <c:v>248.33000200000001</c:v>
                </c:pt>
                <c:pt idx="1436">
                  <c:v>252.38000500000001</c:v>
                </c:pt>
                <c:pt idx="1437">
                  <c:v>260.19000199999999</c:v>
                </c:pt>
                <c:pt idx="1438">
                  <c:v>261.05999800000001</c:v>
                </c:pt>
                <c:pt idx="1439">
                  <c:v>262.67001299999998</c:v>
                </c:pt>
                <c:pt idx="1440">
                  <c:v>271.61999500000002</c:v>
                </c:pt>
                <c:pt idx="1441">
                  <c:v>270.959991</c:v>
                </c:pt>
                <c:pt idx="1442">
                  <c:v>272.60000600000001</c:v>
                </c:pt>
                <c:pt idx="1443">
                  <c:v>266.86999500000002</c:v>
                </c:pt>
                <c:pt idx="1444">
                  <c:v>261.07998700000002</c:v>
                </c:pt>
                <c:pt idx="1445">
                  <c:v>261.959991</c:v>
                </c:pt>
                <c:pt idx="1446">
                  <c:v>262.86999500000002</c:v>
                </c:pt>
                <c:pt idx="1447">
                  <c:v>262.55999800000001</c:v>
                </c:pt>
                <c:pt idx="1448">
                  <c:v>254.009995</c:v>
                </c:pt>
                <c:pt idx="1449">
                  <c:v>281.51001000000002</c:v>
                </c:pt>
                <c:pt idx="1450">
                  <c:v>277.88000499999998</c:v>
                </c:pt>
                <c:pt idx="1451">
                  <c:v>280.08999599999999</c:v>
                </c:pt>
                <c:pt idx="1452">
                  <c:v>283.23001099999999</c:v>
                </c:pt>
                <c:pt idx="1453">
                  <c:v>276.23998999999998</c:v>
                </c:pt>
                <c:pt idx="1454">
                  <c:v>274.17001299999998</c:v>
                </c:pt>
                <c:pt idx="1455">
                  <c:v>275.29998799999998</c:v>
                </c:pt>
                <c:pt idx="1456">
                  <c:v>276.35998499999999</c:v>
                </c:pt>
                <c:pt idx="1457">
                  <c:v>279.33999599999999</c:v>
                </c:pt>
                <c:pt idx="1458">
                  <c:v>279.01001000000002</c:v>
                </c:pt>
                <c:pt idx="1459">
                  <c:v>278.73998999999998</c:v>
                </c:pt>
                <c:pt idx="1460">
                  <c:v>269.959991</c:v>
                </c:pt>
                <c:pt idx="1461">
                  <c:v>269.29998799999998</c:v>
                </c:pt>
                <c:pt idx="1462">
                  <c:v>268.98001099999999</c:v>
                </c:pt>
                <c:pt idx="1463">
                  <c:v>269.94000199999999</c:v>
                </c:pt>
                <c:pt idx="1464">
                  <c:v>266.39999399999999</c:v>
                </c:pt>
                <c:pt idx="1465">
                  <c:v>257.05999800000001</c:v>
                </c:pt>
                <c:pt idx="1466">
                  <c:v>253.91000399999999</c:v>
                </c:pt>
                <c:pt idx="1467">
                  <c:v>256.66000400000001</c:v>
                </c:pt>
                <c:pt idx="1468">
                  <c:v>263.79998799999998</c:v>
                </c:pt>
                <c:pt idx="1469">
                  <c:v>262.959991</c:v>
                </c:pt>
                <c:pt idx="1470">
                  <c:v>266.32998700000002</c:v>
                </c:pt>
                <c:pt idx="1471">
                  <c:v>268.67001299999998</c:v>
                </c:pt>
                <c:pt idx="1472">
                  <c:v>266.23001099999999</c:v>
                </c:pt>
                <c:pt idx="1473">
                  <c:v>258.19000199999999</c:v>
                </c:pt>
                <c:pt idx="1474">
                  <c:v>255.35000600000001</c:v>
                </c:pt>
                <c:pt idx="1475">
                  <c:v>251.320007</c:v>
                </c:pt>
                <c:pt idx="1476">
                  <c:v>251.490005</c:v>
                </c:pt>
                <c:pt idx="1477">
                  <c:v>254.679993</c:v>
                </c:pt>
                <c:pt idx="1478">
                  <c:v>249.029999</c:v>
                </c:pt>
                <c:pt idx="1479">
                  <c:v>252.16999799999999</c:v>
                </c:pt>
                <c:pt idx="1480">
                  <c:v>252.66999799999999</c:v>
                </c:pt>
                <c:pt idx="1481">
                  <c:v>247</c:v>
                </c:pt>
                <c:pt idx="1482">
                  <c:v>252.550003</c:v>
                </c:pt>
                <c:pt idx="1483">
                  <c:v>249.39999399999999</c:v>
                </c:pt>
                <c:pt idx="1484">
                  <c:v>255.38000500000001</c:v>
                </c:pt>
                <c:pt idx="1485">
                  <c:v>260.540009</c:v>
                </c:pt>
                <c:pt idx="1486">
                  <c:v>255.85000600000001</c:v>
                </c:pt>
                <c:pt idx="1487">
                  <c:v>262.30999800000001</c:v>
                </c:pt>
                <c:pt idx="1488">
                  <c:v>264.66000400000001</c:v>
                </c:pt>
                <c:pt idx="1489">
                  <c:v>271.70001200000002</c:v>
                </c:pt>
                <c:pt idx="1490">
                  <c:v>276.97000100000002</c:v>
                </c:pt>
                <c:pt idx="1491">
                  <c:v>274.89999399999999</c:v>
                </c:pt>
                <c:pt idx="1492">
                  <c:v>275.459991</c:v>
                </c:pt>
                <c:pt idx="1493">
                  <c:v>273.33999599999999</c:v>
                </c:pt>
                <c:pt idx="1494">
                  <c:v>271.73001099999999</c:v>
                </c:pt>
                <c:pt idx="1495">
                  <c:v>262.27999899999998</c:v>
                </c:pt>
                <c:pt idx="1496">
                  <c:v>270.95001200000002</c:v>
                </c:pt>
                <c:pt idx="1497">
                  <c:v>274</c:v>
                </c:pt>
                <c:pt idx="1498">
                  <c:v>275</c:v>
                </c:pt>
                <c:pt idx="1499">
                  <c:v>272.45001200000002</c:v>
                </c:pt>
                <c:pt idx="1500">
                  <c:v>275.72000100000002</c:v>
                </c:pt>
                <c:pt idx="1501">
                  <c:v>282.23001099999999</c:v>
                </c:pt>
                <c:pt idx="1502">
                  <c:v>275.5</c:v>
                </c:pt>
                <c:pt idx="1503">
                  <c:v>287.36999500000002</c:v>
                </c:pt>
                <c:pt idx="1504">
                  <c:v>300.36999500000002</c:v>
                </c:pt>
                <c:pt idx="1505">
                  <c:v>316.64001500000001</c:v>
                </c:pt>
                <c:pt idx="1506">
                  <c:v>314.17999300000002</c:v>
                </c:pt>
                <c:pt idx="1507">
                  <c:v>305.11999500000002</c:v>
                </c:pt>
                <c:pt idx="1508">
                  <c:v>296.86999500000002</c:v>
                </c:pt>
                <c:pt idx="1509">
                  <c:v>294.41000400000001</c:v>
                </c:pt>
                <c:pt idx="1510">
                  <c:v>295.20001200000002</c:v>
                </c:pt>
                <c:pt idx="1511">
                  <c:v>294.42999300000002</c:v>
                </c:pt>
                <c:pt idx="1512">
                  <c:v>299.290009</c:v>
                </c:pt>
                <c:pt idx="1513">
                  <c:v>301.540009</c:v>
                </c:pt>
                <c:pt idx="1514">
                  <c:v>307.61999500000002</c:v>
                </c:pt>
                <c:pt idx="1515">
                  <c:v>324.10000600000001</c:v>
                </c:pt>
                <c:pt idx="1516">
                  <c:v>323.94000199999999</c:v>
                </c:pt>
                <c:pt idx="1517">
                  <c:v>306.29998799999998</c:v>
                </c:pt>
                <c:pt idx="1518">
                  <c:v>305.44000199999999</c:v>
                </c:pt>
                <c:pt idx="1519">
                  <c:v>304.959991</c:v>
                </c:pt>
                <c:pt idx="1520">
                  <c:v>300.22000100000002</c:v>
                </c:pt>
                <c:pt idx="1521">
                  <c:v>304.98998999999998</c:v>
                </c:pt>
                <c:pt idx="1522">
                  <c:v>304.709991</c:v>
                </c:pt>
                <c:pt idx="1523">
                  <c:v>302.17999300000002</c:v>
                </c:pt>
                <c:pt idx="1524">
                  <c:v>308.45001200000002</c:v>
                </c:pt>
                <c:pt idx="1525">
                  <c:v>314.02999899999998</c:v>
                </c:pt>
                <c:pt idx="1526">
                  <c:v>309.51001000000002</c:v>
                </c:pt>
                <c:pt idx="1527">
                  <c:v>304.89999399999999</c:v>
                </c:pt>
                <c:pt idx="1528">
                  <c:v>306.73001099999999</c:v>
                </c:pt>
                <c:pt idx="1529">
                  <c:v>302.10000600000001</c:v>
                </c:pt>
                <c:pt idx="1530">
                  <c:v>293.040009</c:v>
                </c:pt>
                <c:pt idx="1531">
                  <c:v>294.14999399999999</c:v>
                </c:pt>
                <c:pt idx="1532">
                  <c:v>298</c:v>
                </c:pt>
                <c:pt idx="1533">
                  <c:v>300.45001200000002</c:v>
                </c:pt>
                <c:pt idx="1534">
                  <c:v>302.51998900000001</c:v>
                </c:pt>
                <c:pt idx="1535">
                  <c:v>295.79998799999998</c:v>
                </c:pt>
                <c:pt idx="1536">
                  <c:v>300.20001200000002</c:v>
                </c:pt>
                <c:pt idx="1537">
                  <c:v>303.5</c:v>
                </c:pt>
                <c:pt idx="1538">
                  <c:v>294.35000600000001</c:v>
                </c:pt>
                <c:pt idx="1539">
                  <c:v>294.98998999999998</c:v>
                </c:pt>
                <c:pt idx="1540">
                  <c:v>299.63000499999998</c:v>
                </c:pt>
                <c:pt idx="1541">
                  <c:v>306.57000699999998</c:v>
                </c:pt>
                <c:pt idx="1542">
                  <c:v>312.89001500000001</c:v>
                </c:pt>
                <c:pt idx="1543">
                  <c:v>316.60000600000001</c:v>
                </c:pt>
                <c:pt idx="1544">
                  <c:v>315.25</c:v>
                </c:pt>
                <c:pt idx="1545">
                  <c:v>318.16000400000001</c:v>
                </c:pt>
                <c:pt idx="1546">
                  <c:v>320.20001200000002</c:v>
                </c:pt>
                <c:pt idx="1547">
                  <c:v>310.64999399999999</c:v>
                </c:pt>
                <c:pt idx="1548">
                  <c:v>307.30999800000001</c:v>
                </c:pt>
                <c:pt idx="1549">
                  <c:v>301.83999599999999</c:v>
                </c:pt>
                <c:pt idx="1550">
                  <c:v>306.77999899999998</c:v>
                </c:pt>
                <c:pt idx="1551">
                  <c:v>310.57998700000002</c:v>
                </c:pt>
                <c:pt idx="1552">
                  <c:v>313.51001000000002</c:v>
                </c:pt>
                <c:pt idx="1553">
                  <c:v>315.75</c:v>
                </c:pt>
                <c:pt idx="1554">
                  <c:v>311.97000100000002</c:v>
                </c:pt>
                <c:pt idx="1555">
                  <c:v>311.92001299999998</c:v>
                </c:pt>
                <c:pt idx="1556">
                  <c:v>318.51001000000002</c:v>
                </c:pt>
                <c:pt idx="1557">
                  <c:v>316.57998700000002</c:v>
                </c:pt>
                <c:pt idx="1558">
                  <c:v>342.92999300000002</c:v>
                </c:pt>
                <c:pt idx="1559">
                  <c:v>338.42001299999998</c:v>
                </c:pt>
                <c:pt idx="1560">
                  <c:v>338.64001500000001</c:v>
                </c:pt>
                <c:pt idx="1561">
                  <c:v>346.17999300000002</c:v>
                </c:pt>
                <c:pt idx="1562">
                  <c:v>337.48001099999999</c:v>
                </c:pt>
                <c:pt idx="1563">
                  <c:v>349.67999300000002</c:v>
                </c:pt>
                <c:pt idx="1564">
                  <c:v>346.38000499999998</c:v>
                </c:pt>
                <c:pt idx="1565">
                  <c:v>344.76001000000002</c:v>
                </c:pt>
                <c:pt idx="1566">
                  <c:v>339.88000499999998</c:v>
                </c:pt>
                <c:pt idx="1567">
                  <c:v>338.77999899999998</c:v>
                </c:pt>
                <c:pt idx="1568">
                  <c:v>336.57000699999998</c:v>
                </c:pt>
                <c:pt idx="1569">
                  <c:v>336.709991</c:v>
                </c:pt>
                <c:pt idx="1570">
                  <c:v>336.26998900000001</c:v>
                </c:pt>
                <c:pt idx="1571">
                  <c:v>336.60000600000001</c:v>
                </c:pt>
                <c:pt idx="1572">
                  <c:v>339.51001000000002</c:v>
                </c:pt>
                <c:pt idx="1573">
                  <c:v>338.54998799999998</c:v>
                </c:pt>
                <c:pt idx="1574">
                  <c:v>337.14999399999999</c:v>
                </c:pt>
                <c:pt idx="1575">
                  <c:v>335.76998900000001</c:v>
                </c:pt>
                <c:pt idx="1576">
                  <c:v>333.25</c:v>
                </c:pt>
                <c:pt idx="1577">
                  <c:v>334.790009</c:v>
                </c:pt>
                <c:pt idx="1578">
                  <c:v>340.42001299999998</c:v>
                </c:pt>
                <c:pt idx="1579">
                  <c:v>336.55999800000001</c:v>
                </c:pt>
                <c:pt idx="1580">
                  <c:v>327.61999500000002</c:v>
                </c:pt>
                <c:pt idx="1581">
                  <c:v>319.92001299999998</c:v>
                </c:pt>
                <c:pt idx="1582">
                  <c:v>321.85000600000001</c:v>
                </c:pt>
                <c:pt idx="1583">
                  <c:v>321.82998700000002</c:v>
                </c:pt>
                <c:pt idx="1584">
                  <c:v>325.64999399999999</c:v>
                </c:pt>
                <c:pt idx="1585">
                  <c:v>331.040009</c:v>
                </c:pt>
                <c:pt idx="1586">
                  <c:v>324.36999500000002</c:v>
                </c:pt>
                <c:pt idx="1587">
                  <c:v>327.17999300000002</c:v>
                </c:pt>
                <c:pt idx="1588">
                  <c:v>340.76001000000002</c:v>
                </c:pt>
                <c:pt idx="1589">
                  <c:v>339.63000499999998</c:v>
                </c:pt>
                <c:pt idx="1590">
                  <c:v>345.01998900000001</c:v>
                </c:pt>
                <c:pt idx="1591">
                  <c:v>348.44000199999999</c:v>
                </c:pt>
                <c:pt idx="1592">
                  <c:v>349.17001299999998</c:v>
                </c:pt>
                <c:pt idx="1593">
                  <c:v>351.82998700000002</c:v>
                </c:pt>
                <c:pt idx="1594">
                  <c:v>357.73001099999999</c:v>
                </c:pt>
                <c:pt idx="1595">
                  <c:v>363.17999300000002</c:v>
                </c:pt>
                <c:pt idx="1596">
                  <c:v>361.5</c:v>
                </c:pt>
                <c:pt idx="1597">
                  <c:v>367.19000199999999</c:v>
                </c:pt>
                <c:pt idx="1598">
                  <c:v>366.57998700000002</c:v>
                </c:pt>
                <c:pt idx="1599">
                  <c:v>358.459991</c:v>
                </c:pt>
                <c:pt idx="1600">
                  <c:v>362.01998900000001</c:v>
                </c:pt>
                <c:pt idx="1601">
                  <c:v>361.82998700000002</c:v>
                </c:pt>
                <c:pt idx="1602">
                  <c:v>365.26998900000001</c:v>
                </c:pt>
                <c:pt idx="1603">
                  <c:v>363.04998799999998</c:v>
                </c:pt>
                <c:pt idx="1604">
                  <c:v>376.040009</c:v>
                </c:pt>
                <c:pt idx="1605">
                  <c:v>376.67001299999998</c:v>
                </c:pt>
                <c:pt idx="1606">
                  <c:v>377.45001200000002</c:v>
                </c:pt>
                <c:pt idx="1607">
                  <c:v>381.47000100000002</c:v>
                </c:pt>
                <c:pt idx="1608">
                  <c:v>377.95001200000002</c:v>
                </c:pt>
                <c:pt idx="1609">
                  <c:v>378.01998900000001</c:v>
                </c:pt>
                <c:pt idx="1610">
                  <c:v>372.76998900000001</c:v>
                </c:pt>
                <c:pt idx="1611">
                  <c:v>370.38000499999998</c:v>
                </c:pt>
                <c:pt idx="1612">
                  <c:v>374.82998700000002</c:v>
                </c:pt>
                <c:pt idx="1613">
                  <c:v>368.77999899999998</c:v>
                </c:pt>
                <c:pt idx="1614">
                  <c:v>371.709991</c:v>
                </c:pt>
                <c:pt idx="1615">
                  <c:v>368.85000600000001</c:v>
                </c:pt>
                <c:pt idx="1616">
                  <c:v>364.64999399999999</c:v>
                </c:pt>
                <c:pt idx="1617">
                  <c:v>371.040009</c:v>
                </c:pt>
                <c:pt idx="1618">
                  <c:v>370.92999300000002</c:v>
                </c:pt>
                <c:pt idx="1619">
                  <c:v>369.35000600000001</c:v>
                </c:pt>
                <c:pt idx="1620">
                  <c:v>367.88000499999998</c:v>
                </c:pt>
                <c:pt idx="1621">
                  <c:v>366.209991</c:v>
                </c:pt>
                <c:pt idx="1622">
                  <c:v>366.98998999999998</c:v>
                </c:pt>
                <c:pt idx="1623">
                  <c:v>367.64999399999999</c:v>
                </c:pt>
                <c:pt idx="1624">
                  <c:v>372.98998999999998</c:v>
                </c:pt>
                <c:pt idx="1625">
                  <c:v>369.32998700000002</c:v>
                </c:pt>
                <c:pt idx="1626">
                  <c:v>376.41000400000001</c:v>
                </c:pt>
                <c:pt idx="1627">
                  <c:v>378.19000199999999</c:v>
                </c:pt>
                <c:pt idx="1628">
                  <c:v>376.95001200000002</c:v>
                </c:pt>
                <c:pt idx="1629">
                  <c:v>359.5</c:v>
                </c:pt>
                <c:pt idx="1630">
                  <c:v>362.22000100000002</c:v>
                </c:pt>
                <c:pt idx="1631">
                  <c:v>359.73001099999999</c:v>
                </c:pt>
                <c:pt idx="1632">
                  <c:v>363.790009</c:v>
                </c:pt>
                <c:pt idx="1633">
                  <c:v>360.58999599999999</c:v>
                </c:pt>
                <c:pt idx="1634">
                  <c:v>357.52999899999998</c:v>
                </c:pt>
                <c:pt idx="1635">
                  <c:v>355.44000199999999</c:v>
                </c:pt>
                <c:pt idx="1636">
                  <c:v>358.01001000000002</c:v>
                </c:pt>
                <c:pt idx="1637">
                  <c:v>361.459991</c:v>
                </c:pt>
                <c:pt idx="1638">
                  <c:v>360.70001200000002</c:v>
                </c:pt>
                <c:pt idx="1639">
                  <c:v>351.92999300000002</c:v>
                </c:pt>
                <c:pt idx="1640">
                  <c:v>341.02999899999998</c:v>
                </c:pt>
                <c:pt idx="1641">
                  <c:v>344.63000499999998</c:v>
                </c:pt>
                <c:pt idx="1642">
                  <c:v>349.61999500000002</c:v>
                </c:pt>
                <c:pt idx="1643">
                  <c:v>349.07998700000002</c:v>
                </c:pt>
                <c:pt idx="1644">
                  <c:v>350.80999800000001</c:v>
                </c:pt>
                <c:pt idx="1645">
                  <c:v>346.36999500000002</c:v>
                </c:pt>
                <c:pt idx="1646">
                  <c:v>349.64999399999999</c:v>
                </c:pt>
                <c:pt idx="1647">
                  <c:v>352.92001299999998</c:v>
                </c:pt>
                <c:pt idx="1648">
                  <c:v>361.54998799999998</c:v>
                </c:pt>
                <c:pt idx="1649">
                  <c:v>363.80999800000001</c:v>
                </c:pt>
                <c:pt idx="1650">
                  <c:v>364.54998799999998</c:v>
                </c:pt>
                <c:pt idx="1651">
                  <c:v>365.23001099999999</c:v>
                </c:pt>
                <c:pt idx="1652">
                  <c:v>351.44000199999999</c:v>
                </c:pt>
                <c:pt idx="1653">
                  <c:v>354.92001299999998</c:v>
                </c:pt>
                <c:pt idx="1654">
                  <c:v>353</c:v>
                </c:pt>
                <c:pt idx="1655">
                  <c:v>349.48998999999998</c:v>
                </c:pt>
                <c:pt idx="1656">
                  <c:v>351.01998900000001</c:v>
                </c:pt>
                <c:pt idx="1657">
                  <c:v>345.61999500000002</c:v>
                </c:pt>
                <c:pt idx="1658">
                  <c:v>345.92001299999998</c:v>
                </c:pt>
                <c:pt idx="1659">
                  <c:v>355.959991</c:v>
                </c:pt>
                <c:pt idx="1660">
                  <c:v>352.66000400000001</c:v>
                </c:pt>
                <c:pt idx="1661">
                  <c:v>358.60000600000001</c:v>
                </c:pt>
                <c:pt idx="1662">
                  <c:v>355.85000600000001</c:v>
                </c:pt>
                <c:pt idx="1663">
                  <c:v>356.57000699999998</c:v>
                </c:pt>
                <c:pt idx="1664">
                  <c:v>346.47000100000002</c:v>
                </c:pt>
                <c:pt idx="1665">
                  <c:v>356.38000499999998</c:v>
                </c:pt>
                <c:pt idx="1666">
                  <c:v>360.01998900000001</c:v>
                </c:pt>
                <c:pt idx="1667">
                  <c:v>355.72000100000002</c:v>
                </c:pt>
                <c:pt idx="1668">
                  <c:v>377.73998999999998</c:v>
                </c:pt>
                <c:pt idx="1669">
                  <c:v>380.36999500000002</c:v>
                </c:pt>
                <c:pt idx="1670">
                  <c:v>377.72000100000002</c:v>
                </c:pt>
                <c:pt idx="1671">
                  <c:v>375.54998799999998</c:v>
                </c:pt>
                <c:pt idx="1672">
                  <c:v>370.14001500000001</c:v>
                </c:pt>
                <c:pt idx="1673">
                  <c:v>383.51998900000001</c:v>
                </c:pt>
                <c:pt idx="1674">
                  <c:v>384.85998499999999</c:v>
                </c:pt>
                <c:pt idx="1675">
                  <c:v>387.92999300000002</c:v>
                </c:pt>
                <c:pt idx="1676">
                  <c:v>396.20001200000002</c:v>
                </c:pt>
                <c:pt idx="1677">
                  <c:v>399.23001099999999</c:v>
                </c:pt>
                <c:pt idx="1678">
                  <c:v>402.72000100000002</c:v>
                </c:pt>
                <c:pt idx="1679">
                  <c:v>397.01001000000002</c:v>
                </c:pt>
                <c:pt idx="1680">
                  <c:v>382.67001299999998</c:v>
                </c:pt>
                <c:pt idx="1681">
                  <c:v>382.33999599999999</c:v>
                </c:pt>
                <c:pt idx="1682">
                  <c:v>385.86999500000002</c:v>
                </c:pt>
                <c:pt idx="1683">
                  <c:v>368.17001299999998</c:v>
                </c:pt>
                <c:pt idx="1684">
                  <c:v>353.97000100000002</c:v>
                </c:pt>
                <c:pt idx="1685">
                  <c:v>347.60998499999999</c:v>
                </c:pt>
                <c:pt idx="1686">
                  <c:v>343.48998999999998</c:v>
                </c:pt>
                <c:pt idx="1687">
                  <c:v>347.14001500000001</c:v>
                </c:pt>
                <c:pt idx="1688">
                  <c:v>340.51001000000002</c:v>
                </c:pt>
                <c:pt idx="1689">
                  <c:v>342.70001200000002</c:v>
                </c:pt>
                <c:pt idx="1690">
                  <c:v>342.89999399999999</c:v>
                </c:pt>
                <c:pt idx="1691">
                  <c:v>346.27999899999998</c:v>
                </c:pt>
                <c:pt idx="1692">
                  <c:v>348.89001500000001</c:v>
                </c:pt>
                <c:pt idx="1693">
                  <c:v>358.16000400000001</c:v>
                </c:pt>
                <c:pt idx="1694">
                  <c:v>361.92999300000002</c:v>
                </c:pt>
                <c:pt idx="1695">
                  <c:v>368.07000699999998</c:v>
                </c:pt>
                <c:pt idx="1696">
                  <c:v>366.36999500000002</c:v>
                </c:pt>
                <c:pt idx="1697">
                  <c:v>371.60000600000001</c:v>
                </c:pt>
                <c:pt idx="1698">
                  <c:v>374.30999800000001</c:v>
                </c:pt>
                <c:pt idx="1699">
                  <c:v>370.94000199999999</c:v>
                </c:pt>
                <c:pt idx="1700">
                  <c:v>376.42999300000002</c:v>
                </c:pt>
                <c:pt idx="1701">
                  <c:v>374.76001000000002</c:v>
                </c:pt>
                <c:pt idx="1702">
                  <c:v>389.72000100000002</c:v>
                </c:pt>
                <c:pt idx="1703">
                  <c:v>381.88000499999998</c:v>
                </c:pt>
                <c:pt idx="1704">
                  <c:v>383.47000100000002</c:v>
                </c:pt>
                <c:pt idx="1705">
                  <c:v>389.98001099999999</c:v>
                </c:pt>
                <c:pt idx="1706">
                  <c:v>390.23001099999999</c:v>
                </c:pt>
                <c:pt idx="1707">
                  <c:v>392.73998999999998</c:v>
                </c:pt>
                <c:pt idx="1708">
                  <c:v>392.39999399999999</c:v>
                </c:pt>
                <c:pt idx="1709">
                  <c:v>395.23001099999999</c:v>
                </c:pt>
                <c:pt idx="1710">
                  <c:v>393.64999399999999</c:v>
                </c:pt>
                <c:pt idx="1711">
                  <c:v>378.76001000000002</c:v>
                </c:pt>
                <c:pt idx="1712">
                  <c:v>380.45001200000002</c:v>
                </c:pt>
                <c:pt idx="1713">
                  <c:v>382.23001099999999</c:v>
                </c:pt>
                <c:pt idx="1714">
                  <c:v>396.25</c:v>
                </c:pt>
                <c:pt idx="1715">
                  <c:v>396.95001200000002</c:v>
                </c:pt>
                <c:pt idx="1716">
                  <c:v>395.07000699999998</c:v>
                </c:pt>
                <c:pt idx="1717">
                  <c:v>399.20001200000002</c:v>
                </c:pt>
                <c:pt idx="1718">
                  <c:v>403.02999899999998</c:v>
                </c:pt>
                <c:pt idx="1719">
                  <c:v>411.85000600000001</c:v>
                </c:pt>
                <c:pt idx="1720">
                  <c:v>413.57998700000002</c:v>
                </c:pt>
                <c:pt idx="1721">
                  <c:v>412.57998700000002</c:v>
                </c:pt>
                <c:pt idx="1722">
                  <c:v>408.22000100000002</c:v>
                </c:pt>
                <c:pt idx="1723">
                  <c:v>417</c:v>
                </c:pt>
                <c:pt idx="1724">
                  <c:v>421.14999399999999</c:v>
                </c:pt>
                <c:pt idx="1725">
                  <c:v>426.02999899999998</c:v>
                </c:pt>
                <c:pt idx="1726">
                  <c:v>423.29998799999998</c:v>
                </c:pt>
                <c:pt idx="1727">
                  <c:v>417.64999399999999</c:v>
                </c:pt>
                <c:pt idx="1728">
                  <c:v>425.36999500000002</c:v>
                </c:pt>
                <c:pt idx="1729">
                  <c:v>425.47000100000002</c:v>
                </c:pt>
                <c:pt idx="1730">
                  <c:v>427.73998999999998</c:v>
                </c:pt>
                <c:pt idx="1731">
                  <c:v>428.35000600000001</c:v>
                </c:pt>
                <c:pt idx="1732">
                  <c:v>429.01001000000002</c:v>
                </c:pt>
                <c:pt idx="1733">
                  <c:v>428.47000100000002</c:v>
                </c:pt>
                <c:pt idx="1734">
                  <c:v>419.55999800000001</c:v>
                </c:pt>
                <c:pt idx="1735">
                  <c:v>409.17001299999998</c:v>
                </c:pt>
                <c:pt idx="1736">
                  <c:v>412.70001200000002</c:v>
                </c:pt>
                <c:pt idx="1737">
                  <c:v>406</c:v>
                </c:pt>
                <c:pt idx="1738">
                  <c:v>405.08999599999999</c:v>
                </c:pt>
                <c:pt idx="1739">
                  <c:v>404.58999599999999</c:v>
                </c:pt>
                <c:pt idx="1740">
                  <c:v>411.26998900000001</c:v>
                </c:pt>
                <c:pt idx="1741">
                  <c:v>410.47000100000002</c:v>
                </c:pt>
                <c:pt idx="1742">
                  <c:v>407.66000400000001</c:v>
                </c:pt>
                <c:pt idx="1743">
                  <c:v>402.05999800000001</c:v>
                </c:pt>
                <c:pt idx="1744">
                  <c:v>392.540009</c:v>
                </c:pt>
                <c:pt idx="1745">
                  <c:v>392.98001099999999</c:v>
                </c:pt>
                <c:pt idx="1746">
                  <c:v>400.20001200000002</c:v>
                </c:pt>
                <c:pt idx="1747">
                  <c:v>408.82998700000002</c:v>
                </c:pt>
                <c:pt idx="1748">
                  <c:v>397.22000100000002</c:v>
                </c:pt>
                <c:pt idx="1749">
                  <c:v>387.30999800000001</c:v>
                </c:pt>
                <c:pt idx="1750">
                  <c:v>388.36999500000002</c:v>
                </c:pt>
                <c:pt idx="1751">
                  <c:v>383.51001000000002</c:v>
                </c:pt>
                <c:pt idx="1752">
                  <c:v>392.790009</c:v>
                </c:pt>
                <c:pt idx="1753">
                  <c:v>396.33999599999999</c:v>
                </c:pt>
                <c:pt idx="1754">
                  <c:v>390.98001099999999</c:v>
                </c:pt>
                <c:pt idx="1755">
                  <c:v>394.89999399999999</c:v>
                </c:pt>
                <c:pt idx="1756">
                  <c:v>395.5</c:v>
                </c:pt>
                <c:pt idx="1757">
                  <c:v>392.790009</c:v>
                </c:pt>
                <c:pt idx="1758">
                  <c:v>394.36999500000002</c:v>
                </c:pt>
                <c:pt idx="1759">
                  <c:v>402.72000100000002</c:v>
                </c:pt>
                <c:pt idx="1760">
                  <c:v>409.41000400000001</c:v>
                </c:pt>
                <c:pt idx="1761">
                  <c:v>415.51998900000001</c:v>
                </c:pt>
                <c:pt idx="1762">
                  <c:v>410.39999399999999</c:v>
                </c:pt>
                <c:pt idx="1763">
                  <c:v>384.17001299999998</c:v>
                </c:pt>
                <c:pt idx="1764">
                  <c:v>387.76001000000002</c:v>
                </c:pt>
                <c:pt idx="1765">
                  <c:v>397.36999500000002</c:v>
                </c:pt>
                <c:pt idx="1766">
                  <c:v>381.459991</c:v>
                </c:pt>
                <c:pt idx="1767">
                  <c:v>377.91000400000001</c:v>
                </c:pt>
                <c:pt idx="1768">
                  <c:v>379.86999500000002</c:v>
                </c:pt>
                <c:pt idx="1769">
                  <c:v>383.26998900000001</c:v>
                </c:pt>
                <c:pt idx="1770">
                  <c:v>384.98001099999999</c:v>
                </c:pt>
                <c:pt idx="1771">
                  <c:v>383.709991</c:v>
                </c:pt>
                <c:pt idx="1772">
                  <c:v>389.10998499999999</c:v>
                </c:pt>
                <c:pt idx="1773">
                  <c:v>395.97000100000002</c:v>
                </c:pt>
                <c:pt idx="1774">
                  <c:v>394.11999500000002</c:v>
                </c:pt>
                <c:pt idx="1775">
                  <c:v>394.540009</c:v>
                </c:pt>
                <c:pt idx="1776">
                  <c:v>397.41000400000001</c:v>
                </c:pt>
                <c:pt idx="1777">
                  <c:v>392.73001099999999</c:v>
                </c:pt>
                <c:pt idx="1778">
                  <c:v>394.25</c:v>
                </c:pt>
                <c:pt idx="1779">
                  <c:v>404.540009</c:v>
                </c:pt>
                <c:pt idx="1780">
                  <c:v>401.07998700000002</c:v>
                </c:pt>
                <c:pt idx="1781">
                  <c:v>394.89999399999999</c:v>
                </c:pt>
                <c:pt idx="1782">
                  <c:v>400.39999399999999</c:v>
                </c:pt>
                <c:pt idx="1783">
                  <c:v>402.75</c:v>
                </c:pt>
                <c:pt idx="1784">
                  <c:v>397.14999399999999</c:v>
                </c:pt>
                <c:pt idx="1785">
                  <c:v>404.20001200000002</c:v>
                </c:pt>
                <c:pt idx="1786">
                  <c:v>410.08999599999999</c:v>
                </c:pt>
                <c:pt idx="1787">
                  <c:v>414.73001099999999</c:v>
                </c:pt>
                <c:pt idx="1788">
                  <c:v>423.14999399999999</c:v>
                </c:pt>
                <c:pt idx="1789">
                  <c:v>439.25</c:v>
                </c:pt>
                <c:pt idx="1790">
                  <c:v>439.5</c:v>
                </c:pt>
                <c:pt idx="1791">
                  <c:v>430.48001099999999</c:v>
                </c:pt>
                <c:pt idx="1792">
                  <c:v>424.25</c:v>
                </c:pt>
                <c:pt idx="1793">
                  <c:v>434.27999899999998</c:v>
                </c:pt>
                <c:pt idx="1794">
                  <c:v>431.97000100000002</c:v>
                </c:pt>
                <c:pt idx="1795">
                  <c:v>434.17001299999998</c:v>
                </c:pt>
                <c:pt idx="1796">
                  <c:v>427.35998499999999</c:v>
                </c:pt>
                <c:pt idx="1797">
                  <c:v>432.19000199999999</c:v>
                </c:pt>
                <c:pt idx="1798">
                  <c:v>432.22000100000002</c:v>
                </c:pt>
                <c:pt idx="1799">
                  <c:v>444.14001500000001</c:v>
                </c:pt>
                <c:pt idx="1800">
                  <c:v>444.57000699999998</c:v>
                </c:pt>
                <c:pt idx="1801">
                  <c:v>437.08999599999999</c:v>
                </c:pt>
                <c:pt idx="1802">
                  <c:v>423.33999599999999</c:v>
                </c:pt>
                <c:pt idx="1803">
                  <c:v>414.85000600000001</c:v>
                </c:pt>
                <c:pt idx="1804">
                  <c:v>417.709991</c:v>
                </c:pt>
                <c:pt idx="1805">
                  <c:v>412.42999300000002</c:v>
                </c:pt>
                <c:pt idx="1806">
                  <c:v>413.36999500000002</c:v>
                </c:pt>
                <c:pt idx="1807">
                  <c:v>403.94</c:v>
                </c:pt>
                <c:pt idx="1808">
                  <c:v>401.93</c:v>
                </c:pt>
                <c:pt idx="1809">
                  <c:v>396.92</c:v>
                </c:pt>
                <c:pt idx="1810">
                  <c:v>406.5</c:v>
                </c:pt>
                <c:pt idx="1811">
                  <c:v>413.57</c:v>
                </c:pt>
                <c:pt idx="1812">
                  <c:v>440.6</c:v>
                </c:pt>
                <c:pt idx="1813">
                  <c:v>444</c:v>
                </c:pt>
                <c:pt idx="1814">
                  <c:v>443.21</c:v>
                </c:pt>
                <c:pt idx="1815">
                  <c:v>447.85</c:v>
                </c:pt>
                <c:pt idx="1816">
                  <c:v>447.72</c:v>
                </c:pt>
                <c:pt idx="1817">
                  <c:v>450.71</c:v>
                </c:pt>
                <c:pt idx="1818">
                  <c:v>456.08</c:v>
                </c:pt>
                <c:pt idx="1819">
                  <c:v>464.55</c:v>
                </c:pt>
                <c:pt idx="1820">
                  <c:v>472.35</c:v>
                </c:pt>
                <c:pt idx="1821">
                  <c:v>467.99</c:v>
                </c:pt>
                <c:pt idx="1822">
                  <c:v>468.69</c:v>
                </c:pt>
                <c:pt idx="1823">
                  <c:v>472.06</c:v>
                </c:pt>
                <c:pt idx="1824">
                  <c:v>479.26</c:v>
                </c:pt>
                <c:pt idx="1825">
                  <c:v>479.46</c:v>
                </c:pt>
                <c:pt idx="1826">
                  <c:v>484.45</c:v>
                </c:pt>
                <c:pt idx="1827">
                  <c:v>482.7</c:v>
                </c:pt>
                <c:pt idx="1828">
                  <c:v>470.52</c:v>
                </c:pt>
                <c:pt idx="1829">
                  <c:v>477.62</c:v>
                </c:pt>
                <c:pt idx="1830">
                  <c:v>482.81</c:v>
                </c:pt>
                <c:pt idx="1831">
                  <c:v>485.4</c:v>
                </c:pt>
                <c:pt idx="1832">
                  <c:v>483.19</c:v>
                </c:pt>
                <c:pt idx="1833">
                  <c:v>478.81</c:v>
                </c:pt>
                <c:pt idx="1834">
                  <c:v>489.54</c:v>
                </c:pt>
                <c:pt idx="1835">
                  <c:v>482.59</c:v>
                </c:pt>
                <c:pt idx="1836">
                  <c:v>470.7</c:v>
                </c:pt>
                <c:pt idx="1837">
                  <c:v>474.65</c:v>
                </c:pt>
                <c:pt idx="1838">
                  <c:v>474.9</c:v>
                </c:pt>
                <c:pt idx="1839">
                  <c:v>471.74</c:v>
                </c:pt>
                <c:pt idx="1840">
                  <c:v>459.9</c:v>
                </c:pt>
                <c:pt idx="1841">
                  <c:v>462.49</c:v>
                </c:pt>
                <c:pt idx="1842">
                  <c:v>459.34</c:v>
                </c:pt>
                <c:pt idx="1843">
                  <c:v>462.63</c:v>
                </c:pt>
                <c:pt idx="1844">
                  <c:v>463.16</c:v>
                </c:pt>
                <c:pt idx="1845">
                  <c:v>463.42</c:v>
                </c:pt>
                <c:pt idx="1846">
                  <c:v>483.53</c:v>
                </c:pt>
                <c:pt idx="1847">
                  <c:v>485.41</c:v>
                </c:pt>
                <c:pt idx="1848">
                  <c:v>477.99</c:v>
                </c:pt>
                <c:pt idx="1849">
                  <c:v>486.48</c:v>
                </c:pt>
                <c:pt idx="1850">
                  <c:v>491.01</c:v>
                </c:pt>
                <c:pt idx="1851">
                  <c:v>481.29</c:v>
                </c:pt>
                <c:pt idx="1852">
                  <c:v>472.15</c:v>
                </c:pt>
                <c:pt idx="1853">
                  <c:v>482.47</c:v>
                </c:pt>
                <c:pt idx="1854">
                  <c:v>472.97</c:v>
                </c:pt>
                <c:pt idx="1855">
                  <c:v>467.66</c:v>
                </c:pt>
                <c:pt idx="1856">
                  <c:v>461.81</c:v>
                </c:pt>
                <c:pt idx="1857">
                  <c:v>463.24</c:v>
                </c:pt>
                <c:pt idx="1858">
                  <c:v>461.95</c:v>
                </c:pt>
                <c:pt idx="1859">
                  <c:v>475.9</c:v>
                </c:pt>
                <c:pt idx="1860">
                  <c:v>480.56</c:v>
                </c:pt>
                <c:pt idx="1861">
                  <c:v>481.34</c:v>
                </c:pt>
                <c:pt idx="1862">
                  <c:v>481.82</c:v>
                </c:pt>
                <c:pt idx="1863">
                  <c:v>476.9</c:v>
                </c:pt>
                <c:pt idx="1864">
                  <c:v>485.9</c:v>
                </c:pt>
                <c:pt idx="1865">
                  <c:v>489.65</c:v>
                </c:pt>
                <c:pt idx="1866">
                  <c:v>492.6</c:v>
                </c:pt>
                <c:pt idx="1867">
                  <c:v>501.5</c:v>
                </c:pt>
                <c:pt idx="1868">
                  <c:v>519.89</c:v>
                </c:pt>
                <c:pt idx="1869">
                  <c:v>502.47</c:v>
                </c:pt>
                <c:pt idx="1870">
                  <c:v>494.87</c:v>
                </c:pt>
                <c:pt idx="1871">
                  <c:v>494.38</c:v>
                </c:pt>
                <c:pt idx="1872">
                  <c:v>499.89</c:v>
                </c:pt>
                <c:pt idx="1873">
                  <c:v>504.1</c:v>
                </c:pt>
                <c:pt idx="1874">
                  <c:v>480.44</c:v>
                </c:pt>
                <c:pt idx="1875">
                  <c:v>490.64</c:v>
                </c:pt>
                <c:pt idx="1876">
                  <c:v>510.55</c:v>
                </c:pt>
                <c:pt idx="1877">
                  <c:v>503.67</c:v>
                </c:pt>
                <c:pt idx="1878">
                  <c:v>481.14</c:v>
                </c:pt>
                <c:pt idx="1879">
                  <c:v>489.49</c:v>
                </c:pt>
                <c:pt idx="1880">
                  <c:v>471.11</c:v>
                </c:pt>
                <c:pt idx="1881">
                  <c:v>467.39</c:v>
                </c:pt>
                <c:pt idx="1882">
                  <c:v>461.27</c:v>
                </c:pt>
                <c:pt idx="1883">
                  <c:v>463.34</c:v>
                </c:pt>
                <c:pt idx="1884">
                  <c:v>464.27</c:v>
                </c:pt>
                <c:pt idx="1885">
                  <c:v>471.12</c:v>
                </c:pt>
                <c:pt idx="1886">
                  <c:v>471.31</c:v>
                </c:pt>
                <c:pt idx="1887">
                  <c:v>467.1</c:v>
                </c:pt>
                <c:pt idx="1888">
                  <c:v>475.25</c:v>
                </c:pt>
                <c:pt idx="1889">
                  <c:v>475.07</c:v>
                </c:pt>
                <c:pt idx="1890">
                  <c:v>477.69</c:v>
                </c:pt>
                <c:pt idx="1891">
                  <c:v>473.05</c:v>
                </c:pt>
                <c:pt idx="1892">
                  <c:v>476.39</c:v>
                </c:pt>
                <c:pt idx="1893">
                  <c:v>471.75</c:v>
                </c:pt>
                <c:pt idx="1894">
                  <c:v>481.38</c:v>
                </c:pt>
                <c:pt idx="1895">
                  <c:v>478.62</c:v>
                </c:pt>
                <c:pt idx="1896">
                  <c:v>485.7</c:v>
                </c:pt>
                <c:pt idx="1897">
                  <c:v>482.02</c:v>
                </c:pt>
                <c:pt idx="1898">
                  <c:v>472.01</c:v>
                </c:pt>
                <c:pt idx="1899">
                  <c:v>472.51</c:v>
                </c:pt>
                <c:pt idx="1900">
                  <c:v>466.68</c:v>
                </c:pt>
                <c:pt idx="1901">
                  <c:v>475.42</c:v>
                </c:pt>
                <c:pt idx="1902">
                  <c:v>456.24</c:v>
                </c:pt>
                <c:pt idx="1903">
                  <c:v>453.71</c:v>
                </c:pt>
                <c:pt idx="1904">
                  <c:v>449.55</c:v>
                </c:pt>
                <c:pt idx="1905">
                  <c:v>448.66</c:v>
                </c:pt>
                <c:pt idx="1906">
                  <c:v>455.58</c:v>
                </c:pt>
                <c:pt idx="1907">
                  <c:v>455.15</c:v>
                </c:pt>
                <c:pt idx="1908">
                  <c:v>461.59</c:v>
                </c:pt>
                <c:pt idx="1909">
                  <c:v>470.97</c:v>
                </c:pt>
                <c:pt idx="1910">
                  <c:v>476.71</c:v>
                </c:pt>
                <c:pt idx="1911">
                  <c:v>487.33</c:v>
                </c:pt>
                <c:pt idx="1912">
                  <c:v>491.76</c:v>
                </c:pt>
                <c:pt idx="1913">
                  <c:v>486.54</c:v>
                </c:pt>
                <c:pt idx="1914">
                  <c:v>500.25</c:v>
                </c:pt>
                <c:pt idx="1915">
                  <c:v>489.61</c:v>
                </c:pt>
                <c:pt idx="1916">
                  <c:v>496.76</c:v>
                </c:pt>
                <c:pt idx="1917">
                  <c:v>494.64</c:v>
                </c:pt>
                <c:pt idx="1918">
                  <c:v>498.02</c:v>
                </c:pt>
                <c:pt idx="1919">
                  <c:v>500.68</c:v>
                </c:pt>
                <c:pt idx="1920">
                  <c:v>495.98</c:v>
                </c:pt>
                <c:pt idx="1921">
                  <c:v>491.88</c:v>
                </c:pt>
                <c:pt idx="1922">
                  <c:v>495.7</c:v>
                </c:pt>
                <c:pt idx="1923">
                  <c:v>492.05</c:v>
                </c:pt>
                <c:pt idx="1924">
                  <c:v>484.1</c:v>
                </c:pt>
                <c:pt idx="1925">
                  <c:v>480.69</c:v>
                </c:pt>
                <c:pt idx="1926">
                  <c:v>486.71</c:v>
                </c:pt>
                <c:pt idx="1927">
                  <c:v>495.37</c:v>
                </c:pt>
                <c:pt idx="1928">
                  <c:v>500.36</c:v>
                </c:pt>
                <c:pt idx="1929">
                  <c:v>484.29</c:v>
                </c:pt>
                <c:pt idx="1930">
                  <c:v>491.58</c:v>
                </c:pt>
                <c:pt idx="1931">
                  <c:v>497.09</c:v>
                </c:pt>
                <c:pt idx="1932">
                  <c:v>493</c:v>
                </c:pt>
                <c:pt idx="1933">
                  <c:v>494.61</c:v>
                </c:pt>
                <c:pt idx="1934">
                  <c:v>504.72</c:v>
                </c:pt>
                <c:pt idx="1935">
                  <c:v>502.73</c:v>
                </c:pt>
                <c:pt idx="1936">
                  <c:v>492.22</c:v>
                </c:pt>
                <c:pt idx="1937">
                  <c:v>484.77</c:v>
                </c:pt>
                <c:pt idx="1938">
                  <c:v>466.42</c:v>
                </c:pt>
                <c:pt idx="1939">
                  <c:v>478.26</c:v>
                </c:pt>
                <c:pt idx="1940">
                  <c:v>475.9</c:v>
                </c:pt>
                <c:pt idx="1941">
                  <c:v>479.91</c:v>
                </c:pt>
                <c:pt idx="1942">
                  <c:v>473.47</c:v>
                </c:pt>
                <c:pt idx="1943">
                  <c:v>474.42</c:v>
                </c:pt>
                <c:pt idx="1944">
                  <c:v>473.01</c:v>
                </c:pt>
                <c:pt idx="1945">
                  <c:v>474</c:v>
                </c:pt>
                <c:pt idx="1946">
                  <c:v>478.01</c:v>
                </c:pt>
                <c:pt idx="1947">
                  <c:v>487.9</c:v>
                </c:pt>
                <c:pt idx="1948">
                  <c:v>516.83000000000004</c:v>
                </c:pt>
                <c:pt idx="1949">
                  <c:v>524.97</c:v>
                </c:pt>
                <c:pt idx="1950">
                  <c:v>528.5</c:v>
                </c:pt>
                <c:pt idx="1951">
                  <c:v>536.86</c:v>
                </c:pt>
                <c:pt idx="1952">
                  <c:v>533.36</c:v>
                </c:pt>
                <c:pt idx="1953">
                  <c:v>543.05999999999995</c:v>
                </c:pt>
                <c:pt idx="1954">
                  <c:v>525.79</c:v>
                </c:pt>
                <c:pt idx="1955">
                  <c:v>520.74</c:v>
                </c:pt>
                <c:pt idx="1956">
                  <c:v>527.16999999999996</c:v>
                </c:pt>
                <c:pt idx="1957">
                  <c:v>533.14</c:v>
                </c:pt>
                <c:pt idx="1958">
                  <c:v>533.4</c:v>
                </c:pt>
                <c:pt idx="1959">
                  <c:v>546.24</c:v>
                </c:pt>
                <c:pt idx="1960">
                  <c:v>554.79</c:v>
                </c:pt>
                <c:pt idx="1961">
                  <c:v>568.78</c:v>
                </c:pt>
                <c:pt idx="1962">
                  <c:v>550.5</c:v>
                </c:pt>
                <c:pt idx="1963">
                  <c:v>554.66999999999996</c:v>
                </c:pt>
                <c:pt idx="1964">
                  <c:v>551.6</c:v>
                </c:pt>
                <c:pt idx="1965">
                  <c:v>543.16999999999996</c:v>
                </c:pt>
                <c:pt idx="1966">
                  <c:v>542.99</c:v>
                </c:pt>
                <c:pt idx="1967">
                  <c:v>537.5</c:v>
                </c:pt>
                <c:pt idx="1968">
                  <c:v>523.70000000000005</c:v>
                </c:pt>
                <c:pt idx="1969">
                  <c:v>526.80999999999995</c:v>
                </c:pt>
                <c:pt idx="1970">
                  <c:v>522.37</c:v>
                </c:pt>
                <c:pt idx="1971">
                  <c:v>517.47</c:v>
                </c:pt>
                <c:pt idx="1972">
                  <c:v>514.1</c:v>
                </c:pt>
                <c:pt idx="1973">
                  <c:v>511.46</c:v>
                </c:pt>
                <c:pt idx="1974">
                  <c:v>509.72</c:v>
                </c:pt>
                <c:pt idx="1975">
                  <c:v>509.75</c:v>
                </c:pt>
                <c:pt idx="1976">
                  <c:v>508.47</c:v>
                </c:pt>
                <c:pt idx="1977">
                  <c:v>487.89</c:v>
                </c:pt>
                <c:pt idx="1978">
                  <c:v>485.59</c:v>
                </c:pt>
                <c:pt idx="1979">
                  <c:v>484.33</c:v>
                </c:pt>
                <c:pt idx="1980">
                  <c:v>487.94</c:v>
                </c:pt>
                <c:pt idx="1981">
                  <c:v>491.35</c:v>
                </c:pt>
                <c:pt idx="1982">
                  <c:v>487.58</c:v>
                </c:pt>
                <c:pt idx="1983">
                  <c:v>479.95</c:v>
                </c:pt>
                <c:pt idx="1984">
                  <c:v>474.79</c:v>
                </c:pt>
                <c:pt idx="1985">
                  <c:v>473.89</c:v>
                </c:pt>
                <c:pt idx="1986">
                  <c:v>468.8</c:v>
                </c:pt>
                <c:pt idx="1987">
                  <c:v>475.74</c:v>
                </c:pt>
                <c:pt idx="1988">
                  <c:v>471.37</c:v>
                </c:pt>
                <c:pt idx="1989">
                  <c:v>465.36</c:v>
                </c:pt>
                <c:pt idx="1990">
                  <c:v>466.57</c:v>
                </c:pt>
                <c:pt idx="1991">
                  <c:v>463.86</c:v>
                </c:pt>
                <c:pt idx="1992">
                  <c:v>476.57</c:v>
                </c:pt>
                <c:pt idx="1993">
                  <c:v>482.3</c:v>
                </c:pt>
                <c:pt idx="1994">
                  <c:v>479.01</c:v>
                </c:pt>
                <c:pt idx="1995">
                  <c:v>491.1</c:v>
                </c:pt>
                <c:pt idx="1996">
                  <c:v>496.28</c:v>
                </c:pt>
                <c:pt idx="1997">
                  <c:v>504.98</c:v>
                </c:pt>
                <c:pt idx="1998">
                  <c:v>505.64</c:v>
                </c:pt>
                <c:pt idx="1999">
                  <c:v>498.16</c:v>
                </c:pt>
                <c:pt idx="2000">
                  <c:v>495.12</c:v>
                </c:pt>
                <c:pt idx="2001">
                  <c:v>489.55</c:v>
                </c:pt>
                <c:pt idx="2002">
                  <c:v>487.36</c:v>
                </c:pt>
                <c:pt idx="2003">
                  <c:v>481.82</c:v>
                </c:pt>
                <c:pt idx="2004">
                  <c:v>484.31</c:v>
                </c:pt>
                <c:pt idx="2005">
                  <c:v>478.59</c:v>
                </c:pt>
                <c:pt idx="2006">
                  <c:v>477.38</c:v>
                </c:pt>
                <c:pt idx="2007">
                  <c:v>474.01</c:v>
                </c:pt>
                <c:pt idx="2008">
                  <c:v>474.03</c:v>
                </c:pt>
                <c:pt idx="2009">
                  <c:v>473.39</c:v>
                </c:pt>
                <c:pt idx="2010">
                  <c:v>465.13</c:v>
                </c:pt>
                <c:pt idx="2011">
                  <c:v>467.94</c:v>
                </c:pt>
                <c:pt idx="2012">
                  <c:v>472</c:v>
                </c:pt>
                <c:pt idx="2013">
                  <c:v>470.73</c:v>
                </c:pt>
                <c:pt idx="2014">
                  <c:v>476.5</c:v>
                </c:pt>
                <c:pt idx="2015">
                  <c:v>483.69</c:v>
                </c:pt>
                <c:pt idx="2016">
                  <c:v>530.75</c:v>
                </c:pt>
                <c:pt idx="2017">
                  <c:v>511.67</c:v>
                </c:pt>
                <c:pt idx="2018">
                  <c:v>515.21</c:v>
                </c:pt>
                <c:pt idx="2019">
                  <c:v>498.68</c:v>
                </c:pt>
                <c:pt idx="2020">
                  <c:v>501.1</c:v>
                </c:pt>
                <c:pt idx="2021">
                  <c:v>498.54</c:v>
                </c:pt>
                <c:pt idx="2022">
                  <c:v>498.93</c:v>
                </c:pt>
                <c:pt idx="2023">
                  <c:v>499.85</c:v>
                </c:pt>
                <c:pt idx="2024">
                  <c:v>504.33</c:v>
                </c:pt>
                <c:pt idx="2025">
                  <c:v>493.93</c:v>
                </c:pt>
                <c:pt idx="2026">
                  <c:v>494.3</c:v>
                </c:pt>
                <c:pt idx="2027">
                  <c:v>501.67</c:v>
                </c:pt>
                <c:pt idx="2028">
                  <c:v>488.72</c:v>
                </c:pt>
                <c:pt idx="2029">
                  <c:v>512.94000000000005</c:v>
                </c:pt>
                <c:pt idx="2030">
                  <c:v>520.51</c:v>
                </c:pt>
                <c:pt idx="2031">
                  <c:v>505.49</c:v>
                </c:pt>
                <c:pt idx="2032">
                  <c:v>504.15</c:v>
                </c:pt>
                <c:pt idx="2033">
                  <c:v>491.52</c:v>
                </c:pt>
                <c:pt idx="2034">
                  <c:v>508.9</c:v>
                </c:pt>
                <c:pt idx="2035">
                  <c:v>510.75</c:v>
                </c:pt>
                <c:pt idx="2036">
                  <c:v>509.43</c:v>
                </c:pt>
                <c:pt idx="2037">
                  <c:v>508.08</c:v>
                </c:pt>
                <c:pt idx="2038">
                  <c:v>502.33</c:v>
                </c:pt>
                <c:pt idx="2039">
                  <c:v>497</c:v>
                </c:pt>
                <c:pt idx="2040">
                  <c:v>512.52</c:v>
                </c:pt>
                <c:pt idx="2041">
                  <c:v>517.94000000000005</c:v>
                </c:pt>
                <c:pt idx="2042">
                  <c:v>513.19000000000005</c:v>
                </c:pt>
                <c:pt idx="2043">
                  <c:v>514</c:v>
                </c:pt>
                <c:pt idx="2044">
                  <c:v>501.88</c:v>
                </c:pt>
                <c:pt idx="2045">
                  <c:v>508.3</c:v>
                </c:pt>
              </c:numCache>
            </c:numRef>
          </c:val>
          <c:smooth val="0"/>
          <c:extLst>
            <c:ext xmlns:c16="http://schemas.microsoft.com/office/drawing/2014/chart" uri="{C3380CC4-5D6E-409C-BE32-E72D297353CC}">
              <c16:uniqueId val="{00000000-5564-4F86-A3B0-593AB76CE5B4}"/>
            </c:ext>
          </c:extLst>
        </c:ser>
        <c:dLbls>
          <c:showLegendKey val="0"/>
          <c:showVal val="0"/>
          <c:showCatName val="0"/>
          <c:showSerName val="0"/>
          <c:showPercent val="0"/>
          <c:showBubbleSize val="0"/>
        </c:dLbls>
        <c:smooth val="0"/>
        <c:axId val="628550496"/>
        <c:axId val="1933987616"/>
      </c:lineChart>
      <c:dateAx>
        <c:axId val="628550496"/>
        <c:scaling>
          <c:orientation val="minMax"/>
          <c:min val="42767"/>
        </c:scaling>
        <c:delete val="0"/>
        <c:axPos val="b"/>
        <c:numFmt formatCode="[$-809]mmm\ yy;@" sourceLinked="0"/>
        <c:majorTickMark val="out"/>
        <c:minorTickMark val="none"/>
        <c:tickLblPos val="nextTo"/>
        <c:spPr>
          <a:noFill/>
          <a:ln w="9525" cap="flat" cmpd="sng" algn="ctr">
            <a:solidFill>
              <a:schemeClr val="tx1">
                <a:lumMod val="15000"/>
                <a:lumOff val="85000"/>
              </a:schemeClr>
            </a:solidFill>
            <a:round/>
          </a:ln>
          <a:effectLst/>
        </c:spPr>
        <c:txPr>
          <a:bodyPr rot="-2700000" spcFirstLastPara="1" vertOverflow="ellipsis"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933987616"/>
        <c:crosses val="autoZero"/>
        <c:auto val="1"/>
        <c:lblOffset val="100"/>
        <c:baseTimeUnit val="days"/>
        <c:majorUnit val="6"/>
        <c:majorTimeUnit val="months"/>
        <c:minorUnit val="3"/>
        <c:minorTimeUnit val="months"/>
      </c:dateAx>
      <c:valAx>
        <c:axId val="1933987616"/>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28550496"/>
        <c:crosses val="autoZero"/>
        <c:crossBetween val="between"/>
        <c:majorUnit val="10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832906900165143E-2"/>
          <c:y val="7.3794407691596037E-2"/>
          <c:w val="0.92260497359546978"/>
          <c:h val="0.69056626326897841"/>
        </c:manualLayout>
      </c:layout>
      <c:barChart>
        <c:barDir val="col"/>
        <c:grouping val="clustered"/>
        <c:varyColors val="0"/>
        <c:ser>
          <c:idx val="0"/>
          <c:order val="0"/>
          <c:tx>
            <c:strRef>
              <c:f>Sheet1!$B$1</c:f>
              <c:strCache>
                <c:ptCount val="1"/>
                <c:pt idx="0">
                  <c:v>Caledonia NAVTR</c:v>
                </c:pt>
              </c:strCache>
            </c:strRef>
          </c:tx>
          <c:spPr>
            <a:solidFill>
              <a:schemeClr val="accent1"/>
            </a:solidFill>
            <a:ln>
              <a:noFill/>
            </a:ln>
            <a:effectLst/>
          </c:spPr>
          <c:invertIfNegative val="0"/>
          <c:dLbls>
            <c:dLbl>
              <c:idx val="0"/>
              <c:layout>
                <c:manualLayout>
                  <c:x val="-1.4229251462112855E-3"/>
                  <c:y val="1.540578104992468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A816-4247-9DCA-59174F3661D0}"/>
                </c:ext>
              </c:extLst>
            </c:dLbl>
            <c:dLbl>
              <c:idx val="1"/>
              <c:layout>
                <c:manualLayout>
                  <c:x val="1.7047648398620773E-5"/>
                  <c:y val="9.9724081708517116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CE3-487F-B136-FE9D83E6FE00}"/>
                </c:ext>
              </c:extLst>
            </c:dLbl>
            <c:dLbl>
              <c:idx val="2"/>
              <c:layout>
                <c:manualLayout>
                  <c:x val="0"/>
                  <c:y val="1.394031436216165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5CE3-487F-B136-FE9D83E6FE00}"/>
                </c:ext>
              </c:extLst>
            </c:dLbl>
            <c:numFmt formatCode="\+0.0%;\-0.0%" sourceLinked="0"/>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Over 3 years</c:v>
                </c:pt>
                <c:pt idx="1">
                  <c:v>Over 5 years</c:v>
                </c:pt>
                <c:pt idx="2">
                  <c:v>Over 10 years</c:v>
                </c:pt>
              </c:strCache>
            </c:strRef>
          </c:cat>
          <c:val>
            <c:numRef>
              <c:f>Sheet1!$B$2:$B$4</c:f>
              <c:numCache>
                <c:formatCode>0.0%</c:formatCode>
                <c:ptCount val="3"/>
                <c:pt idx="0">
                  <c:v>5.3999999999999999E-2</c:v>
                </c:pt>
                <c:pt idx="1">
                  <c:v>0.13500000000000001</c:v>
                </c:pt>
                <c:pt idx="2">
                  <c:v>0.09</c:v>
                </c:pt>
              </c:numCache>
            </c:numRef>
          </c:val>
          <c:extLst>
            <c:ext xmlns:c16="http://schemas.microsoft.com/office/drawing/2014/chart" uri="{C3380CC4-5D6E-409C-BE32-E72D297353CC}">
              <c16:uniqueId val="{00000000-0463-4FCB-BB54-7DC0286418A6}"/>
            </c:ext>
          </c:extLst>
        </c:ser>
        <c:ser>
          <c:idx val="1"/>
          <c:order val="1"/>
          <c:tx>
            <c:strRef>
              <c:f>Sheet1!$C$1</c:f>
              <c:strCache>
                <c:ptCount val="1"/>
                <c:pt idx="0">
                  <c:v>Caledonia Share Price TR</c:v>
                </c:pt>
              </c:strCache>
            </c:strRef>
          </c:tx>
          <c:spPr>
            <a:solidFill>
              <a:schemeClr val="tx2"/>
            </a:solidFill>
            <a:ln>
              <a:noFill/>
            </a:ln>
            <a:effectLst/>
          </c:spPr>
          <c:invertIfNegative val="0"/>
          <c:dLbls>
            <c:dLbl>
              <c:idx val="0"/>
              <c:layout>
                <c:manualLayout>
                  <c:x val="0"/>
                  <c:y val="1.0767636331339578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EC78-4CB0-80C6-A860CD12D375}"/>
                </c:ext>
              </c:extLst>
            </c:dLbl>
            <c:dLbl>
              <c:idx val="1"/>
              <c:layout>
                <c:manualLayout>
                  <c:x val="5.8636869164246392E-3"/>
                  <c:y val="1.8543347410923977E-2"/>
                </c:manualLayout>
              </c:layout>
              <c:numFmt formatCode="\+0.0%;\-0.0%" sourceLinked="0"/>
              <c:spPr>
                <a:noFill/>
                <a:ln>
                  <a:noFill/>
                </a:ln>
                <a:effectLst/>
              </c:spPr>
              <c:txPr>
                <a:bodyPr rot="0" spcFirstLastPara="1" vertOverflow="ellipsis" vert="horz" wrap="square" lIns="38100" tIns="19050" rIns="38100" bIns="19050" anchor="ctr" anchorCtr="1">
                  <a:noAutofit/>
                </a:bodyPr>
                <a:lstStyle/>
                <a:p>
                  <a:pPr>
                    <a:defRPr sz="11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layout>
                    <c:manualLayout>
                      <c:w val="0.10421849334827051"/>
                      <c:h val="9.9376863504038015E-2"/>
                    </c:manualLayout>
                  </c15:layout>
                </c:ext>
                <c:ext xmlns:c16="http://schemas.microsoft.com/office/drawing/2014/chart" uri="{C3380CC4-5D6E-409C-BE32-E72D297353CC}">
                  <c16:uniqueId val="{00000000-EC78-4CB0-80C6-A860CD12D375}"/>
                </c:ext>
              </c:extLst>
            </c:dLbl>
            <c:dLbl>
              <c:idx val="2"/>
              <c:layout>
                <c:manualLayout>
                  <c:x val="-1.030964921934477E-16"/>
                  <c:y val="1.4706427290442381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CE3-487F-B136-FE9D83E6FE00}"/>
                </c:ext>
              </c:extLst>
            </c:dLbl>
            <c:numFmt formatCode="\+0.0%;\-0.0%" sourceLinked="0"/>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Over 3 years</c:v>
                </c:pt>
                <c:pt idx="1">
                  <c:v>Over 5 years</c:v>
                </c:pt>
                <c:pt idx="2">
                  <c:v>Over 10 years</c:v>
                </c:pt>
              </c:strCache>
            </c:strRef>
          </c:cat>
          <c:val>
            <c:numRef>
              <c:f>Sheet1!$C$2:$C$4</c:f>
              <c:numCache>
                <c:formatCode>0.0%</c:formatCode>
                <c:ptCount val="3"/>
                <c:pt idx="0">
                  <c:v>3.6999999999999998E-2</c:v>
                </c:pt>
                <c:pt idx="1">
                  <c:v>0.11</c:v>
                </c:pt>
                <c:pt idx="2">
                  <c:v>7.4999999999999997E-2</c:v>
                </c:pt>
              </c:numCache>
            </c:numRef>
          </c:val>
          <c:extLst>
            <c:ext xmlns:c16="http://schemas.microsoft.com/office/drawing/2014/chart" uri="{C3380CC4-5D6E-409C-BE32-E72D297353CC}">
              <c16:uniqueId val="{00000001-0463-4FCB-BB54-7DC0286418A6}"/>
            </c:ext>
          </c:extLst>
        </c:ser>
        <c:dLbls>
          <c:showLegendKey val="0"/>
          <c:showVal val="0"/>
          <c:showCatName val="0"/>
          <c:showSerName val="0"/>
          <c:showPercent val="0"/>
          <c:showBubbleSize val="0"/>
        </c:dLbls>
        <c:gapWidth val="219"/>
        <c:overlap val="-27"/>
        <c:axId val="819828000"/>
        <c:axId val="819834888"/>
      </c:barChart>
      <c:catAx>
        <c:axId val="819828000"/>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crossAx val="819834888"/>
        <c:crosses val="autoZero"/>
        <c:auto val="1"/>
        <c:lblAlgn val="ctr"/>
        <c:lblOffset val="100"/>
        <c:noMultiLvlLbl val="0"/>
      </c:catAx>
      <c:valAx>
        <c:axId val="819834888"/>
        <c:scaling>
          <c:orientation val="minMax"/>
          <c:max val="0.15000000000000002"/>
          <c:min val="0"/>
        </c:scaling>
        <c:delete val="0"/>
        <c:axPos val="l"/>
        <c:majorGridlines>
          <c:spPr>
            <a:ln w="6350" cap="flat" cmpd="sng" algn="ctr">
              <a:solidFill>
                <a:schemeClr val="bg1">
                  <a:lumMod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crossAx val="819828000"/>
        <c:crosses val="autoZero"/>
        <c:crossBetween val="between"/>
        <c:majorUnit val="5.000000000000001E-2"/>
      </c:valAx>
      <c:spPr>
        <a:noFill/>
        <a:ln>
          <a:noFill/>
        </a:ln>
        <a:effectLst/>
      </c:spPr>
    </c:plotArea>
    <c:legend>
      <c:legendPos val="b"/>
      <c:layout>
        <c:manualLayout>
          <c:xMode val="edge"/>
          <c:yMode val="edge"/>
          <c:x val="9.0843057047745743E-2"/>
          <c:y val="0.92672845271297033"/>
          <c:w val="0.82393293665007949"/>
          <c:h val="7.1336890255701099E-2"/>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560750373625392"/>
          <c:y val="0.1861857105716907"/>
          <c:w val="0.86699386912163301"/>
          <c:h val="0.66119104017942398"/>
        </c:manualLayout>
      </c:layout>
      <c:barChart>
        <c:barDir val="col"/>
        <c:grouping val="clustered"/>
        <c:varyColors val="0"/>
        <c:ser>
          <c:idx val="0"/>
          <c:order val="0"/>
          <c:tx>
            <c:strRef>
              <c:f>Sheet1!$B$1</c:f>
              <c:strCache>
                <c:ptCount val="1"/>
                <c:pt idx="0">
                  <c:v>Funds TR</c:v>
                </c:pt>
              </c:strCache>
            </c:strRef>
          </c:tx>
          <c:spPr>
            <a:solidFill>
              <a:schemeClr val="accent4"/>
            </a:solidFill>
            <a:ln>
              <a:noFill/>
            </a:ln>
            <a:effectLst/>
          </c:spPr>
          <c:invertIfNegative val="0"/>
          <c:dLbls>
            <c:dLbl>
              <c:idx val="0"/>
              <c:layout>
                <c:manualLayout>
                  <c:x val="0"/>
                  <c:y val="1.084324130950495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E75B-43DE-BD07-133E713E0538}"/>
                </c:ext>
              </c:extLst>
            </c:dLbl>
            <c:numFmt formatCode="\+0.0%;\-0.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Over 3 years</c:v>
                </c:pt>
                <c:pt idx="1">
                  <c:v>Over 5 years</c:v>
                </c:pt>
                <c:pt idx="2">
                  <c:v>Over 10 years</c:v>
                </c:pt>
              </c:strCache>
            </c:strRef>
          </c:cat>
          <c:val>
            <c:numRef>
              <c:f>Sheet1!$B$2:$B$4</c:f>
              <c:numCache>
                <c:formatCode>0.0%</c:formatCode>
                <c:ptCount val="3"/>
                <c:pt idx="0">
                  <c:v>5.8000000000000003E-2</c:v>
                </c:pt>
                <c:pt idx="1">
                  <c:v>0.17100000000000001</c:v>
                </c:pt>
                <c:pt idx="2">
                  <c:v>0.13300000000000001</c:v>
                </c:pt>
              </c:numCache>
            </c:numRef>
          </c:val>
          <c:extLst>
            <c:ext xmlns:c16="http://schemas.microsoft.com/office/drawing/2014/chart" uri="{C3380CC4-5D6E-409C-BE32-E72D297353CC}">
              <c16:uniqueId val="{00000001-E75B-43DE-BD07-133E713E0538}"/>
            </c:ext>
          </c:extLst>
        </c:ser>
        <c:dLbls>
          <c:showLegendKey val="0"/>
          <c:showVal val="0"/>
          <c:showCatName val="0"/>
          <c:showSerName val="0"/>
          <c:showPercent val="0"/>
          <c:showBubbleSize val="0"/>
        </c:dLbls>
        <c:gapWidth val="120"/>
        <c:overlap val="-35"/>
        <c:axId val="819828000"/>
        <c:axId val="819834888"/>
      </c:barChart>
      <c:catAx>
        <c:axId val="819828000"/>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819834888"/>
        <c:crosses val="autoZero"/>
        <c:auto val="1"/>
        <c:lblAlgn val="ctr"/>
        <c:lblOffset val="100"/>
        <c:noMultiLvlLbl val="0"/>
      </c:catAx>
      <c:valAx>
        <c:axId val="819834888"/>
        <c:scaling>
          <c:orientation val="minMax"/>
          <c:max val="0.2"/>
        </c:scaling>
        <c:delete val="0"/>
        <c:axPos val="l"/>
        <c:majorGridlines>
          <c:spPr>
            <a:ln w="6350" cap="flat" cmpd="sng" algn="ctr">
              <a:solidFill>
                <a:schemeClr val="bg1">
                  <a:lumMod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819828000"/>
        <c:crosses val="autoZero"/>
        <c:crossBetween val="between"/>
        <c:majorUnit val="5.000000000000001E-2"/>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1522EB5-C468-4341-8209-AB9D7AB20832}" type="doc">
      <dgm:prSet loTypeId="urn:microsoft.com/office/officeart/2008/layout/LinedList" loCatId="list" qsTypeId="urn:microsoft.com/office/officeart/2005/8/quickstyle/simple4" qsCatId="simple" csTypeId="urn:microsoft.com/office/officeart/2005/8/colors/accent3_2" csCatId="accent3" phldr="1"/>
      <dgm:spPr/>
      <dgm:t>
        <a:bodyPr/>
        <a:lstStyle/>
        <a:p>
          <a:endParaRPr lang="en-US"/>
        </a:p>
      </dgm:t>
    </dgm:pt>
    <dgm:pt modelId="{509CC779-884C-47E8-9AAD-2A9B55B5A638}">
      <dgm:prSet custT="1"/>
      <dgm:spPr/>
      <dgm:t>
        <a:bodyPr anchor="ctr"/>
        <a:lstStyle/>
        <a:p>
          <a:pPr>
            <a:lnSpc>
              <a:spcPct val="103000"/>
            </a:lnSpc>
            <a:spcBef>
              <a:spcPts val="600"/>
            </a:spcBef>
          </a:pPr>
          <a:r>
            <a:rPr lang="en-US" sz="2100" b="1" kern="1200">
              <a:solidFill>
                <a:schemeClr val="tx2"/>
              </a:solidFill>
            </a:rPr>
            <a:t>Self-managed investment company</a:t>
          </a:r>
        </a:p>
        <a:p>
          <a:pPr>
            <a:lnSpc>
              <a:spcPct val="103000"/>
            </a:lnSpc>
            <a:spcBef>
              <a:spcPts val="600"/>
            </a:spcBef>
          </a:pPr>
          <a:r>
            <a:rPr lang="en-US" sz="1800" b="0" kern="1200"/>
            <a:t>Net assets </a:t>
          </a:r>
          <a:r>
            <a:rPr lang="en-US" sz="1800" b="0" kern="1200">
              <a:solidFill>
                <a:srgbClr val="4D4E53">
                  <a:hueOff val="0"/>
                  <a:satOff val="0"/>
                  <a:lumOff val="0"/>
                  <a:alphaOff val="0"/>
                </a:srgbClr>
              </a:solidFill>
              <a:latin typeface="Cambria"/>
              <a:ea typeface="+mn-ea"/>
              <a:cs typeface="+mn-cs"/>
            </a:rPr>
            <a:t>of £2.9 billion</a:t>
          </a:r>
        </a:p>
      </dgm:t>
    </dgm:pt>
    <dgm:pt modelId="{FEE1AE84-27C4-4E80-8402-F035032851FA}" type="parTrans" cxnId="{031D4E68-440F-4609-8B24-59F107EE4A9C}">
      <dgm:prSet/>
      <dgm:spPr/>
      <dgm:t>
        <a:bodyPr/>
        <a:lstStyle/>
        <a:p>
          <a:pPr>
            <a:lnSpc>
              <a:spcPct val="103000"/>
            </a:lnSpc>
            <a:spcBef>
              <a:spcPts val="600"/>
            </a:spcBef>
          </a:pPr>
          <a:endParaRPr lang="en-US"/>
        </a:p>
      </dgm:t>
    </dgm:pt>
    <dgm:pt modelId="{3B081DE1-A97D-4F9A-B53C-E92930674CBF}" type="sibTrans" cxnId="{031D4E68-440F-4609-8B24-59F107EE4A9C}">
      <dgm:prSet/>
      <dgm:spPr/>
      <dgm:t>
        <a:bodyPr/>
        <a:lstStyle/>
        <a:p>
          <a:pPr>
            <a:lnSpc>
              <a:spcPct val="103000"/>
            </a:lnSpc>
            <a:spcBef>
              <a:spcPts val="600"/>
            </a:spcBef>
          </a:pPr>
          <a:endParaRPr lang="en-US"/>
        </a:p>
      </dgm:t>
    </dgm:pt>
    <dgm:pt modelId="{536EC4C2-35DD-4404-9C8A-1B1CB2F3CFF2}">
      <dgm:prSet custT="1"/>
      <dgm:spPr/>
      <dgm:t>
        <a:bodyPr/>
        <a:lstStyle/>
        <a:p>
          <a:pPr rtl="0">
            <a:lnSpc>
              <a:spcPct val="103000"/>
            </a:lnSpc>
            <a:spcBef>
              <a:spcPts val="600"/>
            </a:spcBef>
            <a:spcAft>
              <a:spcPts val="0"/>
            </a:spcAft>
          </a:pPr>
          <a:r>
            <a:rPr lang="en-US" sz="2100" b="1" dirty="0">
              <a:solidFill>
                <a:schemeClr val="tx2"/>
              </a:solidFill>
            </a:rPr>
            <a:t>Established by the </a:t>
          </a:r>
          <a:r>
            <a:rPr lang="en-US" sz="2100" b="1" dirty="0" err="1">
              <a:solidFill>
                <a:schemeClr val="tx2"/>
              </a:solidFill>
            </a:rPr>
            <a:t>Cayzer</a:t>
          </a:r>
          <a:r>
            <a:rPr lang="en-US" sz="2100" b="1" dirty="0">
              <a:solidFill>
                <a:schemeClr val="tx2"/>
              </a:solidFill>
            </a:rPr>
            <a:t> family</a:t>
          </a:r>
          <a:r>
            <a:rPr lang="en-US" sz="2100" b="1" dirty="0">
              <a:solidFill>
                <a:schemeClr val="tx2"/>
              </a:solidFill>
              <a:latin typeface="Cambria"/>
            </a:rPr>
            <a:t> </a:t>
          </a:r>
          <a:endParaRPr lang="en-US" sz="2100" b="1" dirty="0">
            <a:solidFill>
              <a:schemeClr val="tx2"/>
            </a:solidFill>
          </a:endParaRPr>
        </a:p>
        <a:p>
          <a:pPr>
            <a:lnSpc>
              <a:spcPct val="103000"/>
            </a:lnSpc>
            <a:spcBef>
              <a:spcPts val="0"/>
            </a:spcBef>
            <a:spcAft>
              <a:spcPct val="35000"/>
            </a:spcAft>
          </a:pPr>
          <a:r>
            <a:rPr lang="en-US" sz="1800" b="0" dirty="0"/>
            <a:t>History dates from late 1800s</a:t>
          </a:r>
        </a:p>
        <a:p>
          <a:pPr>
            <a:lnSpc>
              <a:spcPct val="103000"/>
            </a:lnSpc>
            <a:spcBef>
              <a:spcPts val="600"/>
            </a:spcBef>
            <a:spcAft>
              <a:spcPct val="35000"/>
            </a:spcAft>
          </a:pPr>
          <a:r>
            <a:rPr lang="en-US" sz="1800" b="0" dirty="0"/>
            <a:t>Objective of preserving and growing capital and income in real terms over the long-term</a:t>
          </a:r>
        </a:p>
      </dgm:t>
    </dgm:pt>
    <dgm:pt modelId="{C91DFC4A-A099-4012-89D9-AFE77EE92C01}" type="parTrans" cxnId="{F08581FC-CE9C-4630-9CD5-C777A635E175}">
      <dgm:prSet/>
      <dgm:spPr/>
      <dgm:t>
        <a:bodyPr/>
        <a:lstStyle/>
        <a:p>
          <a:pPr>
            <a:lnSpc>
              <a:spcPct val="103000"/>
            </a:lnSpc>
            <a:spcBef>
              <a:spcPts val="600"/>
            </a:spcBef>
          </a:pPr>
          <a:endParaRPr lang="en-US"/>
        </a:p>
      </dgm:t>
    </dgm:pt>
    <dgm:pt modelId="{0D0040F4-DEBC-4FC1-9EB8-20CA2FE11957}" type="sibTrans" cxnId="{F08581FC-CE9C-4630-9CD5-C777A635E175}">
      <dgm:prSet/>
      <dgm:spPr/>
      <dgm:t>
        <a:bodyPr/>
        <a:lstStyle/>
        <a:p>
          <a:pPr>
            <a:lnSpc>
              <a:spcPct val="103000"/>
            </a:lnSpc>
            <a:spcBef>
              <a:spcPts val="600"/>
            </a:spcBef>
          </a:pPr>
          <a:endParaRPr lang="en-US"/>
        </a:p>
      </dgm:t>
    </dgm:pt>
    <dgm:pt modelId="{A9125945-9031-4DC4-B3D6-77B0305E2013}">
      <dgm:prSet custT="1"/>
      <dgm:spPr/>
      <dgm:t>
        <a:bodyPr/>
        <a:lstStyle/>
        <a:p>
          <a:pPr>
            <a:lnSpc>
              <a:spcPct val="103000"/>
            </a:lnSpc>
            <a:spcBef>
              <a:spcPts val="600"/>
            </a:spcBef>
          </a:pPr>
          <a:r>
            <a:rPr lang="en-US" sz="2100" b="1" kern="1200">
              <a:solidFill>
                <a:schemeClr val="tx2"/>
              </a:solidFill>
              <a:latin typeface="Cambria"/>
              <a:ea typeface="+mn-ea"/>
              <a:cs typeface="+mn-cs"/>
            </a:rPr>
            <a:t>Targeting long-term compounding real returns</a:t>
          </a:r>
          <a:br>
            <a:rPr lang="en-US" sz="1800" b="1" kern="1200"/>
          </a:br>
          <a:r>
            <a:rPr lang="en-US" sz="1800" b="0" kern="1200">
              <a:solidFill>
                <a:srgbClr val="4D4E53">
                  <a:hueOff val="0"/>
                  <a:satOff val="0"/>
                  <a:lumOff val="0"/>
                  <a:alphaOff val="0"/>
                </a:srgbClr>
              </a:solidFill>
              <a:latin typeface="Cambria"/>
              <a:ea typeface="+mn-ea"/>
              <a:cs typeface="+mn-cs"/>
            </a:rPr>
            <a:t>CPIH +3% to +6%</a:t>
          </a:r>
        </a:p>
        <a:p>
          <a:pPr>
            <a:lnSpc>
              <a:spcPct val="103000"/>
            </a:lnSpc>
            <a:spcBef>
              <a:spcPts val="600"/>
            </a:spcBef>
          </a:pPr>
          <a:r>
            <a:rPr lang="en-US" sz="1800" b="0" kern="1200">
              <a:solidFill>
                <a:srgbClr val="4D4E53">
                  <a:hueOff val="0"/>
                  <a:satOff val="0"/>
                  <a:lumOff val="0"/>
                  <a:alphaOff val="0"/>
                </a:srgbClr>
              </a:solidFill>
              <a:latin typeface="Cambria"/>
              <a:ea typeface="+mn-ea"/>
              <a:cs typeface="+mn-cs"/>
            </a:rPr>
            <a:t>Progressive dividend policy</a:t>
          </a:r>
        </a:p>
      </dgm:t>
    </dgm:pt>
    <dgm:pt modelId="{109CE0A2-4077-43B5-B90E-BD152E62AD69}" type="sibTrans" cxnId="{1595047A-6AD3-4F62-A946-A551114409BC}">
      <dgm:prSet/>
      <dgm:spPr/>
      <dgm:t>
        <a:bodyPr/>
        <a:lstStyle/>
        <a:p>
          <a:pPr>
            <a:lnSpc>
              <a:spcPct val="103000"/>
            </a:lnSpc>
            <a:spcBef>
              <a:spcPts val="600"/>
            </a:spcBef>
          </a:pPr>
          <a:endParaRPr lang="en-US"/>
        </a:p>
      </dgm:t>
    </dgm:pt>
    <dgm:pt modelId="{A2BE2F2C-9086-45B8-82A9-485B584C8028}" type="parTrans" cxnId="{1595047A-6AD3-4F62-A946-A551114409BC}">
      <dgm:prSet/>
      <dgm:spPr/>
      <dgm:t>
        <a:bodyPr/>
        <a:lstStyle/>
        <a:p>
          <a:pPr>
            <a:lnSpc>
              <a:spcPct val="103000"/>
            </a:lnSpc>
            <a:spcBef>
              <a:spcPts val="600"/>
            </a:spcBef>
          </a:pPr>
          <a:endParaRPr lang="en-US"/>
        </a:p>
      </dgm:t>
    </dgm:pt>
    <dgm:pt modelId="{44674C53-ABCD-4BD7-B72F-DEAEAFB917EE}">
      <dgm:prSet custT="1"/>
      <dgm:spPr/>
      <dgm:t>
        <a:bodyPr/>
        <a:lstStyle/>
        <a:p>
          <a:pPr marL="0" lvl="0" algn="l" defTabSz="933450">
            <a:lnSpc>
              <a:spcPct val="103000"/>
            </a:lnSpc>
            <a:spcBef>
              <a:spcPts val="600"/>
            </a:spcBef>
            <a:spcAft>
              <a:spcPct val="35000"/>
            </a:spcAft>
            <a:buNone/>
          </a:pPr>
          <a:r>
            <a:rPr lang="en-US" sz="2100" b="1" kern="1200">
              <a:solidFill>
                <a:schemeClr val="tx2"/>
              </a:solidFill>
              <a:latin typeface="Cambria"/>
              <a:ea typeface="+mn-ea"/>
              <a:cs typeface="+mn-cs"/>
            </a:rPr>
            <a:t>Successful track record</a:t>
          </a:r>
          <a:br>
            <a:rPr lang="en-US" sz="1800" b="1" kern="1200">
              <a:solidFill>
                <a:schemeClr val="tx1"/>
              </a:solidFill>
            </a:rPr>
          </a:br>
          <a:r>
            <a:rPr lang="en-US" sz="1800" b="0" kern="1200">
              <a:solidFill>
                <a:schemeClr val="tx1"/>
              </a:solidFill>
            </a:rPr>
            <a:t>Strong c</a:t>
          </a:r>
          <a:r>
            <a:rPr lang="en-US" sz="1800" b="0" kern="1200">
              <a:solidFill>
                <a:srgbClr val="4D4E53">
                  <a:hueOff val="0"/>
                  <a:satOff val="0"/>
                  <a:lumOff val="0"/>
                  <a:alphaOff val="0"/>
                </a:srgbClr>
              </a:solidFill>
              <a:latin typeface="Cambria"/>
              <a:ea typeface="+mn-ea"/>
              <a:cs typeface="+mn-cs"/>
            </a:rPr>
            <a:t>onsistent long term NAV growth</a:t>
          </a:r>
        </a:p>
        <a:p>
          <a:pPr marL="0" lvl="0" algn="l" defTabSz="933450">
            <a:lnSpc>
              <a:spcPct val="103000"/>
            </a:lnSpc>
            <a:spcBef>
              <a:spcPts val="600"/>
            </a:spcBef>
            <a:spcAft>
              <a:spcPct val="35000"/>
            </a:spcAft>
            <a:buNone/>
          </a:pPr>
          <a:r>
            <a:rPr lang="en-US" sz="1800" b="0" kern="1200">
              <a:solidFill>
                <a:srgbClr val="4D4E53">
                  <a:hueOff val="0"/>
                  <a:satOff val="0"/>
                  <a:lumOff val="0"/>
                  <a:alphaOff val="0"/>
                </a:srgbClr>
              </a:solidFill>
              <a:latin typeface="Cambria"/>
              <a:ea typeface="+mn-ea"/>
              <a:cs typeface="+mn-cs"/>
            </a:rPr>
            <a:t>58 consecutive years of dividend increases</a:t>
          </a:r>
        </a:p>
      </dgm:t>
    </dgm:pt>
    <dgm:pt modelId="{148A5A2D-7F28-413B-90E3-1A8B1168D421}" type="parTrans" cxnId="{1FA0E004-7CEC-4478-A464-DE6EC430DB0E}">
      <dgm:prSet/>
      <dgm:spPr/>
      <dgm:t>
        <a:bodyPr/>
        <a:lstStyle/>
        <a:p>
          <a:pPr>
            <a:lnSpc>
              <a:spcPct val="103000"/>
            </a:lnSpc>
            <a:spcBef>
              <a:spcPts val="600"/>
            </a:spcBef>
          </a:pPr>
          <a:endParaRPr lang="en-GB"/>
        </a:p>
      </dgm:t>
    </dgm:pt>
    <dgm:pt modelId="{B36DC6B3-4910-4D0F-B75B-0AC59073B798}" type="sibTrans" cxnId="{1FA0E004-7CEC-4478-A464-DE6EC430DB0E}">
      <dgm:prSet/>
      <dgm:spPr/>
      <dgm:t>
        <a:bodyPr/>
        <a:lstStyle/>
        <a:p>
          <a:pPr>
            <a:lnSpc>
              <a:spcPct val="103000"/>
            </a:lnSpc>
            <a:spcBef>
              <a:spcPts val="600"/>
            </a:spcBef>
          </a:pPr>
          <a:endParaRPr lang="en-GB"/>
        </a:p>
      </dgm:t>
    </dgm:pt>
    <dgm:pt modelId="{1032659B-8CBB-F748-ACEC-379703F3DA5D}" type="pres">
      <dgm:prSet presAssocID="{C1522EB5-C468-4341-8209-AB9D7AB20832}" presName="vert0" presStyleCnt="0">
        <dgm:presLayoutVars>
          <dgm:dir/>
          <dgm:animOne val="branch"/>
          <dgm:animLvl val="lvl"/>
        </dgm:presLayoutVars>
      </dgm:prSet>
      <dgm:spPr/>
    </dgm:pt>
    <dgm:pt modelId="{944CA217-8C69-3545-9D14-E21427D6DB55}" type="pres">
      <dgm:prSet presAssocID="{509CC779-884C-47E8-9AAD-2A9B55B5A638}" presName="thickLine" presStyleLbl="alignNode1" presStyleIdx="0" presStyleCnt="4" custLinFactNeighborY="13286"/>
      <dgm:spPr/>
    </dgm:pt>
    <dgm:pt modelId="{5520CB58-F3F9-7148-917F-589ED4F0E2E8}" type="pres">
      <dgm:prSet presAssocID="{509CC779-884C-47E8-9AAD-2A9B55B5A638}" presName="horz1" presStyleCnt="0"/>
      <dgm:spPr/>
    </dgm:pt>
    <dgm:pt modelId="{8C077AFE-84E1-2A4F-B387-C4054E42A8AC}" type="pres">
      <dgm:prSet presAssocID="{509CC779-884C-47E8-9AAD-2A9B55B5A638}" presName="tx1" presStyleLbl="revTx" presStyleIdx="0" presStyleCnt="4" custLinFactNeighborY="-886"/>
      <dgm:spPr/>
    </dgm:pt>
    <dgm:pt modelId="{30FC2DBC-2663-5F47-9EC7-18AF47C61B2B}" type="pres">
      <dgm:prSet presAssocID="{509CC779-884C-47E8-9AAD-2A9B55B5A638}" presName="vert1" presStyleCnt="0"/>
      <dgm:spPr/>
    </dgm:pt>
    <dgm:pt modelId="{76B71D2B-BD2E-7447-9FDF-1F3526A81357}" type="pres">
      <dgm:prSet presAssocID="{A9125945-9031-4DC4-B3D6-77B0305E2013}" presName="thickLine" presStyleLbl="alignNode1" presStyleIdx="1" presStyleCnt="4"/>
      <dgm:spPr/>
    </dgm:pt>
    <dgm:pt modelId="{01AF91E8-345F-4343-BA2F-51C0B61DAC65}" type="pres">
      <dgm:prSet presAssocID="{A9125945-9031-4DC4-B3D6-77B0305E2013}" presName="horz1" presStyleCnt="0"/>
      <dgm:spPr/>
    </dgm:pt>
    <dgm:pt modelId="{B07DAED8-EBCD-E141-88F3-F1231E87D146}" type="pres">
      <dgm:prSet presAssocID="{A9125945-9031-4DC4-B3D6-77B0305E2013}" presName="tx1" presStyleLbl="revTx" presStyleIdx="1" presStyleCnt="4"/>
      <dgm:spPr/>
    </dgm:pt>
    <dgm:pt modelId="{F36E59A5-4533-D34B-B276-123D25103B3A}" type="pres">
      <dgm:prSet presAssocID="{A9125945-9031-4DC4-B3D6-77B0305E2013}" presName="vert1" presStyleCnt="0"/>
      <dgm:spPr/>
    </dgm:pt>
    <dgm:pt modelId="{D8EF169E-A225-4F8F-91B5-B7E453CF9205}" type="pres">
      <dgm:prSet presAssocID="{44674C53-ABCD-4BD7-B72F-DEAEAFB917EE}" presName="thickLine" presStyleLbl="alignNode1" presStyleIdx="2" presStyleCnt="4"/>
      <dgm:spPr/>
    </dgm:pt>
    <dgm:pt modelId="{55E39B34-D5E3-4DAF-A363-6E8AE5632E81}" type="pres">
      <dgm:prSet presAssocID="{44674C53-ABCD-4BD7-B72F-DEAEAFB917EE}" presName="horz1" presStyleCnt="0"/>
      <dgm:spPr/>
    </dgm:pt>
    <dgm:pt modelId="{3FD81951-AF78-4113-9B8F-E795E7D6AD62}" type="pres">
      <dgm:prSet presAssocID="{44674C53-ABCD-4BD7-B72F-DEAEAFB917EE}" presName="tx1" presStyleLbl="revTx" presStyleIdx="2" presStyleCnt="4"/>
      <dgm:spPr/>
    </dgm:pt>
    <dgm:pt modelId="{5B1E8F19-9992-4C96-BC07-2324226A6A4D}" type="pres">
      <dgm:prSet presAssocID="{44674C53-ABCD-4BD7-B72F-DEAEAFB917EE}" presName="vert1" presStyleCnt="0"/>
      <dgm:spPr/>
    </dgm:pt>
    <dgm:pt modelId="{69590A29-EDF8-544D-9EF9-A7FDAA013B5F}" type="pres">
      <dgm:prSet presAssocID="{536EC4C2-35DD-4404-9C8A-1B1CB2F3CFF2}" presName="thickLine" presStyleLbl="alignNode1" presStyleIdx="3" presStyleCnt="4"/>
      <dgm:spPr/>
    </dgm:pt>
    <dgm:pt modelId="{446AC12E-780B-0849-8BF5-C3C7289C36EE}" type="pres">
      <dgm:prSet presAssocID="{536EC4C2-35DD-4404-9C8A-1B1CB2F3CFF2}" presName="horz1" presStyleCnt="0"/>
      <dgm:spPr/>
    </dgm:pt>
    <dgm:pt modelId="{99E6EF4E-20D0-824F-91FF-95F8CA907510}" type="pres">
      <dgm:prSet presAssocID="{536EC4C2-35DD-4404-9C8A-1B1CB2F3CFF2}" presName="tx1" presStyleLbl="revTx" presStyleIdx="3" presStyleCnt="4"/>
      <dgm:spPr/>
    </dgm:pt>
    <dgm:pt modelId="{77EDB895-825C-334C-A789-20F82866CB58}" type="pres">
      <dgm:prSet presAssocID="{536EC4C2-35DD-4404-9C8A-1B1CB2F3CFF2}" presName="vert1" presStyleCnt="0"/>
      <dgm:spPr/>
    </dgm:pt>
  </dgm:ptLst>
  <dgm:cxnLst>
    <dgm:cxn modelId="{1FA0E004-7CEC-4478-A464-DE6EC430DB0E}" srcId="{C1522EB5-C468-4341-8209-AB9D7AB20832}" destId="{44674C53-ABCD-4BD7-B72F-DEAEAFB917EE}" srcOrd="2" destOrd="0" parTransId="{148A5A2D-7F28-413B-90E3-1A8B1168D421}" sibTransId="{B36DC6B3-4910-4D0F-B75B-0AC59073B798}"/>
    <dgm:cxn modelId="{E4483C07-30D1-CB4F-95AB-B6C92B05AFA4}" type="presOf" srcId="{509CC779-884C-47E8-9AAD-2A9B55B5A638}" destId="{8C077AFE-84E1-2A4F-B387-C4054E42A8AC}" srcOrd="0" destOrd="0" presId="urn:microsoft.com/office/officeart/2008/layout/LinedList"/>
    <dgm:cxn modelId="{031D4E68-440F-4609-8B24-59F107EE4A9C}" srcId="{C1522EB5-C468-4341-8209-AB9D7AB20832}" destId="{509CC779-884C-47E8-9AAD-2A9B55B5A638}" srcOrd="0" destOrd="0" parTransId="{FEE1AE84-27C4-4E80-8402-F035032851FA}" sibTransId="{3B081DE1-A97D-4F9A-B53C-E92930674CBF}"/>
    <dgm:cxn modelId="{1595047A-6AD3-4F62-A946-A551114409BC}" srcId="{C1522EB5-C468-4341-8209-AB9D7AB20832}" destId="{A9125945-9031-4DC4-B3D6-77B0305E2013}" srcOrd="1" destOrd="0" parTransId="{A2BE2F2C-9086-45B8-82A9-485B584C8028}" sibTransId="{109CE0A2-4077-43B5-B90E-BD152E62AD69}"/>
    <dgm:cxn modelId="{0926C1C0-3C6B-8746-ABB5-082258D568C5}" type="presOf" srcId="{C1522EB5-C468-4341-8209-AB9D7AB20832}" destId="{1032659B-8CBB-F748-ACEC-379703F3DA5D}" srcOrd="0" destOrd="0" presId="urn:microsoft.com/office/officeart/2008/layout/LinedList"/>
    <dgm:cxn modelId="{7D9AF2D8-A739-7A4B-8A87-CAF9526CF5BA}" type="presOf" srcId="{A9125945-9031-4DC4-B3D6-77B0305E2013}" destId="{B07DAED8-EBCD-E141-88F3-F1231E87D146}" srcOrd="0" destOrd="0" presId="urn:microsoft.com/office/officeart/2008/layout/LinedList"/>
    <dgm:cxn modelId="{FCFDF7E1-7924-5545-8FD3-12D2C6026892}" type="presOf" srcId="{536EC4C2-35DD-4404-9C8A-1B1CB2F3CFF2}" destId="{99E6EF4E-20D0-824F-91FF-95F8CA907510}" srcOrd="0" destOrd="0" presId="urn:microsoft.com/office/officeart/2008/layout/LinedList"/>
    <dgm:cxn modelId="{B9ED2AF0-8057-425B-9FBF-D2F98D6CEB44}" type="presOf" srcId="{44674C53-ABCD-4BD7-B72F-DEAEAFB917EE}" destId="{3FD81951-AF78-4113-9B8F-E795E7D6AD62}" srcOrd="0" destOrd="0" presId="urn:microsoft.com/office/officeart/2008/layout/LinedList"/>
    <dgm:cxn modelId="{F08581FC-CE9C-4630-9CD5-C777A635E175}" srcId="{C1522EB5-C468-4341-8209-AB9D7AB20832}" destId="{536EC4C2-35DD-4404-9C8A-1B1CB2F3CFF2}" srcOrd="3" destOrd="0" parTransId="{C91DFC4A-A099-4012-89D9-AFE77EE92C01}" sibTransId="{0D0040F4-DEBC-4FC1-9EB8-20CA2FE11957}"/>
    <dgm:cxn modelId="{86E58688-C7FA-384D-B738-C0410BFC15A1}" type="presParOf" srcId="{1032659B-8CBB-F748-ACEC-379703F3DA5D}" destId="{944CA217-8C69-3545-9D14-E21427D6DB55}" srcOrd="0" destOrd="0" presId="urn:microsoft.com/office/officeart/2008/layout/LinedList"/>
    <dgm:cxn modelId="{F0AF7803-F8F4-1A4C-A4D5-5AEE353E66C6}" type="presParOf" srcId="{1032659B-8CBB-F748-ACEC-379703F3DA5D}" destId="{5520CB58-F3F9-7148-917F-589ED4F0E2E8}" srcOrd="1" destOrd="0" presId="urn:microsoft.com/office/officeart/2008/layout/LinedList"/>
    <dgm:cxn modelId="{156790EF-ADCE-E845-B296-905BF6BD7FA0}" type="presParOf" srcId="{5520CB58-F3F9-7148-917F-589ED4F0E2E8}" destId="{8C077AFE-84E1-2A4F-B387-C4054E42A8AC}" srcOrd="0" destOrd="0" presId="urn:microsoft.com/office/officeart/2008/layout/LinedList"/>
    <dgm:cxn modelId="{CC5DF333-B7A9-214A-8DDE-DCA462C3E047}" type="presParOf" srcId="{5520CB58-F3F9-7148-917F-589ED4F0E2E8}" destId="{30FC2DBC-2663-5F47-9EC7-18AF47C61B2B}" srcOrd="1" destOrd="0" presId="urn:microsoft.com/office/officeart/2008/layout/LinedList"/>
    <dgm:cxn modelId="{F2D4472B-EDD5-E54C-AFB3-77FA6CAC5A33}" type="presParOf" srcId="{1032659B-8CBB-F748-ACEC-379703F3DA5D}" destId="{76B71D2B-BD2E-7447-9FDF-1F3526A81357}" srcOrd="2" destOrd="0" presId="urn:microsoft.com/office/officeart/2008/layout/LinedList"/>
    <dgm:cxn modelId="{A1E646D5-5205-304A-B3B0-EA3BDB57E8F2}" type="presParOf" srcId="{1032659B-8CBB-F748-ACEC-379703F3DA5D}" destId="{01AF91E8-345F-4343-BA2F-51C0B61DAC65}" srcOrd="3" destOrd="0" presId="urn:microsoft.com/office/officeart/2008/layout/LinedList"/>
    <dgm:cxn modelId="{225D6937-3C6F-334D-B1FE-7221B4721B40}" type="presParOf" srcId="{01AF91E8-345F-4343-BA2F-51C0B61DAC65}" destId="{B07DAED8-EBCD-E141-88F3-F1231E87D146}" srcOrd="0" destOrd="0" presId="urn:microsoft.com/office/officeart/2008/layout/LinedList"/>
    <dgm:cxn modelId="{AD8A5E95-F1FA-5E4D-AA95-08F27F316C51}" type="presParOf" srcId="{01AF91E8-345F-4343-BA2F-51C0B61DAC65}" destId="{F36E59A5-4533-D34B-B276-123D25103B3A}" srcOrd="1" destOrd="0" presId="urn:microsoft.com/office/officeart/2008/layout/LinedList"/>
    <dgm:cxn modelId="{82B5A993-10A9-4B67-A555-B2B4AF0822E0}" type="presParOf" srcId="{1032659B-8CBB-F748-ACEC-379703F3DA5D}" destId="{D8EF169E-A225-4F8F-91B5-B7E453CF9205}" srcOrd="4" destOrd="0" presId="urn:microsoft.com/office/officeart/2008/layout/LinedList"/>
    <dgm:cxn modelId="{0FAD9979-EEEE-46FA-8B02-985A71BC8942}" type="presParOf" srcId="{1032659B-8CBB-F748-ACEC-379703F3DA5D}" destId="{55E39B34-D5E3-4DAF-A363-6E8AE5632E81}" srcOrd="5" destOrd="0" presId="urn:microsoft.com/office/officeart/2008/layout/LinedList"/>
    <dgm:cxn modelId="{29FACF45-F31E-4537-B045-5052B3727FBF}" type="presParOf" srcId="{55E39B34-D5E3-4DAF-A363-6E8AE5632E81}" destId="{3FD81951-AF78-4113-9B8F-E795E7D6AD62}" srcOrd="0" destOrd="0" presId="urn:microsoft.com/office/officeart/2008/layout/LinedList"/>
    <dgm:cxn modelId="{111011CF-0CAD-47DB-B28E-2D2D5B933DCA}" type="presParOf" srcId="{55E39B34-D5E3-4DAF-A363-6E8AE5632E81}" destId="{5B1E8F19-9992-4C96-BC07-2324226A6A4D}" srcOrd="1" destOrd="0" presId="urn:microsoft.com/office/officeart/2008/layout/LinedList"/>
    <dgm:cxn modelId="{1709BDA1-2116-F444-8485-6E3D8A5B460D}" type="presParOf" srcId="{1032659B-8CBB-F748-ACEC-379703F3DA5D}" destId="{69590A29-EDF8-544D-9EF9-A7FDAA013B5F}" srcOrd="6" destOrd="0" presId="urn:microsoft.com/office/officeart/2008/layout/LinedList"/>
    <dgm:cxn modelId="{A4268AA3-2726-A44F-BC60-C8E7B0C9BA37}" type="presParOf" srcId="{1032659B-8CBB-F748-ACEC-379703F3DA5D}" destId="{446AC12E-780B-0849-8BF5-C3C7289C36EE}" srcOrd="7" destOrd="0" presId="urn:microsoft.com/office/officeart/2008/layout/LinedList"/>
    <dgm:cxn modelId="{B2D9EFFC-79E4-4141-875A-FC12A1562F78}" type="presParOf" srcId="{446AC12E-780B-0849-8BF5-C3C7289C36EE}" destId="{99E6EF4E-20D0-824F-91FF-95F8CA907510}" srcOrd="0" destOrd="0" presId="urn:microsoft.com/office/officeart/2008/layout/LinedList"/>
    <dgm:cxn modelId="{F45A3C50-35E2-A740-B671-0F0AF22F29B3}" type="presParOf" srcId="{446AC12E-780B-0849-8BF5-C3C7289C36EE}" destId="{77EDB895-825C-334C-A789-20F82866CB58}" srcOrd="1" destOrd="0" presId="urn:microsoft.com/office/officeart/2008/layout/LinedList"/>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44CA217-8C69-3545-9D14-E21427D6DB55}">
      <dsp:nvSpPr>
        <dsp:cNvPr id="0" name=""/>
        <dsp:cNvSpPr/>
      </dsp:nvSpPr>
      <dsp:spPr>
        <a:xfrm>
          <a:off x="0" y="145392"/>
          <a:ext cx="6012965" cy="0"/>
        </a:xfrm>
        <a:prstGeom prst="line">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w="6350" cap="flat" cmpd="sng" algn="ctr">
          <a:solidFill>
            <a:schemeClr val="accent3">
              <a:hueOff val="0"/>
              <a:satOff val="0"/>
              <a:lumOff val="0"/>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sp>
    <dsp:sp modelId="{8C077AFE-84E1-2A4F-B387-C4054E42A8AC}">
      <dsp:nvSpPr>
        <dsp:cNvPr id="0" name=""/>
        <dsp:cNvSpPr/>
      </dsp:nvSpPr>
      <dsp:spPr>
        <a:xfrm>
          <a:off x="0" y="0"/>
          <a:ext cx="6012965" cy="109432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0010" tIns="80010" rIns="80010" bIns="80010" numCol="1" spcCol="1270" anchor="ctr" anchorCtr="0">
          <a:noAutofit/>
        </a:bodyPr>
        <a:lstStyle/>
        <a:p>
          <a:pPr marL="0" lvl="0" indent="0" algn="l" defTabSz="933450">
            <a:lnSpc>
              <a:spcPct val="103000"/>
            </a:lnSpc>
            <a:spcBef>
              <a:spcPts val="600"/>
            </a:spcBef>
            <a:spcAft>
              <a:spcPct val="35000"/>
            </a:spcAft>
            <a:buNone/>
          </a:pPr>
          <a:r>
            <a:rPr lang="en-US" sz="2100" b="1" kern="1200">
              <a:solidFill>
                <a:schemeClr val="tx2"/>
              </a:solidFill>
            </a:rPr>
            <a:t>Self-managed investment company</a:t>
          </a:r>
        </a:p>
        <a:p>
          <a:pPr marL="0" lvl="0" indent="0" algn="l" defTabSz="933450">
            <a:lnSpc>
              <a:spcPct val="103000"/>
            </a:lnSpc>
            <a:spcBef>
              <a:spcPts val="600"/>
            </a:spcBef>
            <a:spcAft>
              <a:spcPct val="35000"/>
            </a:spcAft>
            <a:buNone/>
          </a:pPr>
          <a:r>
            <a:rPr lang="en-US" sz="1800" b="0" kern="1200"/>
            <a:t>Net assets </a:t>
          </a:r>
          <a:r>
            <a:rPr lang="en-US" sz="1800" b="0" kern="1200">
              <a:solidFill>
                <a:srgbClr val="4D4E53">
                  <a:hueOff val="0"/>
                  <a:satOff val="0"/>
                  <a:lumOff val="0"/>
                  <a:alphaOff val="0"/>
                </a:srgbClr>
              </a:solidFill>
              <a:latin typeface="Cambria"/>
              <a:ea typeface="+mn-ea"/>
              <a:cs typeface="+mn-cs"/>
            </a:rPr>
            <a:t>of £2.9 billion</a:t>
          </a:r>
        </a:p>
      </dsp:txBody>
      <dsp:txXfrm>
        <a:off x="0" y="0"/>
        <a:ext cx="6012965" cy="1094328"/>
      </dsp:txXfrm>
    </dsp:sp>
    <dsp:sp modelId="{76B71D2B-BD2E-7447-9FDF-1F3526A81357}">
      <dsp:nvSpPr>
        <dsp:cNvPr id="0" name=""/>
        <dsp:cNvSpPr/>
      </dsp:nvSpPr>
      <dsp:spPr>
        <a:xfrm>
          <a:off x="0" y="1094327"/>
          <a:ext cx="6012965" cy="0"/>
        </a:xfrm>
        <a:prstGeom prst="line">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w="6350" cap="flat" cmpd="sng" algn="ctr">
          <a:solidFill>
            <a:schemeClr val="accent3">
              <a:hueOff val="0"/>
              <a:satOff val="0"/>
              <a:lumOff val="0"/>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sp>
    <dsp:sp modelId="{B07DAED8-EBCD-E141-88F3-F1231E87D146}">
      <dsp:nvSpPr>
        <dsp:cNvPr id="0" name=""/>
        <dsp:cNvSpPr/>
      </dsp:nvSpPr>
      <dsp:spPr>
        <a:xfrm>
          <a:off x="0" y="1094328"/>
          <a:ext cx="6012965" cy="109432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0010" tIns="80010" rIns="80010" bIns="80010" numCol="1" spcCol="1270" anchor="t" anchorCtr="0">
          <a:noAutofit/>
        </a:bodyPr>
        <a:lstStyle/>
        <a:p>
          <a:pPr marL="0" lvl="0" indent="0" algn="l" defTabSz="933450">
            <a:lnSpc>
              <a:spcPct val="103000"/>
            </a:lnSpc>
            <a:spcBef>
              <a:spcPts val="600"/>
            </a:spcBef>
            <a:spcAft>
              <a:spcPct val="35000"/>
            </a:spcAft>
            <a:buNone/>
          </a:pPr>
          <a:r>
            <a:rPr lang="en-US" sz="2100" b="1" kern="1200">
              <a:solidFill>
                <a:schemeClr val="tx2"/>
              </a:solidFill>
              <a:latin typeface="Cambria"/>
              <a:ea typeface="+mn-ea"/>
              <a:cs typeface="+mn-cs"/>
            </a:rPr>
            <a:t>Targeting long-term compounding real returns</a:t>
          </a:r>
          <a:br>
            <a:rPr lang="en-US" sz="1800" b="1" kern="1200"/>
          </a:br>
          <a:r>
            <a:rPr lang="en-US" sz="1800" b="0" kern="1200">
              <a:solidFill>
                <a:srgbClr val="4D4E53">
                  <a:hueOff val="0"/>
                  <a:satOff val="0"/>
                  <a:lumOff val="0"/>
                  <a:alphaOff val="0"/>
                </a:srgbClr>
              </a:solidFill>
              <a:latin typeface="Cambria"/>
              <a:ea typeface="+mn-ea"/>
              <a:cs typeface="+mn-cs"/>
            </a:rPr>
            <a:t>CPIH +3% to +6%</a:t>
          </a:r>
        </a:p>
        <a:p>
          <a:pPr marL="0" lvl="0" indent="0" algn="l" defTabSz="933450">
            <a:lnSpc>
              <a:spcPct val="103000"/>
            </a:lnSpc>
            <a:spcBef>
              <a:spcPts val="600"/>
            </a:spcBef>
            <a:spcAft>
              <a:spcPct val="35000"/>
            </a:spcAft>
            <a:buNone/>
          </a:pPr>
          <a:r>
            <a:rPr lang="en-US" sz="1800" b="0" kern="1200">
              <a:solidFill>
                <a:srgbClr val="4D4E53">
                  <a:hueOff val="0"/>
                  <a:satOff val="0"/>
                  <a:lumOff val="0"/>
                  <a:alphaOff val="0"/>
                </a:srgbClr>
              </a:solidFill>
              <a:latin typeface="Cambria"/>
              <a:ea typeface="+mn-ea"/>
              <a:cs typeface="+mn-cs"/>
            </a:rPr>
            <a:t>Progressive dividend policy</a:t>
          </a:r>
        </a:p>
      </dsp:txBody>
      <dsp:txXfrm>
        <a:off x="0" y="1094328"/>
        <a:ext cx="6012965" cy="1094328"/>
      </dsp:txXfrm>
    </dsp:sp>
    <dsp:sp modelId="{D8EF169E-A225-4F8F-91B5-B7E453CF9205}">
      <dsp:nvSpPr>
        <dsp:cNvPr id="0" name=""/>
        <dsp:cNvSpPr/>
      </dsp:nvSpPr>
      <dsp:spPr>
        <a:xfrm>
          <a:off x="0" y="2188655"/>
          <a:ext cx="6012965" cy="0"/>
        </a:xfrm>
        <a:prstGeom prst="line">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w="6350" cap="flat" cmpd="sng" algn="ctr">
          <a:solidFill>
            <a:schemeClr val="accent3">
              <a:hueOff val="0"/>
              <a:satOff val="0"/>
              <a:lumOff val="0"/>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sp>
    <dsp:sp modelId="{3FD81951-AF78-4113-9B8F-E795E7D6AD62}">
      <dsp:nvSpPr>
        <dsp:cNvPr id="0" name=""/>
        <dsp:cNvSpPr/>
      </dsp:nvSpPr>
      <dsp:spPr>
        <a:xfrm>
          <a:off x="0" y="2188656"/>
          <a:ext cx="6012965" cy="109432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0010" tIns="80010" rIns="80010" bIns="80010" numCol="1" spcCol="1270" anchor="t" anchorCtr="0">
          <a:noAutofit/>
        </a:bodyPr>
        <a:lstStyle/>
        <a:p>
          <a:pPr marL="0" lvl="0" indent="0" algn="l" defTabSz="933450">
            <a:lnSpc>
              <a:spcPct val="103000"/>
            </a:lnSpc>
            <a:spcBef>
              <a:spcPts val="600"/>
            </a:spcBef>
            <a:spcAft>
              <a:spcPct val="35000"/>
            </a:spcAft>
            <a:buNone/>
          </a:pPr>
          <a:r>
            <a:rPr lang="en-US" sz="2100" b="1" kern="1200">
              <a:solidFill>
                <a:schemeClr val="tx2"/>
              </a:solidFill>
              <a:latin typeface="Cambria"/>
              <a:ea typeface="+mn-ea"/>
              <a:cs typeface="+mn-cs"/>
            </a:rPr>
            <a:t>Successful track record</a:t>
          </a:r>
          <a:br>
            <a:rPr lang="en-US" sz="1800" b="1" kern="1200">
              <a:solidFill>
                <a:schemeClr val="tx1"/>
              </a:solidFill>
            </a:rPr>
          </a:br>
          <a:r>
            <a:rPr lang="en-US" sz="1800" b="0" kern="1200">
              <a:solidFill>
                <a:schemeClr val="tx1"/>
              </a:solidFill>
            </a:rPr>
            <a:t>Strong c</a:t>
          </a:r>
          <a:r>
            <a:rPr lang="en-US" sz="1800" b="0" kern="1200">
              <a:solidFill>
                <a:srgbClr val="4D4E53">
                  <a:hueOff val="0"/>
                  <a:satOff val="0"/>
                  <a:lumOff val="0"/>
                  <a:alphaOff val="0"/>
                </a:srgbClr>
              </a:solidFill>
              <a:latin typeface="Cambria"/>
              <a:ea typeface="+mn-ea"/>
              <a:cs typeface="+mn-cs"/>
            </a:rPr>
            <a:t>onsistent long term NAV growth</a:t>
          </a:r>
        </a:p>
        <a:p>
          <a:pPr marL="0" lvl="0" indent="0" algn="l" defTabSz="933450">
            <a:lnSpc>
              <a:spcPct val="103000"/>
            </a:lnSpc>
            <a:spcBef>
              <a:spcPts val="600"/>
            </a:spcBef>
            <a:spcAft>
              <a:spcPct val="35000"/>
            </a:spcAft>
            <a:buNone/>
          </a:pPr>
          <a:r>
            <a:rPr lang="en-US" sz="1800" b="0" kern="1200">
              <a:solidFill>
                <a:srgbClr val="4D4E53">
                  <a:hueOff val="0"/>
                  <a:satOff val="0"/>
                  <a:lumOff val="0"/>
                  <a:alphaOff val="0"/>
                </a:srgbClr>
              </a:solidFill>
              <a:latin typeface="Cambria"/>
              <a:ea typeface="+mn-ea"/>
              <a:cs typeface="+mn-cs"/>
            </a:rPr>
            <a:t>58 consecutive years of dividend increases</a:t>
          </a:r>
        </a:p>
      </dsp:txBody>
      <dsp:txXfrm>
        <a:off x="0" y="2188656"/>
        <a:ext cx="6012965" cy="1094328"/>
      </dsp:txXfrm>
    </dsp:sp>
    <dsp:sp modelId="{69590A29-EDF8-544D-9EF9-A7FDAA013B5F}">
      <dsp:nvSpPr>
        <dsp:cNvPr id="0" name=""/>
        <dsp:cNvSpPr/>
      </dsp:nvSpPr>
      <dsp:spPr>
        <a:xfrm>
          <a:off x="0" y="3282984"/>
          <a:ext cx="6012965" cy="0"/>
        </a:xfrm>
        <a:prstGeom prst="line">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w="6350" cap="flat" cmpd="sng" algn="ctr">
          <a:solidFill>
            <a:schemeClr val="accent3">
              <a:hueOff val="0"/>
              <a:satOff val="0"/>
              <a:lumOff val="0"/>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sp>
    <dsp:sp modelId="{99E6EF4E-20D0-824F-91FF-95F8CA907510}">
      <dsp:nvSpPr>
        <dsp:cNvPr id="0" name=""/>
        <dsp:cNvSpPr/>
      </dsp:nvSpPr>
      <dsp:spPr>
        <a:xfrm>
          <a:off x="0" y="3282984"/>
          <a:ext cx="6012965" cy="109432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0010" tIns="80010" rIns="80010" bIns="80010" numCol="1" spcCol="1270" anchor="t" anchorCtr="0">
          <a:noAutofit/>
        </a:bodyPr>
        <a:lstStyle/>
        <a:p>
          <a:pPr marL="0" lvl="0" indent="0" algn="l" defTabSz="933450" rtl="0">
            <a:lnSpc>
              <a:spcPct val="103000"/>
            </a:lnSpc>
            <a:spcBef>
              <a:spcPts val="600"/>
            </a:spcBef>
            <a:spcAft>
              <a:spcPts val="0"/>
            </a:spcAft>
            <a:buNone/>
          </a:pPr>
          <a:r>
            <a:rPr lang="en-US" sz="2100" b="1" kern="1200" dirty="0">
              <a:solidFill>
                <a:schemeClr val="tx2"/>
              </a:solidFill>
            </a:rPr>
            <a:t>Established by the </a:t>
          </a:r>
          <a:r>
            <a:rPr lang="en-US" sz="2100" b="1" kern="1200" dirty="0" err="1">
              <a:solidFill>
                <a:schemeClr val="tx2"/>
              </a:solidFill>
            </a:rPr>
            <a:t>Cayzer</a:t>
          </a:r>
          <a:r>
            <a:rPr lang="en-US" sz="2100" b="1" kern="1200" dirty="0">
              <a:solidFill>
                <a:schemeClr val="tx2"/>
              </a:solidFill>
            </a:rPr>
            <a:t> family</a:t>
          </a:r>
          <a:r>
            <a:rPr lang="en-US" sz="2100" b="1" kern="1200" dirty="0">
              <a:solidFill>
                <a:schemeClr val="tx2"/>
              </a:solidFill>
              <a:latin typeface="Cambria"/>
            </a:rPr>
            <a:t> </a:t>
          </a:r>
          <a:endParaRPr lang="en-US" sz="2100" b="1" kern="1200" dirty="0">
            <a:solidFill>
              <a:schemeClr val="tx2"/>
            </a:solidFill>
          </a:endParaRPr>
        </a:p>
        <a:p>
          <a:pPr marL="0" lvl="0" indent="0" algn="l" defTabSz="933450">
            <a:lnSpc>
              <a:spcPct val="103000"/>
            </a:lnSpc>
            <a:spcBef>
              <a:spcPts val="0"/>
            </a:spcBef>
            <a:spcAft>
              <a:spcPct val="35000"/>
            </a:spcAft>
            <a:buNone/>
          </a:pPr>
          <a:r>
            <a:rPr lang="en-US" sz="1800" b="0" kern="1200" dirty="0"/>
            <a:t>History dates from late 1800s</a:t>
          </a:r>
        </a:p>
        <a:p>
          <a:pPr marL="0" lvl="0" indent="0" algn="l" defTabSz="933450">
            <a:lnSpc>
              <a:spcPct val="103000"/>
            </a:lnSpc>
            <a:spcBef>
              <a:spcPts val="600"/>
            </a:spcBef>
            <a:spcAft>
              <a:spcPct val="35000"/>
            </a:spcAft>
            <a:buNone/>
          </a:pPr>
          <a:r>
            <a:rPr lang="en-US" sz="1800" b="0" kern="1200" dirty="0"/>
            <a:t>Objective of preserving and growing capital and income in real terms over the long-term</a:t>
          </a:r>
        </a:p>
      </dsp:txBody>
      <dsp:txXfrm>
        <a:off x="0" y="3282984"/>
        <a:ext cx="6012965" cy="1094328"/>
      </dsp:txXfrm>
    </dsp:sp>
  </dsp:spTree>
</dsp:drawing>
</file>

<file path=ppt/diagrams/layout1.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95018</cdr:x>
      <cdr:y>0.72679</cdr:y>
    </cdr:from>
    <cdr:to>
      <cdr:x>0.97539</cdr:x>
      <cdr:y>0.95778</cdr:y>
    </cdr:to>
    <cdr:sp macro="" textlink="">
      <cdr:nvSpPr>
        <cdr:cNvPr id="2" name="TextBox 33">
          <a:extLst xmlns:a="http://schemas.openxmlformats.org/drawingml/2006/main">
            <a:ext uri="{FF2B5EF4-FFF2-40B4-BE49-F238E27FC236}">
              <a16:creationId xmlns:a16="http://schemas.microsoft.com/office/drawing/2014/main" id="{54CA3380-45A8-9EA8-6B68-91EA03E3DEFC}"/>
            </a:ext>
          </a:extLst>
        </cdr:cNvPr>
        <cdr:cNvSpPr txBox="1"/>
      </cdr:nvSpPr>
      <cdr:spPr>
        <a:xfrm xmlns:a="http://schemas.openxmlformats.org/drawingml/2006/main" rot="18835845">
          <a:off x="8294895" y="3675359"/>
          <a:ext cx="1039584" cy="230806"/>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indent="0" algn="l" defTabSz="914400" rtl="0" eaLnBrk="1" latinLnBrk="0" hangingPunct="1">
            <a:defRPr sz="1800" kern="1200">
              <a:solidFill>
                <a:schemeClr val="tx1"/>
              </a:solidFill>
              <a:latin typeface="+mn-lt"/>
              <a:ea typeface="+mn-ea"/>
              <a:cs typeface="+mn-cs"/>
            </a:defRPr>
          </a:lvl1pPr>
          <a:lvl2pPr marL="457200" indent="0" algn="l" defTabSz="914400" rtl="0" eaLnBrk="1" latinLnBrk="0" hangingPunct="1">
            <a:defRPr sz="1800" kern="1200">
              <a:solidFill>
                <a:schemeClr val="tx1"/>
              </a:solidFill>
              <a:latin typeface="+mn-lt"/>
              <a:ea typeface="+mn-ea"/>
              <a:cs typeface="+mn-cs"/>
            </a:defRPr>
          </a:lvl2pPr>
          <a:lvl3pPr marL="914400" indent="0" algn="l" defTabSz="914400" rtl="0" eaLnBrk="1" latinLnBrk="0" hangingPunct="1">
            <a:defRPr sz="1800" kern="1200">
              <a:solidFill>
                <a:schemeClr val="tx1"/>
              </a:solidFill>
              <a:latin typeface="+mn-lt"/>
              <a:ea typeface="+mn-ea"/>
              <a:cs typeface="+mn-cs"/>
            </a:defRPr>
          </a:lvl3pPr>
          <a:lvl4pPr marL="1371600" indent="0" algn="l" defTabSz="914400" rtl="0" eaLnBrk="1" latinLnBrk="0" hangingPunct="1">
            <a:defRPr sz="1800" kern="1200">
              <a:solidFill>
                <a:schemeClr val="tx1"/>
              </a:solidFill>
              <a:latin typeface="+mn-lt"/>
              <a:ea typeface="+mn-ea"/>
              <a:cs typeface="+mn-cs"/>
            </a:defRPr>
          </a:lvl4pPr>
          <a:lvl5pPr marL="1828800" indent="0" algn="l" defTabSz="914400" rtl="0" eaLnBrk="1" latinLnBrk="0" hangingPunct="1">
            <a:defRPr sz="1800" kern="1200">
              <a:solidFill>
                <a:schemeClr val="tx1"/>
              </a:solidFill>
              <a:latin typeface="+mn-lt"/>
              <a:ea typeface="+mn-ea"/>
              <a:cs typeface="+mn-cs"/>
            </a:defRPr>
          </a:lvl5pPr>
          <a:lvl6pPr marL="2286000" indent="0" algn="l" defTabSz="914400" rtl="0" eaLnBrk="1" latinLnBrk="0" hangingPunct="1">
            <a:defRPr sz="1800" kern="1200">
              <a:solidFill>
                <a:schemeClr val="tx1"/>
              </a:solidFill>
              <a:latin typeface="+mn-lt"/>
              <a:ea typeface="+mn-ea"/>
              <a:cs typeface="+mn-cs"/>
            </a:defRPr>
          </a:lvl6pPr>
          <a:lvl7pPr marL="2743200" indent="0" algn="l" defTabSz="914400" rtl="0" eaLnBrk="1" latinLnBrk="0" hangingPunct="1">
            <a:defRPr sz="1800" kern="1200">
              <a:solidFill>
                <a:schemeClr val="tx1"/>
              </a:solidFill>
              <a:latin typeface="+mn-lt"/>
              <a:ea typeface="+mn-ea"/>
              <a:cs typeface="+mn-cs"/>
            </a:defRPr>
          </a:lvl7pPr>
          <a:lvl8pPr marL="3200400" indent="0" algn="l" defTabSz="914400" rtl="0" eaLnBrk="1" latinLnBrk="0" hangingPunct="1">
            <a:defRPr sz="1800" kern="1200">
              <a:solidFill>
                <a:schemeClr val="tx1"/>
              </a:solidFill>
              <a:latin typeface="+mn-lt"/>
              <a:ea typeface="+mn-ea"/>
              <a:cs typeface="+mn-cs"/>
            </a:defRPr>
          </a:lvl8pPr>
          <a:lvl9pPr marL="3657600" indent="0" algn="l" defTabSz="914400" rtl="0" eaLnBrk="1" latinLnBrk="0" hangingPunct="1">
            <a:defRPr sz="1800" kern="1200">
              <a:solidFill>
                <a:schemeClr val="tx1"/>
              </a:solidFill>
              <a:latin typeface="+mn-lt"/>
              <a:ea typeface="+mn-ea"/>
              <a:cs typeface="+mn-cs"/>
            </a:defRPr>
          </a:lvl9pPr>
        </a:lstStyle>
        <a:p xmlns:a="http://schemas.openxmlformats.org/drawingml/2006/main">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898A92"/>
              </a:solidFill>
              <a:effectLst/>
              <a:uLnTx/>
              <a:uFillTx/>
              <a:latin typeface="Cambria"/>
            </a:rPr>
            <a:t>31/</a:t>
          </a:r>
          <a:r>
            <a:rPr lang="en-GB" sz="900" dirty="0">
              <a:solidFill>
                <a:srgbClr val="898A92"/>
              </a:solidFill>
              <a:latin typeface="Cambria"/>
            </a:rPr>
            <a:t>03/20</a:t>
          </a:r>
          <a:r>
            <a:rPr kumimoji="0" lang="en-GB" sz="900" b="0" i="0" u="none" strike="noStrike" kern="1200" cap="none" spc="0" normalizeH="0" baseline="0" noProof="0" dirty="0">
              <a:ln>
                <a:noFill/>
              </a:ln>
              <a:solidFill>
                <a:srgbClr val="898A92"/>
              </a:solidFill>
              <a:effectLst/>
              <a:uLnTx/>
              <a:uFillTx/>
              <a:latin typeface="Cambria"/>
            </a:rPr>
            <a:t>25</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2"/>
            <a:ext cx="2944283" cy="498295"/>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48647" y="2"/>
            <a:ext cx="2944283" cy="498295"/>
          </a:xfrm>
          <a:prstGeom prst="rect">
            <a:avLst/>
          </a:prstGeom>
        </p:spPr>
        <p:txBody>
          <a:bodyPr vert="horz" lIns="91440" tIns="45720" rIns="91440" bIns="45720" rtlCol="0"/>
          <a:lstStyle>
            <a:lvl1pPr algn="r">
              <a:defRPr sz="1200"/>
            </a:lvl1pPr>
          </a:lstStyle>
          <a:p>
            <a:fld id="{E7AB104E-082E-48DB-AFCE-51B08E38BF7E}" type="datetimeFigureOut">
              <a:rPr lang="en-GB" smtClean="0"/>
              <a:t>21/05/2025</a:t>
            </a:fld>
            <a:endParaRPr lang="en-GB"/>
          </a:p>
        </p:txBody>
      </p:sp>
      <p:sp>
        <p:nvSpPr>
          <p:cNvPr id="4" name="Slide Image Placeholder 3"/>
          <p:cNvSpPr>
            <a:spLocks noGrp="1" noRot="1" noChangeAspect="1"/>
          </p:cNvSpPr>
          <p:nvPr>
            <p:ph type="sldImg" idx="2"/>
          </p:nvPr>
        </p:nvSpPr>
        <p:spPr>
          <a:xfrm>
            <a:off x="419100" y="1241425"/>
            <a:ext cx="5956300" cy="3351213"/>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79451" y="4779490"/>
            <a:ext cx="5435600" cy="3910489"/>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1" y="9433111"/>
            <a:ext cx="2944283" cy="498294"/>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48647" y="9433111"/>
            <a:ext cx="2944283" cy="498294"/>
          </a:xfrm>
          <a:prstGeom prst="rect">
            <a:avLst/>
          </a:prstGeom>
        </p:spPr>
        <p:txBody>
          <a:bodyPr vert="horz" lIns="91440" tIns="45720" rIns="91440" bIns="45720" rtlCol="0" anchor="b"/>
          <a:lstStyle>
            <a:lvl1pPr algn="r">
              <a:defRPr sz="1200"/>
            </a:lvl1pPr>
          </a:lstStyle>
          <a:p>
            <a:fld id="{4ABE3262-C39B-4E04-B2AE-92E4ADCBBE55}" type="slidenum">
              <a:rPr lang="en-GB" smtClean="0"/>
              <a:t>‹#›</a:t>
            </a:fld>
            <a:endParaRPr lang="en-GB"/>
          </a:p>
        </p:txBody>
      </p:sp>
    </p:spTree>
    <p:extLst>
      <p:ext uri="{BB962C8B-B14F-4D97-AF65-F5344CB8AC3E}">
        <p14:creationId xmlns:p14="http://schemas.microsoft.com/office/powerpoint/2010/main" val="24098311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ABE3262-C39B-4E04-B2AE-92E4ADCBBE55}" type="slidenum">
              <a:rPr lang="en-GB" smtClean="0"/>
              <a:t>3</a:t>
            </a:fld>
            <a:endParaRPr lang="en-GB"/>
          </a:p>
        </p:txBody>
      </p:sp>
    </p:spTree>
    <p:extLst>
      <p:ext uri="{BB962C8B-B14F-4D97-AF65-F5344CB8AC3E}">
        <p14:creationId xmlns:p14="http://schemas.microsoft.com/office/powerpoint/2010/main" val="4876583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On this slide the narrative would expand on what we mean for each of the characteristics:</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Strong market position and fundaments - </a:t>
            </a:r>
            <a:r>
              <a:rPr lang="en-US" sz="1200" b="0" dirty="0">
                <a:latin typeface="+mj-lt"/>
              </a:rPr>
              <a:t>Strong</a:t>
            </a:r>
            <a:r>
              <a:rPr lang="en-US" sz="1200" dirty="0">
                <a:latin typeface="+mj-lt"/>
              </a:rPr>
              <a:t> customer base, </a:t>
            </a:r>
            <a:r>
              <a:rPr lang="en-US" sz="1200" b="0" dirty="0">
                <a:latin typeface="+mj-lt"/>
              </a:rPr>
              <a:t>Growing</a:t>
            </a:r>
            <a:r>
              <a:rPr lang="en-US" sz="1200" dirty="0">
                <a:latin typeface="+mj-lt"/>
              </a:rPr>
              <a:t> demand for products, Sustainable </a:t>
            </a:r>
            <a:r>
              <a:rPr lang="en-US" sz="1200" b="0" dirty="0">
                <a:latin typeface="+mj-lt"/>
              </a:rPr>
              <a:t>competitive</a:t>
            </a:r>
            <a:r>
              <a:rPr lang="en-US" sz="1200" dirty="0">
                <a:latin typeface="+mj-lt"/>
              </a:rPr>
              <a:t> </a:t>
            </a:r>
            <a:r>
              <a:rPr lang="en-US" sz="1200" b="0" dirty="0">
                <a:latin typeface="+mj-lt"/>
              </a:rPr>
              <a:t>advantage, multiple levers for growth, </a:t>
            </a:r>
            <a:r>
              <a:rPr lang="en-US" sz="1200" dirty="0">
                <a:latin typeface="+mj-lt"/>
              </a:rPr>
              <a:t>increases in revenue growth, with good profit margins, positive sustainable cash flows and healthy balance sheet etc.</a:t>
            </a:r>
          </a:p>
          <a:p>
            <a:endParaRPr lang="en-US" sz="1200" b="0" dirty="0">
              <a:latin typeface="+mj-lt"/>
            </a:endParaRPr>
          </a:p>
          <a:p>
            <a:endParaRPr lang="en-GB" dirty="0"/>
          </a:p>
        </p:txBody>
      </p:sp>
      <p:sp>
        <p:nvSpPr>
          <p:cNvPr id="4" name="Slide Number Placeholder 3"/>
          <p:cNvSpPr>
            <a:spLocks noGrp="1"/>
          </p:cNvSpPr>
          <p:nvPr>
            <p:ph type="sldNum" sz="quarter" idx="5"/>
          </p:nvPr>
        </p:nvSpPr>
        <p:spPr/>
        <p:txBody>
          <a:bodyPr/>
          <a:lstStyle/>
          <a:p>
            <a:fld id="{4ABE3262-C39B-4E04-B2AE-92E4ADCBBE55}" type="slidenum">
              <a:rPr lang="en-GB" smtClean="0"/>
              <a:t>5</a:t>
            </a:fld>
            <a:endParaRPr lang="en-GB"/>
          </a:p>
        </p:txBody>
      </p:sp>
    </p:spTree>
    <p:extLst>
      <p:ext uri="{BB962C8B-B14F-4D97-AF65-F5344CB8AC3E}">
        <p14:creationId xmlns:p14="http://schemas.microsoft.com/office/powerpoint/2010/main" val="7415195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ABE3262-C39B-4E04-B2AE-92E4ADCBBE55}"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0252837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ABE3262-C39B-4E04-B2AE-92E4ADCBBE55}"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055947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ABE3262-C39B-4E04-B2AE-92E4ADCBBE55}" type="slidenum">
              <a:rPr lang="en-GB" smtClean="0"/>
              <a:t>11</a:t>
            </a:fld>
            <a:endParaRPr lang="en-GB"/>
          </a:p>
        </p:txBody>
      </p:sp>
    </p:spTree>
    <p:extLst>
      <p:ext uri="{BB962C8B-B14F-4D97-AF65-F5344CB8AC3E}">
        <p14:creationId xmlns:p14="http://schemas.microsoft.com/office/powerpoint/2010/main" val="310355288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45172" y="433388"/>
            <a:ext cx="6799348" cy="598707"/>
          </a:xfrm>
        </p:spPr>
        <p:txBody>
          <a:bodyPr anchor="b"/>
          <a:lstStyle>
            <a:lvl1pPr algn="l">
              <a:lnSpc>
                <a:spcPct val="80000"/>
              </a:lnSpc>
              <a:defRPr sz="3939" cap="none" baseline="0">
                <a:solidFill>
                  <a:schemeClr val="bg1"/>
                </a:solidFill>
              </a:defRPr>
            </a:lvl1pPr>
          </a:lstStyle>
          <a:p>
            <a:r>
              <a:rPr lang="en-US"/>
              <a:t>Click to edit Master title style</a:t>
            </a:r>
          </a:p>
        </p:txBody>
      </p:sp>
      <p:sp>
        <p:nvSpPr>
          <p:cNvPr id="3" name="Subtitle 2"/>
          <p:cNvSpPr>
            <a:spLocks noGrp="1"/>
          </p:cNvSpPr>
          <p:nvPr>
            <p:ph type="subTitle" idx="1"/>
          </p:nvPr>
        </p:nvSpPr>
        <p:spPr>
          <a:xfrm>
            <a:off x="545172" y="1014080"/>
            <a:ext cx="6799348" cy="360000"/>
          </a:xfrm>
        </p:spPr>
        <p:txBody>
          <a:bodyPr>
            <a:normAutofit/>
          </a:bodyPr>
          <a:lstStyle>
            <a:lvl1pPr marL="0" indent="0" algn="l">
              <a:buNone/>
              <a:defRPr sz="1969">
                <a:solidFill>
                  <a:schemeClr val="bg1"/>
                </a:solidFill>
                <a:latin typeface="+mn-lt"/>
              </a:defRPr>
            </a:lvl1pPr>
            <a:lvl2pPr marL="562722" indent="0" algn="ctr">
              <a:buNone/>
              <a:defRPr sz="2462"/>
            </a:lvl2pPr>
            <a:lvl3pPr marL="1125444" indent="0" algn="ctr">
              <a:buNone/>
              <a:defRPr sz="2215"/>
            </a:lvl3pPr>
            <a:lvl4pPr marL="1688165" indent="0" algn="ctr">
              <a:buNone/>
              <a:defRPr sz="1969"/>
            </a:lvl4pPr>
            <a:lvl5pPr marL="2250887" indent="0" algn="ctr">
              <a:buNone/>
              <a:defRPr sz="1969"/>
            </a:lvl5pPr>
            <a:lvl6pPr marL="2813609" indent="0" algn="ctr">
              <a:buNone/>
              <a:defRPr sz="1969"/>
            </a:lvl6pPr>
            <a:lvl7pPr marL="3376331" indent="0" algn="ctr">
              <a:buNone/>
              <a:defRPr sz="1969"/>
            </a:lvl7pPr>
            <a:lvl8pPr marL="3939052" indent="0" algn="ctr">
              <a:buNone/>
              <a:defRPr sz="1969"/>
            </a:lvl8pPr>
            <a:lvl9pPr marL="4501774" indent="0" algn="ctr">
              <a:buNone/>
              <a:defRPr sz="1969"/>
            </a:lvl9pPr>
          </a:lstStyle>
          <a:p>
            <a:r>
              <a:rPr lang="en-US"/>
              <a:t>Click to edit Master subtitle style</a:t>
            </a:r>
          </a:p>
        </p:txBody>
      </p:sp>
      <p:sp>
        <p:nvSpPr>
          <p:cNvPr id="53" name="TextBox 52"/>
          <p:cNvSpPr txBox="1"/>
          <p:nvPr userDrawn="1"/>
        </p:nvSpPr>
        <p:spPr>
          <a:xfrm>
            <a:off x="545172" y="6331957"/>
            <a:ext cx="1889813" cy="265137"/>
          </a:xfrm>
          <a:prstGeom prst="rect">
            <a:avLst/>
          </a:prstGeom>
          <a:noFill/>
        </p:spPr>
        <p:txBody>
          <a:bodyPr wrap="none" lIns="0" tIns="0" rIns="0" bIns="0" rtlCol="0">
            <a:spAutoFit/>
          </a:bodyPr>
          <a:lstStyle/>
          <a:p>
            <a:pPr marL="0" marR="0" indent="0" algn="l" defTabSz="1125444" rtl="0" eaLnBrk="1" fontAlgn="auto" latinLnBrk="0" hangingPunct="1">
              <a:lnSpc>
                <a:spcPct val="100000"/>
              </a:lnSpc>
              <a:spcBef>
                <a:spcPts val="0"/>
              </a:spcBef>
              <a:spcAft>
                <a:spcPts val="0"/>
              </a:spcAft>
              <a:buClrTx/>
              <a:buSzTx/>
              <a:buFontTx/>
              <a:buNone/>
              <a:tabLst/>
              <a:defRPr/>
            </a:pPr>
            <a:r>
              <a:rPr lang="en-GB" sz="1723">
                <a:solidFill>
                  <a:schemeClr val="bg1"/>
                </a:solidFill>
                <a:latin typeface="Cambria" pitchFamily="18" charset="0"/>
              </a:rPr>
              <a:t>www.caledonia.com</a:t>
            </a:r>
          </a:p>
        </p:txBody>
      </p:sp>
      <p:sp>
        <p:nvSpPr>
          <p:cNvPr id="5" name="Text Placeholder 4"/>
          <p:cNvSpPr>
            <a:spLocks noGrp="1"/>
          </p:cNvSpPr>
          <p:nvPr>
            <p:ph type="body" sz="quarter" idx="10" hasCustomPrompt="1"/>
          </p:nvPr>
        </p:nvSpPr>
        <p:spPr>
          <a:xfrm>
            <a:off x="545172" y="1692000"/>
            <a:ext cx="6798422" cy="512762"/>
          </a:xfrm>
        </p:spPr>
        <p:txBody>
          <a:bodyPr/>
          <a:lstStyle>
            <a:lvl1pPr>
              <a:defRPr sz="1723" cap="none" baseline="0">
                <a:solidFill>
                  <a:schemeClr val="bg1"/>
                </a:solidFill>
                <a:latin typeface="+mj-lt"/>
              </a:defRPr>
            </a:lvl1pPr>
            <a:lvl2pPr>
              <a:spcBef>
                <a:spcPts val="0"/>
              </a:spcBef>
              <a:defRPr sz="1477">
                <a:solidFill>
                  <a:schemeClr val="bg1"/>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p:txBody>
      </p:sp>
      <p:pic>
        <p:nvPicPr>
          <p:cNvPr id="52" name="Picture 51" descr="A picture containing text, vector graphics&#10;&#10;Description automatically generated">
            <a:extLst>
              <a:ext uri="{FF2B5EF4-FFF2-40B4-BE49-F238E27FC236}">
                <a16:creationId xmlns:a16="http://schemas.microsoft.com/office/drawing/2014/main" id="{7DED636C-AEB2-3247-ABEA-10BEDA3571D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436814" y="1353075"/>
            <a:ext cx="9862769" cy="5504925"/>
          </a:xfrm>
          <a:prstGeom prst="rect">
            <a:avLst/>
          </a:prstGeom>
        </p:spPr>
      </p:pic>
      <p:cxnSp>
        <p:nvCxnSpPr>
          <p:cNvPr id="55" name="Straight Connector 54">
            <a:extLst>
              <a:ext uri="{FF2B5EF4-FFF2-40B4-BE49-F238E27FC236}">
                <a16:creationId xmlns:a16="http://schemas.microsoft.com/office/drawing/2014/main" id="{B19766C3-A77A-FE44-A28A-FEB4B62352AF}"/>
              </a:ext>
            </a:extLst>
          </p:cNvPr>
          <p:cNvCxnSpPr/>
          <p:nvPr userDrawn="1"/>
        </p:nvCxnSpPr>
        <p:spPr>
          <a:xfrm>
            <a:off x="545172" y="1384148"/>
            <a:ext cx="1329231" cy="0"/>
          </a:xfrm>
          <a:prstGeom prst="line">
            <a:avLst/>
          </a:prstGeom>
          <a:ln w="38100">
            <a:solidFill>
              <a:srgbClr val="C4AC78"/>
            </a:solidFill>
          </a:ln>
        </p:spPr>
        <p:style>
          <a:lnRef idx="1">
            <a:schemeClr val="accent1"/>
          </a:lnRef>
          <a:fillRef idx="0">
            <a:schemeClr val="accent1"/>
          </a:fillRef>
          <a:effectRef idx="0">
            <a:schemeClr val="accent1"/>
          </a:effectRef>
          <a:fontRef idx="minor">
            <a:schemeClr val="tx1"/>
          </a:fontRef>
        </p:style>
      </p:cxnSp>
      <p:pic>
        <p:nvPicPr>
          <p:cNvPr id="7" name="Picture 6" descr="A black and white sign with white text&#10;&#10;Description automatically generated">
            <a:extLst>
              <a:ext uri="{FF2B5EF4-FFF2-40B4-BE49-F238E27FC236}">
                <a16:creationId xmlns:a16="http://schemas.microsoft.com/office/drawing/2014/main" id="{771AA17E-BD89-B531-E53B-623CBB88F49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70173" y="468189"/>
            <a:ext cx="2922642" cy="905747"/>
          </a:xfrm>
          <a:prstGeom prst="rect">
            <a:avLst/>
          </a:prstGeom>
        </p:spPr>
      </p:pic>
    </p:spTree>
    <p:extLst>
      <p:ext uri="{BB962C8B-B14F-4D97-AF65-F5344CB8AC3E}">
        <p14:creationId xmlns:p14="http://schemas.microsoft.com/office/powerpoint/2010/main" val="234031340"/>
      </p:ext>
    </p:extLst>
  </p:cSld>
  <p:clrMapOvr>
    <a:masterClrMapping/>
  </p:clrMapOvr>
  <p:extLst>
    <p:ext uri="{DCECCB84-F9BA-43D5-87BE-67443E8EF086}">
      <p15:sldGuideLst xmlns:p15="http://schemas.microsoft.com/office/powerpoint/2012/main">
        <p15:guide id="1" orient="horz" pos="595" userDrawn="1">
          <p15:clr>
            <a:srgbClr val="FBAE40"/>
          </p15:clr>
        </p15:guide>
        <p15:guide id="2" orient="horz" pos="745"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31692" y="360000"/>
            <a:ext cx="8374154" cy="468000"/>
          </a:xfrm>
        </p:spPr>
        <p:txBody>
          <a:bodyPr/>
          <a:lstStyle/>
          <a:p>
            <a:r>
              <a:rPr lang="en-US"/>
              <a:t>Click to edit Master title style</a:t>
            </a:r>
          </a:p>
        </p:txBody>
      </p:sp>
      <p:sp>
        <p:nvSpPr>
          <p:cNvPr id="3" name="Text Placeholder 2"/>
          <p:cNvSpPr>
            <a:spLocks noGrp="1"/>
          </p:cNvSpPr>
          <p:nvPr>
            <p:ph type="body" idx="1"/>
          </p:nvPr>
        </p:nvSpPr>
        <p:spPr>
          <a:xfrm>
            <a:off x="531692" y="1665288"/>
            <a:ext cx="5316923" cy="328561"/>
          </a:xfrm>
        </p:spPr>
        <p:txBody>
          <a:bodyPr anchor="b">
            <a:noAutofit/>
          </a:bodyPr>
          <a:lstStyle>
            <a:lvl1pPr marL="0" indent="0">
              <a:spcBef>
                <a:spcPts val="0"/>
              </a:spcBef>
              <a:buNone/>
              <a:defRPr sz="1969" b="1"/>
            </a:lvl1pPr>
            <a:lvl2pPr marL="562722" indent="0">
              <a:buNone/>
              <a:defRPr sz="2462" b="1"/>
            </a:lvl2pPr>
            <a:lvl3pPr marL="1125444" indent="0">
              <a:buNone/>
              <a:defRPr sz="2215" b="1"/>
            </a:lvl3pPr>
            <a:lvl4pPr marL="1688165" indent="0">
              <a:buNone/>
              <a:defRPr sz="1969" b="1"/>
            </a:lvl4pPr>
            <a:lvl5pPr marL="2250887" indent="0">
              <a:buNone/>
              <a:defRPr sz="1969" b="1"/>
            </a:lvl5pPr>
            <a:lvl6pPr marL="2813609" indent="0">
              <a:buNone/>
              <a:defRPr sz="1969" b="1"/>
            </a:lvl6pPr>
            <a:lvl7pPr marL="3376331" indent="0">
              <a:buNone/>
              <a:defRPr sz="1969" b="1"/>
            </a:lvl7pPr>
            <a:lvl8pPr marL="3939052" indent="0">
              <a:buNone/>
              <a:defRPr sz="1969" b="1"/>
            </a:lvl8pPr>
            <a:lvl9pPr marL="4501774" indent="0">
              <a:buNone/>
              <a:defRPr sz="1969" b="1"/>
            </a:lvl9pPr>
          </a:lstStyle>
          <a:p>
            <a:pPr lvl="0"/>
            <a:r>
              <a:rPr lang="en-US"/>
              <a:t>Click to edit Master text styles</a:t>
            </a:r>
          </a:p>
        </p:txBody>
      </p:sp>
      <p:sp>
        <p:nvSpPr>
          <p:cNvPr id="4" name="Content Placeholder 3"/>
          <p:cNvSpPr>
            <a:spLocks noGrp="1"/>
          </p:cNvSpPr>
          <p:nvPr>
            <p:ph sz="half" idx="2"/>
          </p:nvPr>
        </p:nvSpPr>
        <p:spPr>
          <a:xfrm>
            <a:off x="531692" y="2202080"/>
            <a:ext cx="5316923" cy="396377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340431" y="1665288"/>
            <a:ext cx="5316923" cy="328561"/>
          </a:xfrm>
        </p:spPr>
        <p:txBody>
          <a:bodyPr anchor="b">
            <a:noAutofit/>
          </a:bodyPr>
          <a:lstStyle>
            <a:lvl1pPr marL="0" indent="0">
              <a:spcBef>
                <a:spcPts val="0"/>
              </a:spcBef>
              <a:buNone/>
              <a:defRPr sz="1969" b="1"/>
            </a:lvl1pPr>
            <a:lvl2pPr marL="562722" indent="0">
              <a:buNone/>
              <a:defRPr sz="2462" b="1"/>
            </a:lvl2pPr>
            <a:lvl3pPr marL="1125444" indent="0">
              <a:buNone/>
              <a:defRPr sz="2215" b="1"/>
            </a:lvl3pPr>
            <a:lvl4pPr marL="1688165" indent="0">
              <a:buNone/>
              <a:defRPr sz="1969" b="1"/>
            </a:lvl4pPr>
            <a:lvl5pPr marL="2250887" indent="0">
              <a:buNone/>
              <a:defRPr sz="1969" b="1"/>
            </a:lvl5pPr>
            <a:lvl6pPr marL="2813609" indent="0">
              <a:buNone/>
              <a:defRPr sz="1969" b="1"/>
            </a:lvl6pPr>
            <a:lvl7pPr marL="3376331" indent="0">
              <a:buNone/>
              <a:defRPr sz="1969" b="1"/>
            </a:lvl7pPr>
            <a:lvl8pPr marL="3939052" indent="0">
              <a:buNone/>
              <a:defRPr sz="1969" b="1"/>
            </a:lvl8pPr>
            <a:lvl9pPr marL="4501774" indent="0">
              <a:buNone/>
              <a:defRPr sz="1969" b="1"/>
            </a:lvl9pPr>
          </a:lstStyle>
          <a:p>
            <a:pPr lvl="0"/>
            <a:r>
              <a:rPr lang="en-US"/>
              <a:t>Click to edit Master text styles</a:t>
            </a:r>
          </a:p>
        </p:txBody>
      </p:sp>
      <p:sp>
        <p:nvSpPr>
          <p:cNvPr id="6" name="Content Placeholder 5"/>
          <p:cNvSpPr>
            <a:spLocks noGrp="1"/>
          </p:cNvSpPr>
          <p:nvPr>
            <p:ph sz="quarter" idx="4"/>
          </p:nvPr>
        </p:nvSpPr>
        <p:spPr>
          <a:xfrm>
            <a:off x="6340431" y="2202080"/>
            <a:ext cx="5316923" cy="396377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7"/>
          <p:cNvSpPr>
            <a:spLocks noGrp="1"/>
          </p:cNvSpPr>
          <p:nvPr>
            <p:ph type="ftr" sz="quarter" idx="11"/>
          </p:nvPr>
        </p:nvSpPr>
        <p:spPr/>
        <p:txBody>
          <a:bodyPr/>
          <a:lstStyle/>
          <a:p>
            <a:r>
              <a:rPr lang="en-GB"/>
              <a:t>Full-year results 2024</a:t>
            </a:r>
          </a:p>
        </p:txBody>
      </p:sp>
      <p:sp>
        <p:nvSpPr>
          <p:cNvPr id="9" name="Slide Number Placeholder 8"/>
          <p:cNvSpPr>
            <a:spLocks noGrp="1"/>
          </p:cNvSpPr>
          <p:nvPr>
            <p:ph type="sldNum" sz="quarter" idx="12"/>
          </p:nvPr>
        </p:nvSpPr>
        <p:spPr/>
        <p:txBody>
          <a:bodyPr/>
          <a:lstStyle/>
          <a:p>
            <a:fld id="{BFCF0D39-BEE8-4D89-987A-40261FE54395}" type="slidenum">
              <a:rPr lang="en-GB" smtClean="0"/>
              <a:t>‹#›</a:t>
            </a:fld>
            <a:endParaRPr lang="en-GB"/>
          </a:p>
        </p:txBody>
      </p:sp>
      <p:sp>
        <p:nvSpPr>
          <p:cNvPr id="10" name="Text Placeholder 3"/>
          <p:cNvSpPr>
            <a:spLocks noGrp="1"/>
          </p:cNvSpPr>
          <p:nvPr>
            <p:ph type="body" sz="half" idx="13"/>
          </p:nvPr>
        </p:nvSpPr>
        <p:spPr>
          <a:xfrm>
            <a:off x="531692" y="828000"/>
            <a:ext cx="8374154" cy="324000"/>
          </a:xfrm>
        </p:spPr>
        <p:txBody>
          <a:bodyPr>
            <a:normAutofit/>
          </a:bodyPr>
          <a:lstStyle>
            <a:lvl1pPr marL="0" indent="0">
              <a:buNone/>
              <a:defRPr sz="2215">
                <a:solidFill>
                  <a:schemeClr val="tx1"/>
                </a:solidFill>
              </a:defRPr>
            </a:lvl1pPr>
            <a:lvl2pPr marL="562722" indent="0">
              <a:buNone/>
              <a:defRPr sz="1723"/>
            </a:lvl2pPr>
            <a:lvl3pPr marL="1125444" indent="0">
              <a:buNone/>
              <a:defRPr sz="1477"/>
            </a:lvl3pPr>
            <a:lvl4pPr marL="1688165" indent="0">
              <a:buNone/>
              <a:defRPr sz="1231"/>
            </a:lvl4pPr>
            <a:lvl5pPr marL="2250887" indent="0">
              <a:buNone/>
              <a:defRPr sz="1231"/>
            </a:lvl5pPr>
            <a:lvl6pPr marL="2813609" indent="0">
              <a:buNone/>
              <a:defRPr sz="1231"/>
            </a:lvl6pPr>
            <a:lvl7pPr marL="3376331" indent="0">
              <a:buNone/>
              <a:defRPr sz="1231"/>
            </a:lvl7pPr>
            <a:lvl8pPr marL="3939052" indent="0">
              <a:buNone/>
              <a:defRPr sz="1231"/>
            </a:lvl8pPr>
            <a:lvl9pPr marL="4501774" indent="0">
              <a:buNone/>
              <a:defRPr sz="1231"/>
            </a:lvl9pPr>
          </a:lstStyle>
          <a:p>
            <a:pPr lvl="0"/>
            <a:r>
              <a:rPr lang="en-US"/>
              <a:t>Click to edit Master text styles</a:t>
            </a:r>
          </a:p>
        </p:txBody>
      </p:sp>
    </p:spTree>
    <p:extLst>
      <p:ext uri="{BB962C8B-B14F-4D97-AF65-F5344CB8AC3E}">
        <p14:creationId xmlns:p14="http://schemas.microsoft.com/office/powerpoint/2010/main" val="399579562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Tx" preserve="1">
  <p:cSld name="Four content">
    <p:spTree>
      <p:nvGrpSpPr>
        <p:cNvPr id="1" name=""/>
        <p:cNvGrpSpPr/>
        <p:nvPr/>
      </p:nvGrpSpPr>
      <p:grpSpPr>
        <a:xfrm>
          <a:off x="0" y="0"/>
          <a:ext cx="0" cy="0"/>
          <a:chOff x="0" y="0"/>
          <a:chExt cx="0" cy="0"/>
        </a:xfrm>
      </p:grpSpPr>
      <p:sp>
        <p:nvSpPr>
          <p:cNvPr id="2" name="Title 1"/>
          <p:cNvSpPr>
            <a:spLocks noGrp="1"/>
          </p:cNvSpPr>
          <p:nvPr>
            <p:ph type="title"/>
          </p:nvPr>
        </p:nvSpPr>
        <p:spPr>
          <a:xfrm>
            <a:off x="531692" y="360000"/>
            <a:ext cx="8374154" cy="468000"/>
          </a:xfrm>
        </p:spPr>
        <p:txBody>
          <a:bodyPr anchor="b">
            <a:normAutofit/>
          </a:bodyPr>
          <a:lstStyle>
            <a:lvl1pPr>
              <a:defRPr sz="3939">
                <a:solidFill>
                  <a:schemeClr val="tx2"/>
                </a:solidFill>
              </a:defRPr>
            </a:lvl1pPr>
          </a:lstStyle>
          <a:p>
            <a:r>
              <a:rPr lang="en-US"/>
              <a:t>Click to edit Master title style</a:t>
            </a:r>
          </a:p>
        </p:txBody>
      </p:sp>
      <p:sp>
        <p:nvSpPr>
          <p:cNvPr id="3" name="Content Placeholder 2"/>
          <p:cNvSpPr>
            <a:spLocks noGrp="1"/>
          </p:cNvSpPr>
          <p:nvPr>
            <p:ph idx="1"/>
          </p:nvPr>
        </p:nvSpPr>
        <p:spPr>
          <a:xfrm>
            <a:off x="531694" y="1665289"/>
            <a:ext cx="5316923" cy="2088000"/>
          </a:xfrm>
        </p:spPr>
        <p:txBody>
          <a:bodyPr>
            <a:noAutofit/>
          </a:bodyPr>
          <a:lstStyle>
            <a:lvl1pPr>
              <a:defRPr sz="2215"/>
            </a:lvl1pPr>
            <a:lvl2pPr>
              <a:defRPr sz="1969"/>
            </a:lvl2pPr>
            <a:lvl3pPr>
              <a:defRPr sz="1969"/>
            </a:lvl3pPr>
            <a:lvl4pPr>
              <a:defRPr sz="1969"/>
            </a:lvl4pPr>
            <a:lvl5pPr>
              <a:defRPr sz="1969"/>
            </a:lvl5pPr>
            <a:lvl6pPr>
              <a:defRPr sz="2462"/>
            </a:lvl6pPr>
            <a:lvl7pPr>
              <a:defRPr sz="2462"/>
            </a:lvl7pPr>
            <a:lvl8pPr>
              <a:defRPr sz="2462"/>
            </a:lvl8pPr>
            <a:lvl9pPr>
              <a:defRPr sz="2462"/>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31692" y="828000"/>
            <a:ext cx="8374154" cy="324000"/>
          </a:xfrm>
        </p:spPr>
        <p:txBody>
          <a:bodyPr>
            <a:normAutofit/>
          </a:bodyPr>
          <a:lstStyle>
            <a:lvl1pPr marL="0" indent="0">
              <a:buNone/>
              <a:defRPr sz="2215">
                <a:solidFill>
                  <a:schemeClr val="tx1"/>
                </a:solidFill>
              </a:defRPr>
            </a:lvl1pPr>
            <a:lvl2pPr marL="562722" indent="0">
              <a:buNone/>
              <a:defRPr sz="1723"/>
            </a:lvl2pPr>
            <a:lvl3pPr marL="1125444" indent="0">
              <a:buNone/>
              <a:defRPr sz="1477"/>
            </a:lvl3pPr>
            <a:lvl4pPr marL="1688165" indent="0">
              <a:buNone/>
              <a:defRPr sz="1231"/>
            </a:lvl4pPr>
            <a:lvl5pPr marL="2250887" indent="0">
              <a:buNone/>
              <a:defRPr sz="1231"/>
            </a:lvl5pPr>
            <a:lvl6pPr marL="2813609" indent="0">
              <a:buNone/>
              <a:defRPr sz="1231"/>
            </a:lvl6pPr>
            <a:lvl7pPr marL="3376331" indent="0">
              <a:buNone/>
              <a:defRPr sz="1231"/>
            </a:lvl7pPr>
            <a:lvl8pPr marL="3939052" indent="0">
              <a:buNone/>
              <a:defRPr sz="1231"/>
            </a:lvl8pPr>
            <a:lvl9pPr marL="4501774" indent="0">
              <a:buNone/>
              <a:defRPr sz="1231"/>
            </a:lvl9pPr>
          </a:lstStyle>
          <a:p>
            <a:pPr lvl="0"/>
            <a:r>
              <a:rPr lang="en-US"/>
              <a:t>Click to edit Master text styles</a:t>
            </a:r>
          </a:p>
        </p:txBody>
      </p:sp>
      <p:sp>
        <p:nvSpPr>
          <p:cNvPr id="6" name="Footer Placeholder 5"/>
          <p:cNvSpPr>
            <a:spLocks noGrp="1"/>
          </p:cNvSpPr>
          <p:nvPr>
            <p:ph type="ftr" sz="quarter" idx="11"/>
          </p:nvPr>
        </p:nvSpPr>
        <p:spPr/>
        <p:txBody>
          <a:bodyPr/>
          <a:lstStyle/>
          <a:p>
            <a:r>
              <a:rPr lang="en-GB"/>
              <a:t>Full-year results 2024</a:t>
            </a:r>
          </a:p>
        </p:txBody>
      </p:sp>
      <p:sp>
        <p:nvSpPr>
          <p:cNvPr id="7" name="Slide Number Placeholder 6"/>
          <p:cNvSpPr>
            <a:spLocks noGrp="1"/>
          </p:cNvSpPr>
          <p:nvPr>
            <p:ph type="sldNum" sz="quarter" idx="12"/>
          </p:nvPr>
        </p:nvSpPr>
        <p:spPr/>
        <p:txBody>
          <a:bodyPr/>
          <a:lstStyle/>
          <a:p>
            <a:fld id="{BFCF0D39-BEE8-4D89-987A-40261FE54395}" type="slidenum">
              <a:rPr lang="en-GB" smtClean="0"/>
              <a:t>‹#›</a:t>
            </a:fld>
            <a:endParaRPr lang="en-GB"/>
          </a:p>
        </p:txBody>
      </p:sp>
      <p:sp>
        <p:nvSpPr>
          <p:cNvPr id="8" name="Content Placeholder 2"/>
          <p:cNvSpPr>
            <a:spLocks noGrp="1"/>
          </p:cNvSpPr>
          <p:nvPr>
            <p:ph idx="13"/>
          </p:nvPr>
        </p:nvSpPr>
        <p:spPr>
          <a:xfrm>
            <a:off x="6340431" y="1665288"/>
            <a:ext cx="5316923" cy="2088000"/>
          </a:xfrm>
        </p:spPr>
        <p:txBody>
          <a:bodyPr>
            <a:noAutofit/>
          </a:bodyPr>
          <a:lstStyle>
            <a:lvl1pPr>
              <a:defRPr sz="2215"/>
            </a:lvl1pPr>
            <a:lvl2pPr>
              <a:defRPr sz="1969"/>
            </a:lvl2pPr>
            <a:lvl3pPr>
              <a:defRPr sz="1969"/>
            </a:lvl3pPr>
            <a:lvl4pPr>
              <a:defRPr sz="1969"/>
            </a:lvl4pPr>
            <a:lvl5pPr>
              <a:defRPr sz="1969"/>
            </a:lvl5pPr>
            <a:lvl6pPr>
              <a:defRPr sz="2462"/>
            </a:lvl6pPr>
            <a:lvl7pPr>
              <a:defRPr sz="2462"/>
            </a:lvl7pPr>
            <a:lvl8pPr>
              <a:defRPr sz="2462"/>
            </a:lvl8pPr>
            <a:lvl9pPr>
              <a:defRPr sz="2462"/>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p:cNvSpPr>
            <a:spLocks noGrp="1"/>
          </p:cNvSpPr>
          <p:nvPr>
            <p:ph idx="14"/>
          </p:nvPr>
        </p:nvSpPr>
        <p:spPr>
          <a:xfrm>
            <a:off x="533401" y="4077850"/>
            <a:ext cx="5316923" cy="2088000"/>
          </a:xfrm>
        </p:spPr>
        <p:txBody>
          <a:bodyPr>
            <a:noAutofit/>
          </a:bodyPr>
          <a:lstStyle>
            <a:lvl1pPr>
              <a:defRPr sz="2215"/>
            </a:lvl1pPr>
            <a:lvl2pPr>
              <a:defRPr sz="1969"/>
            </a:lvl2pPr>
            <a:lvl3pPr>
              <a:defRPr sz="1969"/>
            </a:lvl3pPr>
            <a:lvl4pPr>
              <a:defRPr sz="1969"/>
            </a:lvl4pPr>
            <a:lvl5pPr>
              <a:defRPr sz="1969"/>
            </a:lvl5pPr>
            <a:lvl6pPr>
              <a:defRPr sz="2462"/>
            </a:lvl6pPr>
            <a:lvl7pPr>
              <a:defRPr sz="2462"/>
            </a:lvl7pPr>
            <a:lvl8pPr>
              <a:defRPr sz="2462"/>
            </a:lvl8pPr>
            <a:lvl9pPr>
              <a:defRPr sz="2462"/>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p:cNvSpPr>
            <a:spLocks noGrp="1"/>
          </p:cNvSpPr>
          <p:nvPr>
            <p:ph idx="15"/>
          </p:nvPr>
        </p:nvSpPr>
        <p:spPr>
          <a:xfrm>
            <a:off x="6342138" y="4077849"/>
            <a:ext cx="5316923" cy="2088000"/>
          </a:xfrm>
        </p:spPr>
        <p:txBody>
          <a:bodyPr>
            <a:noAutofit/>
          </a:bodyPr>
          <a:lstStyle>
            <a:lvl1pPr>
              <a:defRPr sz="2215"/>
            </a:lvl1pPr>
            <a:lvl2pPr>
              <a:defRPr sz="1969"/>
            </a:lvl2pPr>
            <a:lvl3pPr>
              <a:defRPr sz="1969"/>
            </a:lvl3pPr>
            <a:lvl4pPr>
              <a:defRPr sz="1969"/>
            </a:lvl4pPr>
            <a:lvl5pPr>
              <a:defRPr sz="1969"/>
            </a:lvl5pPr>
            <a:lvl6pPr>
              <a:defRPr sz="2462"/>
            </a:lvl6pPr>
            <a:lvl7pPr>
              <a:defRPr sz="2462"/>
            </a:lvl7pPr>
            <a:lvl8pPr>
              <a:defRPr sz="2462"/>
            </a:lvl8pPr>
            <a:lvl9pPr>
              <a:defRPr sz="2462"/>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154028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31692" y="360000"/>
            <a:ext cx="8374154" cy="468000"/>
          </a:xfrm>
        </p:spPr>
        <p:txBody>
          <a:bodyPr anchor="b">
            <a:normAutofit/>
          </a:bodyPr>
          <a:lstStyle>
            <a:lvl1pPr>
              <a:defRPr sz="3939"/>
            </a:lvl1pPr>
          </a:lstStyle>
          <a:p>
            <a:r>
              <a:rPr lang="en-US"/>
              <a:t>Click to edit Master title style</a:t>
            </a:r>
          </a:p>
        </p:txBody>
      </p:sp>
      <p:sp>
        <p:nvSpPr>
          <p:cNvPr id="4" name="Text Placeholder 3"/>
          <p:cNvSpPr>
            <a:spLocks noGrp="1"/>
          </p:cNvSpPr>
          <p:nvPr>
            <p:ph type="body" sz="half" idx="2"/>
          </p:nvPr>
        </p:nvSpPr>
        <p:spPr>
          <a:xfrm>
            <a:off x="531692" y="828000"/>
            <a:ext cx="8374154" cy="324000"/>
          </a:xfrm>
        </p:spPr>
        <p:txBody>
          <a:bodyPr>
            <a:normAutofit/>
          </a:bodyPr>
          <a:lstStyle>
            <a:lvl1pPr marL="0" indent="0">
              <a:buNone/>
              <a:defRPr sz="2215">
                <a:solidFill>
                  <a:schemeClr val="tx1"/>
                </a:solidFill>
              </a:defRPr>
            </a:lvl1pPr>
            <a:lvl2pPr marL="562722" indent="0">
              <a:buNone/>
              <a:defRPr sz="1723"/>
            </a:lvl2pPr>
            <a:lvl3pPr marL="1125444" indent="0">
              <a:buNone/>
              <a:defRPr sz="1477"/>
            </a:lvl3pPr>
            <a:lvl4pPr marL="1688165" indent="0">
              <a:buNone/>
              <a:defRPr sz="1231"/>
            </a:lvl4pPr>
            <a:lvl5pPr marL="2250887" indent="0">
              <a:buNone/>
              <a:defRPr sz="1231"/>
            </a:lvl5pPr>
            <a:lvl6pPr marL="2813609" indent="0">
              <a:buNone/>
              <a:defRPr sz="1231"/>
            </a:lvl6pPr>
            <a:lvl7pPr marL="3376331" indent="0">
              <a:buNone/>
              <a:defRPr sz="1231"/>
            </a:lvl7pPr>
            <a:lvl8pPr marL="3939052" indent="0">
              <a:buNone/>
              <a:defRPr sz="1231"/>
            </a:lvl8pPr>
            <a:lvl9pPr marL="4501774" indent="0">
              <a:buNone/>
              <a:defRPr sz="1231"/>
            </a:lvl9pPr>
          </a:lstStyle>
          <a:p>
            <a:pPr lvl="0"/>
            <a:r>
              <a:rPr lang="en-US"/>
              <a:t>Click to edit Master text styles</a:t>
            </a:r>
          </a:p>
        </p:txBody>
      </p:sp>
      <p:sp>
        <p:nvSpPr>
          <p:cNvPr id="6" name="Footer Placeholder 5"/>
          <p:cNvSpPr>
            <a:spLocks noGrp="1"/>
          </p:cNvSpPr>
          <p:nvPr>
            <p:ph type="ftr" sz="quarter" idx="11"/>
          </p:nvPr>
        </p:nvSpPr>
        <p:spPr/>
        <p:txBody>
          <a:bodyPr/>
          <a:lstStyle/>
          <a:p>
            <a:r>
              <a:rPr lang="en-GB"/>
              <a:t>Full-year results 2024</a:t>
            </a:r>
          </a:p>
        </p:txBody>
      </p:sp>
      <p:sp>
        <p:nvSpPr>
          <p:cNvPr id="7" name="Slide Number Placeholder 6"/>
          <p:cNvSpPr>
            <a:spLocks noGrp="1"/>
          </p:cNvSpPr>
          <p:nvPr>
            <p:ph type="sldNum" sz="quarter" idx="12"/>
          </p:nvPr>
        </p:nvSpPr>
        <p:spPr/>
        <p:txBody>
          <a:bodyPr/>
          <a:lstStyle/>
          <a:p>
            <a:fld id="{BFCF0D39-BEE8-4D89-987A-40261FE54395}" type="slidenum">
              <a:rPr lang="en-GB" smtClean="0"/>
              <a:t>‹#›</a:t>
            </a:fld>
            <a:endParaRPr lang="en-GB"/>
          </a:p>
        </p:txBody>
      </p:sp>
    </p:spTree>
    <p:extLst>
      <p:ext uri="{BB962C8B-B14F-4D97-AF65-F5344CB8AC3E}">
        <p14:creationId xmlns:p14="http://schemas.microsoft.com/office/powerpoint/2010/main" val="87370831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chemeClr val="tx2"/>
        </a:solidFill>
        <a:effectLst/>
      </p:bgPr>
    </p:bg>
    <p:spTree>
      <p:nvGrpSpPr>
        <p:cNvPr id="1" name=""/>
        <p:cNvGrpSpPr/>
        <p:nvPr/>
      </p:nvGrpSpPr>
      <p:grpSpPr>
        <a:xfrm>
          <a:off x="0" y="0"/>
          <a:ext cx="0" cy="0"/>
          <a:chOff x="0" y="0"/>
          <a:chExt cx="0" cy="0"/>
        </a:xfrm>
      </p:grpSpPr>
      <p:sp>
        <p:nvSpPr>
          <p:cNvPr id="28" name="TextBox 27"/>
          <p:cNvSpPr txBox="1"/>
          <p:nvPr userDrawn="1"/>
        </p:nvSpPr>
        <p:spPr>
          <a:xfrm>
            <a:off x="533401" y="680404"/>
            <a:ext cx="2825838" cy="2424253"/>
          </a:xfrm>
          <a:prstGeom prst="rect">
            <a:avLst/>
          </a:prstGeom>
          <a:noFill/>
        </p:spPr>
        <p:txBody>
          <a:bodyPr wrap="none" lIns="0" tIns="0" rIns="0" bIns="0" rtlCol="0">
            <a:spAutoFit/>
          </a:bodyPr>
          <a:lstStyle/>
          <a:p>
            <a:pPr marL="0" indent="0">
              <a:spcBef>
                <a:spcPts val="0"/>
              </a:spcBef>
              <a:buNone/>
            </a:pPr>
            <a:r>
              <a:rPr lang="en-GB" sz="1969">
                <a:solidFill>
                  <a:schemeClr val="bg1"/>
                </a:solidFill>
              </a:rPr>
              <a:t>Caledonia Investments plc</a:t>
            </a:r>
          </a:p>
          <a:p>
            <a:pPr marL="0" indent="0">
              <a:spcBef>
                <a:spcPts val="0"/>
              </a:spcBef>
              <a:buNone/>
            </a:pPr>
            <a:r>
              <a:rPr lang="en-GB" sz="1969">
                <a:solidFill>
                  <a:schemeClr val="bg1"/>
                </a:solidFill>
              </a:rPr>
              <a:t>Cayzer House</a:t>
            </a:r>
          </a:p>
          <a:p>
            <a:pPr marL="0" indent="0">
              <a:spcBef>
                <a:spcPts val="0"/>
              </a:spcBef>
              <a:buNone/>
            </a:pPr>
            <a:r>
              <a:rPr lang="en-GB" sz="1969">
                <a:solidFill>
                  <a:schemeClr val="bg1"/>
                </a:solidFill>
              </a:rPr>
              <a:t>30 Buckingham Gate</a:t>
            </a:r>
          </a:p>
          <a:p>
            <a:pPr marL="0" indent="0">
              <a:spcBef>
                <a:spcPts val="0"/>
              </a:spcBef>
              <a:buNone/>
            </a:pPr>
            <a:r>
              <a:rPr lang="en-GB" sz="1969">
                <a:solidFill>
                  <a:schemeClr val="bg1"/>
                </a:solidFill>
              </a:rPr>
              <a:t>London</a:t>
            </a:r>
          </a:p>
          <a:p>
            <a:pPr marL="0" indent="0">
              <a:spcBef>
                <a:spcPts val="0"/>
              </a:spcBef>
              <a:buNone/>
            </a:pPr>
            <a:r>
              <a:rPr lang="en-GB" sz="1969">
                <a:solidFill>
                  <a:schemeClr val="bg1"/>
                </a:solidFill>
              </a:rPr>
              <a:t>SW1E 6NN</a:t>
            </a:r>
          </a:p>
          <a:p>
            <a:pPr marL="0" indent="0">
              <a:spcBef>
                <a:spcPts val="0"/>
              </a:spcBef>
              <a:buNone/>
            </a:pPr>
            <a:endParaRPr lang="en-GB" sz="1969">
              <a:solidFill>
                <a:schemeClr val="bg1"/>
              </a:solidFill>
            </a:endParaRPr>
          </a:p>
          <a:p>
            <a:pPr marL="0" indent="0">
              <a:spcBef>
                <a:spcPts val="0"/>
              </a:spcBef>
              <a:buNone/>
            </a:pPr>
            <a:r>
              <a:rPr lang="en-GB" sz="1969">
                <a:solidFill>
                  <a:schemeClr val="bg1"/>
                </a:solidFill>
              </a:rPr>
              <a:t>Tel: +44 20 7802 8080</a:t>
            </a:r>
          </a:p>
          <a:p>
            <a:pPr marL="0" indent="0">
              <a:spcBef>
                <a:spcPts val="0"/>
              </a:spcBef>
              <a:buNone/>
            </a:pPr>
            <a:r>
              <a:rPr lang="en-GB" sz="1969">
                <a:solidFill>
                  <a:schemeClr val="bg1"/>
                </a:solidFill>
              </a:rPr>
              <a:t>Web: www.caledonia.com</a:t>
            </a:r>
          </a:p>
        </p:txBody>
      </p:sp>
      <p:pic>
        <p:nvPicPr>
          <p:cNvPr id="2" name="Picture 1" descr="A black and white sign with white text&#10;&#10;Description automatically generated">
            <a:extLst>
              <a:ext uri="{FF2B5EF4-FFF2-40B4-BE49-F238E27FC236}">
                <a16:creationId xmlns:a16="http://schemas.microsoft.com/office/drawing/2014/main" id="{A180DA34-47B3-69D8-776D-6C3DF96C1F4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70173" y="468189"/>
            <a:ext cx="2922642" cy="905747"/>
          </a:xfrm>
          <a:prstGeom prst="rect">
            <a:avLst/>
          </a:prstGeom>
        </p:spPr>
      </p:pic>
    </p:spTree>
    <p:extLst>
      <p:ext uri="{BB962C8B-B14F-4D97-AF65-F5344CB8AC3E}">
        <p14:creationId xmlns:p14="http://schemas.microsoft.com/office/powerpoint/2010/main" val="1223140972"/>
      </p:ext>
    </p:extLst>
  </p:cSld>
  <p:clrMapOvr>
    <a:masterClrMapping/>
  </p:clrMapOvr>
  <p:extLst>
    <p:ext uri="{DCECCB84-F9BA-43D5-87BE-67443E8EF086}">
      <p15:sldGuideLst xmlns:p15="http://schemas.microsoft.com/office/powerpoint/2012/main">
        <p15:guide id="1" pos="1035" userDrawn="1">
          <p15:clr>
            <a:srgbClr val="FBAE40"/>
          </p15:clr>
        </p15:guide>
        <p15:guide id="2" orient="horz" pos="463"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Tx"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31692" y="360000"/>
            <a:ext cx="8374154" cy="468000"/>
          </a:xfrm>
        </p:spPr>
        <p:txBody>
          <a:bodyPr anchor="b">
            <a:normAutofit/>
          </a:bodyPr>
          <a:lstStyle>
            <a:lvl1pPr>
              <a:defRPr sz="3939">
                <a:solidFill>
                  <a:schemeClr val="tx2"/>
                </a:solidFill>
              </a:defRPr>
            </a:lvl1pPr>
          </a:lstStyle>
          <a:p>
            <a:r>
              <a:rPr lang="en-US"/>
              <a:t>Click to edit Master title style</a:t>
            </a:r>
          </a:p>
        </p:txBody>
      </p:sp>
      <p:sp>
        <p:nvSpPr>
          <p:cNvPr id="3" name="Content Placeholder 2"/>
          <p:cNvSpPr>
            <a:spLocks noGrp="1"/>
          </p:cNvSpPr>
          <p:nvPr>
            <p:ph idx="1"/>
          </p:nvPr>
        </p:nvSpPr>
        <p:spPr>
          <a:xfrm>
            <a:off x="531693" y="1665289"/>
            <a:ext cx="11126908" cy="4500562"/>
          </a:xfrm>
        </p:spPr>
        <p:txBody>
          <a:bodyPr>
            <a:noAutofit/>
          </a:bodyPr>
          <a:lstStyle>
            <a:lvl1pPr>
              <a:defRPr sz="2215"/>
            </a:lvl1pPr>
            <a:lvl2pPr>
              <a:defRPr sz="1969"/>
            </a:lvl2pPr>
            <a:lvl3pPr>
              <a:defRPr sz="1969"/>
            </a:lvl3pPr>
            <a:lvl4pPr>
              <a:defRPr sz="1969"/>
            </a:lvl4pPr>
            <a:lvl5pPr>
              <a:defRPr sz="1969"/>
            </a:lvl5pPr>
            <a:lvl6pPr>
              <a:defRPr sz="2462"/>
            </a:lvl6pPr>
            <a:lvl7pPr>
              <a:defRPr sz="2462"/>
            </a:lvl7pPr>
            <a:lvl8pPr>
              <a:defRPr sz="2462"/>
            </a:lvl8pPr>
            <a:lvl9pPr>
              <a:defRPr sz="2462"/>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31692" y="828000"/>
            <a:ext cx="8374154" cy="324000"/>
          </a:xfrm>
        </p:spPr>
        <p:txBody>
          <a:bodyPr>
            <a:normAutofit/>
          </a:bodyPr>
          <a:lstStyle>
            <a:lvl1pPr marL="0" indent="0">
              <a:buNone/>
              <a:defRPr sz="2215">
                <a:solidFill>
                  <a:schemeClr val="tx1"/>
                </a:solidFill>
              </a:defRPr>
            </a:lvl1pPr>
            <a:lvl2pPr marL="562722" indent="0">
              <a:buNone/>
              <a:defRPr sz="1723"/>
            </a:lvl2pPr>
            <a:lvl3pPr marL="1125444" indent="0">
              <a:buNone/>
              <a:defRPr sz="1477"/>
            </a:lvl3pPr>
            <a:lvl4pPr marL="1688165" indent="0">
              <a:buNone/>
              <a:defRPr sz="1231"/>
            </a:lvl4pPr>
            <a:lvl5pPr marL="2250887" indent="0">
              <a:buNone/>
              <a:defRPr sz="1231"/>
            </a:lvl5pPr>
            <a:lvl6pPr marL="2813609" indent="0">
              <a:buNone/>
              <a:defRPr sz="1231"/>
            </a:lvl6pPr>
            <a:lvl7pPr marL="3376331" indent="0">
              <a:buNone/>
              <a:defRPr sz="1231"/>
            </a:lvl7pPr>
            <a:lvl8pPr marL="3939052" indent="0">
              <a:buNone/>
              <a:defRPr sz="1231"/>
            </a:lvl8pPr>
            <a:lvl9pPr marL="4501774" indent="0">
              <a:buNone/>
              <a:defRPr sz="1231"/>
            </a:lvl9pPr>
          </a:lstStyle>
          <a:p>
            <a:pPr lvl="0"/>
            <a:r>
              <a:rPr lang="en-US"/>
              <a:t>Click to edit Master text styles</a:t>
            </a:r>
          </a:p>
        </p:txBody>
      </p:sp>
      <p:sp>
        <p:nvSpPr>
          <p:cNvPr id="6" name="Footer Placeholder 5"/>
          <p:cNvSpPr>
            <a:spLocks noGrp="1"/>
          </p:cNvSpPr>
          <p:nvPr>
            <p:ph type="ftr" sz="quarter" idx="11"/>
          </p:nvPr>
        </p:nvSpPr>
        <p:spPr/>
        <p:txBody>
          <a:bodyPr/>
          <a:lstStyle/>
          <a:p>
            <a:r>
              <a:rPr lang="en-GB"/>
              <a:t>Full-year results 2024</a:t>
            </a:r>
          </a:p>
        </p:txBody>
      </p:sp>
      <p:sp>
        <p:nvSpPr>
          <p:cNvPr id="7" name="Slide Number Placeholder 6"/>
          <p:cNvSpPr>
            <a:spLocks noGrp="1"/>
          </p:cNvSpPr>
          <p:nvPr>
            <p:ph type="sldNum" sz="quarter" idx="12"/>
          </p:nvPr>
        </p:nvSpPr>
        <p:spPr/>
        <p:txBody>
          <a:bodyPr/>
          <a:lstStyle/>
          <a:p>
            <a:fld id="{BFCF0D39-BEE8-4D89-987A-40261FE54395}" type="slidenum">
              <a:rPr lang="en-GB" smtClean="0"/>
              <a:t>‹#›</a:t>
            </a:fld>
            <a:endParaRPr lang="en-GB"/>
          </a:p>
        </p:txBody>
      </p:sp>
    </p:spTree>
    <p:extLst>
      <p:ext uri="{BB962C8B-B14F-4D97-AF65-F5344CB8AC3E}">
        <p14:creationId xmlns:p14="http://schemas.microsoft.com/office/powerpoint/2010/main" val="264631519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grpSp>
        <p:nvGrpSpPr>
          <p:cNvPr id="52" name="Group 51">
            <a:extLst>
              <a:ext uri="{FF2B5EF4-FFF2-40B4-BE49-F238E27FC236}">
                <a16:creationId xmlns:a16="http://schemas.microsoft.com/office/drawing/2014/main" id="{DAFDD720-2C55-5146-AEA0-872E94FFB3F7}"/>
              </a:ext>
            </a:extLst>
          </p:cNvPr>
          <p:cNvGrpSpPr/>
          <p:nvPr userDrawn="1"/>
        </p:nvGrpSpPr>
        <p:grpSpPr>
          <a:xfrm>
            <a:off x="3098800" y="1933201"/>
            <a:ext cx="8682894" cy="4929187"/>
            <a:chOff x="2517775" y="1914525"/>
            <a:chExt cx="7054851" cy="4929187"/>
          </a:xfrm>
          <a:solidFill>
            <a:schemeClr val="tx2">
              <a:alpha val="10000"/>
            </a:schemeClr>
          </a:solidFill>
        </p:grpSpPr>
        <p:sp>
          <p:nvSpPr>
            <p:cNvPr id="110" name="Freeform 27">
              <a:extLst>
                <a:ext uri="{FF2B5EF4-FFF2-40B4-BE49-F238E27FC236}">
                  <a16:creationId xmlns:a16="http://schemas.microsoft.com/office/drawing/2014/main" id="{13070082-32BD-9042-A5F8-BB528561D254}"/>
                </a:ext>
              </a:extLst>
            </p:cNvPr>
            <p:cNvSpPr>
              <a:spLocks noEditPoints="1"/>
            </p:cNvSpPr>
            <p:nvPr userDrawn="1"/>
          </p:nvSpPr>
          <p:spPr bwMode="auto">
            <a:xfrm>
              <a:off x="2517775" y="1914525"/>
              <a:ext cx="7054851" cy="4929187"/>
            </a:xfrm>
            <a:custGeom>
              <a:avLst/>
              <a:gdLst>
                <a:gd name="T0" fmla="*/ 820 w 1517"/>
                <a:gd name="T1" fmla="*/ 1049 h 1059"/>
                <a:gd name="T2" fmla="*/ 1071 w 1517"/>
                <a:gd name="T3" fmla="*/ 1036 h 1059"/>
                <a:gd name="T4" fmla="*/ 1424 w 1517"/>
                <a:gd name="T5" fmla="*/ 995 h 1059"/>
                <a:gd name="T6" fmla="*/ 1413 w 1517"/>
                <a:gd name="T7" fmla="*/ 474 h 1059"/>
                <a:gd name="T8" fmla="*/ 979 w 1517"/>
                <a:gd name="T9" fmla="*/ 645 h 1059"/>
                <a:gd name="T10" fmla="*/ 1123 w 1517"/>
                <a:gd name="T11" fmla="*/ 294 h 1059"/>
                <a:gd name="T12" fmla="*/ 1064 w 1517"/>
                <a:gd name="T13" fmla="*/ 32 h 1059"/>
                <a:gd name="T14" fmla="*/ 707 w 1517"/>
                <a:gd name="T15" fmla="*/ 196 h 1059"/>
                <a:gd name="T16" fmla="*/ 691 w 1517"/>
                <a:gd name="T17" fmla="*/ 250 h 1059"/>
                <a:gd name="T18" fmla="*/ 280 w 1517"/>
                <a:gd name="T19" fmla="*/ 44 h 1059"/>
                <a:gd name="T20" fmla="*/ 296 w 1517"/>
                <a:gd name="T21" fmla="*/ 800 h 1059"/>
                <a:gd name="T22" fmla="*/ 461 w 1517"/>
                <a:gd name="T23" fmla="*/ 807 h 1059"/>
                <a:gd name="T24" fmla="*/ 562 w 1517"/>
                <a:gd name="T25" fmla="*/ 710 h 1059"/>
                <a:gd name="T26" fmla="*/ 577 w 1517"/>
                <a:gd name="T27" fmla="*/ 814 h 1059"/>
                <a:gd name="T28" fmla="*/ 897 w 1517"/>
                <a:gd name="T29" fmla="*/ 908 h 1059"/>
                <a:gd name="T30" fmla="*/ 807 w 1517"/>
                <a:gd name="T31" fmla="*/ 841 h 1059"/>
                <a:gd name="T32" fmla="*/ 785 w 1517"/>
                <a:gd name="T33" fmla="*/ 733 h 1059"/>
                <a:gd name="T34" fmla="*/ 725 w 1517"/>
                <a:gd name="T35" fmla="*/ 792 h 1059"/>
                <a:gd name="T36" fmla="*/ 659 w 1517"/>
                <a:gd name="T37" fmla="*/ 809 h 1059"/>
                <a:gd name="T38" fmla="*/ 671 w 1517"/>
                <a:gd name="T39" fmla="*/ 683 h 1059"/>
                <a:gd name="T40" fmla="*/ 661 w 1517"/>
                <a:gd name="T41" fmla="*/ 862 h 1059"/>
                <a:gd name="T42" fmla="*/ 779 w 1517"/>
                <a:gd name="T43" fmla="*/ 1041 h 1059"/>
                <a:gd name="T44" fmla="*/ 825 w 1517"/>
                <a:gd name="T45" fmla="*/ 1003 h 1059"/>
                <a:gd name="T46" fmla="*/ 937 w 1517"/>
                <a:gd name="T47" fmla="*/ 987 h 1059"/>
                <a:gd name="T48" fmla="*/ 1100 w 1517"/>
                <a:gd name="T49" fmla="*/ 915 h 1059"/>
                <a:gd name="T50" fmla="*/ 1198 w 1517"/>
                <a:gd name="T51" fmla="*/ 585 h 1059"/>
                <a:gd name="T52" fmla="*/ 1451 w 1517"/>
                <a:gd name="T53" fmla="*/ 824 h 1059"/>
                <a:gd name="T54" fmla="*/ 1188 w 1517"/>
                <a:gd name="T55" fmla="*/ 742 h 1059"/>
                <a:gd name="T56" fmla="*/ 1161 w 1517"/>
                <a:gd name="T57" fmla="*/ 787 h 1059"/>
                <a:gd name="T58" fmla="*/ 1113 w 1517"/>
                <a:gd name="T59" fmla="*/ 787 h 1059"/>
                <a:gd name="T60" fmla="*/ 1087 w 1517"/>
                <a:gd name="T61" fmla="*/ 892 h 1059"/>
                <a:gd name="T62" fmla="*/ 940 w 1517"/>
                <a:gd name="T63" fmla="*/ 766 h 1059"/>
                <a:gd name="T64" fmla="*/ 977 w 1517"/>
                <a:gd name="T65" fmla="*/ 600 h 1059"/>
                <a:gd name="T66" fmla="*/ 1016 w 1517"/>
                <a:gd name="T67" fmla="*/ 563 h 1059"/>
                <a:gd name="T68" fmla="*/ 910 w 1517"/>
                <a:gd name="T69" fmla="*/ 366 h 1059"/>
                <a:gd name="T70" fmla="*/ 850 w 1517"/>
                <a:gd name="T71" fmla="*/ 431 h 1059"/>
                <a:gd name="T72" fmla="*/ 892 w 1517"/>
                <a:gd name="T73" fmla="*/ 475 h 1059"/>
                <a:gd name="T74" fmla="*/ 1040 w 1517"/>
                <a:gd name="T75" fmla="*/ 560 h 1059"/>
                <a:gd name="T76" fmla="*/ 1041 w 1517"/>
                <a:gd name="T77" fmla="*/ 518 h 1059"/>
                <a:gd name="T78" fmla="*/ 780 w 1517"/>
                <a:gd name="T79" fmla="*/ 259 h 1059"/>
                <a:gd name="T80" fmla="*/ 830 w 1517"/>
                <a:gd name="T81" fmla="*/ 284 h 1059"/>
                <a:gd name="T82" fmla="*/ 773 w 1517"/>
                <a:gd name="T83" fmla="*/ 355 h 1059"/>
                <a:gd name="T84" fmla="*/ 886 w 1517"/>
                <a:gd name="T85" fmla="*/ 288 h 1059"/>
                <a:gd name="T86" fmla="*/ 801 w 1517"/>
                <a:gd name="T87" fmla="*/ 182 h 1059"/>
                <a:gd name="T88" fmla="*/ 1027 w 1517"/>
                <a:gd name="T89" fmla="*/ 77 h 1059"/>
                <a:gd name="T90" fmla="*/ 1115 w 1517"/>
                <a:gd name="T91" fmla="*/ 177 h 1059"/>
                <a:gd name="T92" fmla="*/ 1091 w 1517"/>
                <a:gd name="T93" fmla="*/ 411 h 1059"/>
                <a:gd name="T94" fmla="*/ 932 w 1517"/>
                <a:gd name="T95" fmla="*/ 354 h 1059"/>
                <a:gd name="T96" fmla="*/ 793 w 1517"/>
                <a:gd name="T97" fmla="*/ 463 h 1059"/>
                <a:gd name="T98" fmla="*/ 720 w 1517"/>
                <a:gd name="T99" fmla="*/ 316 h 1059"/>
                <a:gd name="T100" fmla="*/ 661 w 1517"/>
                <a:gd name="T101" fmla="*/ 397 h 1059"/>
                <a:gd name="T102" fmla="*/ 728 w 1517"/>
                <a:gd name="T103" fmla="*/ 360 h 1059"/>
                <a:gd name="T104" fmla="*/ 468 w 1517"/>
                <a:gd name="T105" fmla="*/ 480 h 1059"/>
                <a:gd name="T106" fmla="*/ 358 w 1517"/>
                <a:gd name="T107" fmla="*/ 443 h 1059"/>
                <a:gd name="T108" fmla="*/ 435 w 1517"/>
                <a:gd name="T109" fmla="*/ 449 h 1059"/>
                <a:gd name="T110" fmla="*/ 166 w 1517"/>
                <a:gd name="T111" fmla="*/ 154 h 1059"/>
                <a:gd name="T112" fmla="*/ 310 w 1517"/>
                <a:gd name="T113" fmla="*/ 402 h 1059"/>
                <a:gd name="T114" fmla="*/ 362 w 1517"/>
                <a:gd name="T115" fmla="*/ 574 h 1059"/>
                <a:gd name="T116" fmla="*/ 437 w 1517"/>
                <a:gd name="T117" fmla="*/ 508 h 1059"/>
                <a:gd name="T118" fmla="*/ 478 w 1517"/>
                <a:gd name="T119" fmla="*/ 527 h 1059"/>
                <a:gd name="T120" fmla="*/ 785 w 1517"/>
                <a:gd name="T121" fmla="*/ 650 h 1059"/>
                <a:gd name="T122" fmla="*/ 484 w 1517"/>
                <a:gd name="T123" fmla="*/ 711 h 1059"/>
                <a:gd name="T124" fmla="*/ 384 w 1517"/>
                <a:gd name="T125" fmla="*/ 781 h 10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17" h="1059">
                  <a:moveTo>
                    <a:pt x="101" y="939"/>
                  </a:moveTo>
                  <a:cubicBezTo>
                    <a:pt x="106" y="954"/>
                    <a:pt x="65" y="1006"/>
                    <a:pt x="78" y="1022"/>
                  </a:cubicBezTo>
                  <a:cubicBezTo>
                    <a:pt x="96" y="1043"/>
                    <a:pt x="155" y="974"/>
                    <a:pt x="200" y="977"/>
                  </a:cubicBezTo>
                  <a:cubicBezTo>
                    <a:pt x="235" y="980"/>
                    <a:pt x="242" y="1049"/>
                    <a:pt x="260" y="1052"/>
                  </a:cubicBezTo>
                  <a:cubicBezTo>
                    <a:pt x="279" y="1055"/>
                    <a:pt x="282" y="977"/>
                    <a:pt x="321" y="964"/>
                  </a:cubicBezTo>
                  <a:cubicBezTo>
                    <a:pt x="374" y="946"/>
                    <a:pt x="389" y="992"/>
                    <a:pt x="406" y="981"/>
                  </a:cubicBezTo>
                  <a:cubicBezTo>
                    <a:pt x="433" y="962"/>
                    <a:pt x="379" y="920"/>
                    <a:pt x="402" y="889"/>
                  </a:cubicBezTo>
                  <a:cubicBezTo>
                    <a:pt x="417" y="869"/>
                    <a:pt x="527" y="882"/>
                    <a:pt x="604" y="858"/>
                  </a:cubicBezTo>
                  <a:cubicBezTo>
                    <a:pt x="608" y="857"/>
                    <a:pt x="611" y="858"/>
                    <a:pt x="612" y="861"/>
                  </a:cubicBezTo>
                  <a:cubicBezTo>
                    <a:pt x="646" y="934"/>
                    <a:pt x="726" y="992"/>
                    <a:pt x="751" y="1009"/>
                  </a:cubicBezTo>
                  <a:cubicBezTo>
                    <a:pt x="761" y="1016"/>
                    <a:pt x="757" y="1022"/>
                    <a:pt x="756" y="1023"/>
                  </a:cubicBezTo>
                  <a:cubicBezTo>
                    <a:pt x="749" y="1035"/>
                    <a:pt x="743" y="1047"/>
                    <a:pt x="738" y="1059"/>
                  </a:cubicBezTo>
                  <a:cubicBezTo>
                    <a:pt x="754" y="1059"/>
                    <a:pt x="754" y="1059"/>
                    <a:pt x="754" y="1059"/>
                  </a:cubicBezTo>
                  <a:cubicBezTo>
                    <a:pt x="758" y="1052"/>
                    <a:pt x="761" y="1046"/>
                    <a:pt x="763" y="1046"/>
                  </a:cubicBezTo>
                  <a:cubicBezTo>
                    <a:pt x="769" y="1044"/>
                    <a:pt x="771" y="1051"/>
                    <a:pt x="771" y="1059"/>
                  </a:cubicBezTo>
                  <a:cubicBezTo>
                    <a:pt x="821" y="1059"/>
                    <a:pt x="821" y="1059"/>
                    <a:pt x="821" y="1059"/>
                  </a:cubicBezTo>
                  <a:cubicBezTo>
                    <a:pt x="819" y="1054"/>
                    <a:pt x="819" y="1050"/>
                    <a:pt x="820" y="1049"/>
                  </a:cubicBezTo>
                  <a:cubicBezTo>
                    <a:pt x="822" y="1046"/>
                    <a:pt x="836" y="1054"/>
                    <a:pt x="842" y="1059"/>
                  </a:cubicBezTo>
                  <a:cubicBezTo>
                    <a:pt x="911" y="1059"/>
                    <a:pt x="911" y="1059"/>
                    <a:pt x="911" y="1059"/>
                  </a:cubicBezTo>
                  <a:cubicBezTo>
                    <a:pt x="900" y="1056"/>
                    <a:pt x="890" y="1050"/>
                    <a:pt x="892" y="1046"/>
                  </a:cubicBezTo>
                  <a:cubicBezTo>
                    <a:pt x="901" y="1024"/>
                    <a:pt x="893" y="1010"/>
                    <a:pt x="895" y="1006"/>
                  </a:cubicBezTo>
                  <a:cubicBezTo>
                    <a:pt x="897" y="1002"/>
                    <a:pt x="906" y="1006"/>
                    <a:pt x="923" y="999"/>
                  </a:cubicBezTo>
                  <a:cubicBezTo>
                    <a:pt x="930" y="995"/>
                    <a:pt x="958" y="1027"/>
                    <a:pt x="947" y="1048"/>
                  </a:cubicBezTo>
                  <a:cubicBezTo>
                    <a:pt x="944" y="1054"/>
                    <a:pt x="939" y="1057"/>
                    <a:pt x="933" y="1059"/>
                  </a:cubicBezTo>
                  <a:cubicBezTo>
                    <a:pt x="958" y="1059"/>
                    <a:pt x="958" y="1059"/>
                    <a:pt x="958" y="1059"/>
                  </a:cubicBezTo>
                  <a:cubicBezTo>
                    <a:pt x="973" y="1030"/>
                    <a:pt x="957" y="1024"/>
                    <a:pt x="963" y="1017"/>
                  </a:cubicBezTo>
                  <a:cubicBezTo>
                    <a:pt x="966" y="1013"/>
                    <a:pt x="971" y="1024"/>
                    <a:pt x="992" y="1016"/>
                  </a:cubicBezTo>
                  <a:cubicBezTo>
                    <a:pt x="998" y="1013"/>
                    <a:pt x="1011" y="1041"/>
                    <a:pt x="1006" y="1059"/>
                  </a:cubicBezTo>
                  <a:cubicBezTo>
                    <a:pt x="1019" y="1059"/>
                    <a:pt x="1019" y="1059"/>
                    <a:pt x="1019" y="1059"/>
                  </a:cubicBezTo>
                  <a:cubicBezTo>
                    <a:pt x="1021" y="1049"/>
                    <a:pt x="1019" y="1044"/>
                    <a:pt x="1023" y="1042"/>
                  </a:cubicBezTo>
                  <a:cubicBezTo>
                    <a:pt x="1029" y="1037"/>
                    <a:pt x="1025" y="1049"/>
                    <a:pt x="1058" y="1044"/>
                  </a:cubicBezTo>
                  <a:cubicBezTo>
                    <a:pt x="1061" y="1043"/>
                    <a:pt x="1065" y="1050"/>
                    <a:pt x="1066" y="1059"/>
                  </a:cubicBezTo>
                  <a:cubicBezTo>
                    <a:pt x="1081" y="1059"/>
                    <a:pt x="1081" y="1059"/>
                    <a:pt x="1081" y="1059"/>
                  </a:cubicBezTo>
                  <a:cubicBezTo>
                    <a:pt x="1073" y="1050"/>
                    <a:pt x="1068" y="1039"/>
                    <a:pt x="1071" y="1036"/>
                  </a:cubicBezTo>
                  <a:cubicBezTo>
                    <a:pt x="1086" y="1020"/>
                    <a:pt x="1079" y="1007"/>
                    <a:pt x="1083" y="1004"/>
                  </a:cubicBezTo>
                  <a:cubicBezTo>
                    <a:pt x="1089" y="1000"/>
                    <a:pt x="1095" y="1014"/>
                    <a:pt x="1115" y="1007"/>
                  </a:cubicBezTo>
                  <a:cubicBezTo>
                    <a:pt x="1127" y="1002"/>
                    <a:pt x="1136" y="1037"/>
                    <a:pt x="1131" y="1059"/>
                  </a:cubicBezTo>
                  <a:cubicBezTo>
                    <a:pt x="1144" y="1059"/>
                    <a:pt x="1144" y="1059"/>
                    <a:pt x="1144" y="1059"/>
                  </a:cubicBezTo>
                  <a:cubicBezTo>
                    <a:pt x="1145" y="1054"/>
                    <a:pt x="1145" y="1051"/>
                    <a:pt x="1149" y="1051"/>
                  </a:cubicBezTo>
                  <a:cubicBezTo>
                    <a:pt x="1153" y="1051"/>
                    <a:pt x="1160" y="1055"/>
                    <a:pt x="1166" y="1059"/>
                  </a:cubicBezTo>
                  <a:cubicBezTo>
                    <a:pt x="1191" y="1059"/>
                    <a:pt x="1191" y="1059"/>
                    <a:pt x="1191" y="1059"/>
                  </a:cubicBezTo>
                  <a:cubicBezTo>
                    <a:pt x="1180" y="1001"/>
                    <a:pt x="1153" y="950"/>
                    <a:pt x="1110" y="895"/>
                  </a:cubicBezTo>
                  <a:cubicBezTo>
                    <a:pt x="1108" y="891"/>
                    <a:pt x="1109" y="882"/>
                    <a:pt x="1112" y="881"/>
                  </a:cubicBezTo>
                  <a:cubicBezTo>
                    <a:pt x="1159" y="858"/>
                    <a:pt x="1189" y="839"/>
                    <a:pt x="1211" y="824"/>
                  </a:cubicBezTo>
                  <a:cubicBezTo>
                    <a:pt x="1211" y="824"/>
                    <a:pt x="1220" y="816"/>
                    <a:pt x="1223" y="832"/>
                  </a:cubicBezTo>
                  <a:cubicBezTo>
                    <a:pt x="1223" y="836"/>
                    <a:pt x="1226" y="858"/>
                    <a:pt x="1239" y="876"/>
                  </a:cubicBezTo>
                  <a:cubicBezTo>
                    <a:pt x="1281" y="931"/>
                    <a:pt x="1323" y="909"/>
                    <a:pt x="1364" y="952"/>
                  </a:cubicBezTo>
                  <a:cubicBezTo>
                    <a:pt x="1376" y="964"/>
                    <a:pt x="1376" y="989"/>
                    <a:pt x="1365" y="1005"/>
                  </a:cubicBezTo>
                  <a:cubicBezTo>
                    <a:pt x="1358" y="1014"/>
                    <a:pt x="1358" y="1017"/>
                    <a:pt x="1367" y="1016"/>
                  </a:cubicBezTo>
                  <a:cubicBezTo>
                    <a:pt x="1412" y="997"/>
                    <a:pt x="1410" y="980"/>
                    <a:pt x="1419" y="977"/>
                  </a:cubicBezTo>
                  <a:cubicBezTo>
                    <a:pt x="1423" y="975"/>
                    <a:pt x="1422" y="988"/>
                    <a:pt x="1424" y="995"/>
                  </a:cubicBezTo>
                  <a:cubicBezTo>
                    <a:pt x="1425" y="999"/>
                    <a:pt x="1431" y="996"/>
                    <a:pt x="1432" y="995"/>
                  </a:cubicBezTo>
                  <a:cubicBezTo>
                    <a:pt x="1496" y="917"/>
                    <a:pt x="1454" y="857"/>
                    <a:pt x="1454" y="857"/>
                  </a:cubicBezTo>
                  <a:cubicBezTo>
                    <a:pt x="1454" y="857"/>
                    <a:pt x="1448" y="844"/>
                    <a:pt x="1458" y="849"/>
                  </a:cubicBezTo>
                  <a:cubicBezTo>
                    <a:pt x="1463" y="851"/>
                    <a:pt x="1470" y="857"/>
                    <a:pt x="1477" y="864"/>
                  </a:cubicBezTo>
                  <a:cubicBezTo>
                    <a:pt x="1483" y="867"/>
                    <a:pt x="1483" y="857"/>
                    <a:pt x="1482" y="855"/>
                  </a:cubicBezTo>
                  <a:cubicBezTo>
                    <a:pt x="1478" y="831"/>
                    <a:pt x="1465" y="804"/>
                    <a:pt x="1423" y="770"/>
                  </a:cubicBezTo>
                  <a:cubicBezTo>
                    <a:pt x="1414" y="765"/>
                    <a:pt x="1413" y="760"/>
                    <a:pt x="1420" y="755"/>
                  </a:cubicBezTo>
                  <a:cubicBezTo>
                    <a:pt x="1427" y="750"/>
                    <a:pt x="1441" y="736"/>
                    <a:pt x="1453" y="721"/>
                  </a:cubicBezTo>
                  <a:cubicBezTo>
                    <a:pt x="1471" y="698"/>
                    <a:pt x="1469" y="670"/>
                    <a:pt x="1484" y="651"/>
                  </a:cubicBezTo>
                  <a:cubicBezTo>
                    <a:pt x="1490" y="642"/>
                    <a:pt x="1497" y="639"/>
                    <a:pt x="1513" y="636"/>
                  </a:cubicBezTo>
                  <a:cubicBezTo>
                    <a:pt x="1517" y="636"/>
                    <a:pt x="1515" y="629"/>
                    <a:pt x="1515" y="629"/>
                  </a:cubicBezTo>
                  <a:cubicBezTo>
                    <a:pt x="1515" y="629"/>
                    <a:pt x="1496" y="603"/>
                    <a:pt x="1444" y="608"/>
                  </a:cubicBezTo>
                  <a:cubicBezTo>
                    <a:pt x="1439" y="608"/>
                    <a:pt x="1439" y="604"/>
                    <a:pt x="1437" y="598"/>
                  </a:cubicBezTo>
                  <a:cubicBezTo>
                    <a:pt x="1434" y="590"/>
                    <a:pt x="1434" y="575"/>
                    <a:pt x="1433" y="553"/>
                  </a:cubicBezTo>
                  <a:cubicBezTo>
                    <a:pt x="1431" y="529"/>
                    <a:pt x="1458" y="509"/>
                    <a:pt x="1456" y="481"/>
                  </a:cubicBezTo>
                  <a:cubicBezTo>
                    <a:pt x="1455" y="446"/>
                    <a:pt x="1444" y="432"/>
                    <a:pt x="1438" y="434"/>
                  </a:cubicBezTo>
                  <a:cubicBezTo>
                    <a:pt x="1431" y="436"/>
                    <a:pt x="1439" y="454"/>
                    <a:pt x="1413" y="474"/>
                  </a:cubicBezTo>
                  <a:cubicBezTo>
                    <a:pt x="1399" y="484"/>
                    <a:pt x="1383" y="488"/>
                    <a:pt x="1368" y="497"/>
                  </a:cubicBezTo>
                  <a:cubicBezTo>
                    <a:pt x="1353" y="506"/>
                    <a:pt x="1349" y="513"/>
                    <a:pt x="1349" y="513"/>
                  </a:cubicBezTo>
                  <a:cubicBezTo>
                    <a:pt x="1341" y="517"/>
                    <a:pt x="1340" y="507"/>
                    <a:pt x="1342" y="501"/>
                  </a:cubicBezTo>
                  <a:cubicBezTo>
                    <a:pt x="1344" y="494"/>
                    <a:pt x="1344" y="490"/>
                    <a:pt x="1336" y="493"/>
                  </a:cubicBezTo>
                  <a:cubicBezTo>
                    <a:pt x="1313" y="510"/>
                    <a:pt x="1296" y="523"/>
                    <a:pt x="1281" y="549"/>
                  </a:cubicBezTo>
                  <a:cubicBezTo>
                    <a:pt x="1271" y="566"/>
                    <a:pt x="1266" y="583"/>
                    <a:pt x="1261" y="592"/>
                  </a:cubicBezTo>
                  <a:cubicBezTo>
                    <a:pt x="1257" y="597"/>
                    <a:pt x="1254" y="600"/>
                    <a:pt x="1252" y="599"/>
                  </a:cubicBezTo>
                  <a:cubicBezTo>
                    <a:pt x="1196" y="568"/>
                    <a:pt x="1214" y="549"/>
                    <a:pt x="1206" y="547"/>
                  </a:cubicBezTo>
                  <a:cubicBezTo>
                    <a:pt x="1194" y="543"/>
                    <a:pt x="1192" y="577"/>
                    <a:pt x="1179" y="570"/>
                  </a:cubicBezTo>
                  <a:cubicBezTo>
                    <a:pt x="1166" y="563"/>
                    <a:pt x="1186" y="535"/>
                    <a:pt x="1176" y="528"/>
                  </a:cubicBezTo>
                  <a:cubicBezTo>
                    <a:pt x="1172" y="525"/>
                    <a:pt x="1122" y="547"/>
                    <a:pt x="1125" y="599"/>
                  </a:cubicBezTo>
                  <a:cubicBezTo>
                    <a:pt x="1126" y="640"/>
                    <a:pt x="1163" y="660"/>
                    <a:pt x="1178" y="688"/>
                  </a:cubicBezTo>
                  <a:cubicBezTo>
                    <a:pt x="1190" y="711"/>
                    <a:pt x="1190" y="723"/>
                    <a:pt x="1185" y="730"/>
                  </a:cubicBezTo>
                  <a:cubicBezTo>
                    <a:pt x="1180" y="738"/>
                    <a:pt x="1053" y="787"/>
                    <a:pt x="1049" y="789"/>
                  </a:cubicBezTo>
                  <a:cubicBezTo>
                    <a:pt x="1038" y="792"/>
                    <a:pt x="1035" y="783"/>
                    <a:pt x="1035" y="783"/>
                  </a:cubicBezTo>
                  <a:cubicBezTo>
                    <a:pt x="1035" y="783"/>
                    <a:pt x="993" y="704"/>
                    <a:pt x="979" y="663"/>
                  </a:cubicBezTo>
                  <a:cubicBezTo>
                    <a:pt x="975" y="652"/>
                    <a:pt x="978" y="647"/>
                    <a:pt x="979" y="645"/>
                  </a:cubicBezTo>
                  <a:cubicBezTo>
                    <a:pt x="981" y="642"/>
                    <a:pt x="984" y="639"/>
                    <a:pt x="985" y="635"/>
                  </a:cubicBezTo>
                  <a:cubicBezTo>
                    <a:pt x="987" y="629"/>
                    <a:pt x="987" y="623"/>
                    <a:pt x="989" y="621"/>
                  </a:cubicBezTo>
                  <a:cubicBezTo>
                    <a:pt x="991" y="618"/>
                    <a:pt x="995" y="610"/>
                    <a:pt x="1013" y="598"/>
                  </a:cubicBezTo>
                  <a:cubicBezTo>
                    <a:pt x="1028" y="588"/>
                    <a:pt x="1047" y="582"/>
                    <a:pt x="1062" y="573"/>
                  </a:cubicBezTo>
                  <a:cubicBezTo>
                    <a:pt x="1067" y="570"/>
                    <a:pt x="1067" y="566"/>
                    <a:pt x="1071" y="563"/>
                  </a:cubicBezTo>
                  <a:cubicBezTo>
                    <a:pt x="1076" y="559"/>
                    <a:pt x="1085" y="555"/>
                    <a:pt x="1087" y="553"/>
                  </a:cubicBezTo>
                  <a:cubicBezTo>
                    <a:pt x="1100" y="537"/>
                    <a:pt x="1108" y="509"/>
                    <a:pt x="1107" y="506"/>
                  </a:cubicBezTo>
                  <a:cubicBezTo>
                    <a:pt x="1105" y="502"/>
                    <a:pt x="1095" y="508"/>
                    <a:pt x="1094" y="505"/>
                  </a:cubicBezTo>
                  <a:cubicBezTo>
                    <a:pt x="1092" y="501"/>
                    <a:pt x="1099" y="488"/>
                    <a:pt x="1095" y="484"/>
                  </a:cubicBezTo>
                  <a:cubicBezTo>
                    <a:pt x="1091" y="480"/>
                    <a:pt x="1078" y="490"/>
                    <a:pt x="1074" y="483"/>
                  </a:cubicBezTo>
                  <a:cubicBezTo>
                    <a:pt x="1071" y="479"/>
                    <a:pt x="1076" y="466"/>
                    <a:pt x="1079" y="464"/>
                  </a:cubicBezTo>
                  <a:cubicBezTo>
                    <a:pt x="1089" y="461"/>
                    <a:pt x="1110" y="478"/>
                    <a:pt x="1118" y="469"/>
                  </a:cubicBezTo>
                  <a:cubicBezTo>
                    <a:pt x="1122" y="466"/>
                    <a:pt x="1101" y="441"/>
                    <a:pt x="1110" y="418"/>
                  </a:cubicBezTo>
                  <a:cubicBezTo>
                    <a:pt x="1124" y="380"/>
                    <a:pt x="1119" y="371"/>
                    <a:pt x="1120" y="366"/>
                  </a:cubicBezTo>
                  <a:cubicBezTo>
                    <a:pt x="1120" y="363"/>
                    <a:pt x="1132" y="351"/>
                    <a:pt x="1137" y="347"/>
                  </a:cubicBezTo>
                  <a:cubicBezTo>
                    <a:pt x="1140" y="344"/>
                    <a:pt x="1139" y="340"/>
                    <a:pt x="1138" y="335"/>
                  </a:cubicBezTo>
                  <a:cubicBezTo>
                    <a:pt x="1137" y="330"/>
                    <a:pt x="1123" y="294"/>
                    <a:pt x="1123" y="294"/>
                  </a:cubicBezTo>
                  <a:cubicBezTo>
                    <a:pt x="1122" y="291"/>
                    <a:pt x="1123" y="287"/>
                    <a:pt x="1126" y="285"/>
                  </a:cubicBezTo>
                  <a:cubicBezTo>
                    <a:pt x="1133" y="277"/>
                    <a:pt x="1151" y="271"/>
                    <a:pt x="1155" y="244"/>
                  </a:cubicBezTo>
                  <a:cubicBezTo>
                    <a:pt x="1157" y="235"/>
                    <a:pt x="1159" y="218"/>
                    <a:pt x="1158" y="210"/>
                  </a:cubicBezTo>
                  <a:cubicBezTo>
                    <a:pt x="1155" y="197"/>
                    <a:pt x="1149" y="192"/>
                    <a:pt x="1149" y="188"/>
                  </a:cubicBezTo>
                  <a:cubicBezTo>
                    <a:pt x="1152" y="178"/>
                    <a:pt x="1165" y="178"/>
                    <a:pt x="1166" y="170"/>
                  </a:cubicBezTo>
                  <a:cubicBezTo>
                    <a:pt x="1166" y="168"/>
                    <a:pt x="1160" y="165"/>
                    <a:pt x="1158" y="161"/>
                  </a:cubicBezTo>
                  <a:cubicBezTo>
                    <a:pt x="1156" y="157"/>
                    <a:pt x="1157" y="152"/>
                    <a:pt x="1161" y="146"/>
                  </a:cubicBezTo>
                  <a:cubicBezTo>
                    <a:pt x="1166" y="137"/>
                    <a:pt x="1182" y="126"/>
                    <a:pt x="1182" y="124"/>
                  </a:cubicBezTo>
                  <a:cubicBezTo>
                    <a:pt x="1181" y="116"/>
                    <a:pt x="1170" y="120"/>
                    <a:pt x="1162" y="117"/>
                  </a:cubicBezTo>
                  <a:cubicBezTo>
                    <a:pt x="1159" y="116"/>
                    <a:pt x="1158" y="112"/>
                    <a:pt x="1158" y="111"/>
                  </a:cubicBezTo>
                  <a:cubicBezTo>
                    <a:pt x="1158" y="100"/>
                    <a:pt x="1165" y="77"/>
                    <a:pt x="1184" y="67"/>
                  </a:cubicBezTo>
                  <a:cubicBezTo>
                    <a:pt x="1190" y="63"/>
                    <a:pt x="1189" y="58"/>
                    <a:pt x="1185" y="57"/>
                  </a:cubicBezTo>
                  <a:cubicBezTo>
                    <a:pt x="1169" y="52"/>
                    <a:pt x="1146" y="51"/>
                    <a:pt x="1135" y="58"/>
                  </a:cubicBezTo>
                  <a:cubicBezTo>
                    <a:pt x="1123" y="65"/>
                    <a:pt x="1120" y="60"/>
                    <a:pt x="1121" y="49"/>
                  </a:cubicBezTo>
                  <a:cubicBezTo>
                    <a:pt x="1122" y="36"/>
                    <a:pt x="1131" y="28"/>
                    <a:pt x="1136" y="25"/>
                  </a:cubicBezTo>
                  <a:cubicBezTo>
                    <a:pt x="1145" y="20"/>
                    <a:pt x="1141" y="15"/>
                    <a:pt x="1138" y="14"/>
                  </a:cubicBezTo>
                  <a:cubicBezTo>
                    <a:pt x="1089" y="2"/>
                    <a:pt x="1076" y="22"/>
                    <a:pt x="1064" y="32"/>
                  </a:cubicBezTo>
                  <a:cubicBezTo>
                    <a:pt x="1060" y="35"/>
                    <a:pt x="1057" y="31"/>
                    <a:pt x="1055" y="30"/>
                  </a:cubicBezTo>
                  <a:cubicBezTo>
                    <a:pt x="1054" y="29"/>
                    <a:pt x="1043" y="8"/>
                    <a:pt x="1039" y="8"/>
                  </a:cubicBezTo>
                  <a:cubicBezTo>
                    <a:pt x="1035" y="7"/>
                    <a:pt x="1031" y="16"/>
                    <a:pt x="1028" y="10"/>
                  </a:cubicBezTo>
                  <a:cubicBezTo>
                    <a:pt x="1026" y="6"/>
                    <a:pt x="1022" y="0"/>
                    <a:pt x="1020" y="0"/>
                  </a:cubicBezTo>
                  <a:cubicBezTo>
                    <a:pt x="1016" y="1"/>
                    <a:pt x="1009" y="18"/>
                    <a:pt x="1003" y="24"/>
                  </a:cubicBezTo>
                  <a:cubicBezTo>
                    <a:pt x="994" y="33"/>
                    <a:pt x="968" y="55"/>
                    <a:pt x="960" y="56"/>
                  </a:cubicBezTo>
                  <a:cubicBezTo>
                    <a:pt x="957" y="57"/>
                    <a:pt x="927" y="52"/>
                    <a:pt x="918" y="51"/>
                  </a:cubicBezTo>
                  <a:cubicBezTo>
                    <a:pt x="909" y="49"/>
                    <a:pt x="871" y="58"/>
                    <a:pt x="867" y="58"/>
                  </a:cubicBezTo>
                  <a:cubicBezTo>
                    <a:pt x="863" y="58"/>
                    <a:pt x="835" y="54"/>
                    <a:pt x="830" y="56"/>
                  </a:cubicBezTo>
                  <a:cubicBezTo>
                    <a:pt x="826" y="58"/>
                    <a:pt x="816" y="77"/>
                    <a:pt x="812" y="80"/>
                  </a:cubicBezTo>
                  <a:cubicBezTo>
                    <a:pt x="808" y="82"/>
                    <a:pt x="764" y="99"/>
                    <a:pt x="761" y="110"/>
                  </a:cubicBezTo>
                  <a:cubicBezTo>
                    <a:pt x="754" y="132"/>
                    <a:pt x="768" y="155"/>
                    <a:pt x="766" y="168"/>
                  </a:cubicBezTo>
                  <a:cubicBezTo>
                    <a:pt x="756" y="212"/>
                    <a:pt x="781" y="213"/>
                    <a:pt x="781" y="218"/>
                  </a:cubicBezTo>
                  <a:cubicBezTo>
                    <a:pt x="782" y="221"/>
                    <a:pt x="765" y="224"/>
                    <a:pt x="756" y="219"/>
                  </a:cubicBezTo>
                  <a:cubicBezTo>
                    <a:pt x="742" y="211"/>
                    <a:pt x="742" y="200"/>
                    <a:pt x="736" y="187"/>
                  </a:cubicBezTo>
                  <a:cubicBezTo>
                    <a:pt x="732" y="179"/>
                    <a:pt x="727" y="172"/>
                    <a:pt x="721" y="172"/>
                  </a:cubicBezTo>
                  <a:cubicBezTo>
                    <a:pt x="718" y="172"/>
                    <a:pt x="709" y="177"/>
                    <a:pt x="707" y="196"/>
                  </a:cubicBezTo>
                  <a:cubicBezTo>
                    <a:pt x="706" y="203"/>
                    <a:pt x="706" y="210"/>
                    <a:pt x="708" y="223"/>
                  </a:cubicBezTo>
                  <a:cubicBezTo>
                    <a:pt x="715" y="259"/>
                    <a:pt x="757" y="277"/>
                    <a:pt x="757" y="277"/>
                  </a:cubicBezTo>
                  <a:cubicBezTo>
                    <a:pt x="757" y="277"/>
                    <a:pt x="764" y="282"/>
                    <a:pt x="765" y="290"/>
                  </a:cubicBezTo>
                  <a:cubicBezTo>
                    <a:pt x="766" y="298"/>
                    <a:pt x="764" y="304"/>
                    <a:pt x="758" y="311"/>
                  </a:cubicBezTo>
                  <a:cubicBezTo>
                    <a:pt x="752" y="317"/>
                    <a:pt x="742" y="327"/>
                    <a:pt x="752" y="331"/>
                  </a:cubicBezTo>
                  <a:cubicBezTo>
                    <a:pt x="757" y="333"/>
                    <a:pt x="764" y="332"/>
                    <a:pt x="768" y="336"/>
                  </a:cubicBezTo>
                  <a:cubicBezTo>
                    <a:pt x="770" y="337"/>
                    <a:pt x="770" y="340"/>
                    <a:pt x="769" y="341"/>
                  </a:cubicBezTo>
                  <a:cubicBezTo>
                    <a:pt x="767" y="344"/>
                    <a:pt x="760" y="350"/>
                    <a:pt x="752" y="354"/>
                  </a:cubicBezTo>
                  <a:cubicBezTo>
                    <a:pt x="749" y="356"/>
                    <a:pt x="743" y="357"/>
                    <a:pt x="740" y="356"/>
                  </a:cubicBezTo>
                  <a:cubicBezTo>
                    <a:pt x="733" y="354"/>
                    <a:pt x="734" y="342"/>
                    <a:pt x="734" y="340"/>
                  </a:cubicBezTo>
                  <a:cubicBezTo>
                    <a:pt x="734" y="336"/>
                    <a:pt x="737" y="326"/>
                    <a:pt x="737" y="326"/>
                  </a:cubicBezTo>
                  <a:cubicBezTo>
                    <a:pt x="737" y="326"/>
                    <a:pt x="741" y="307"/>
                    <a:pt x="741" y="301"/>
                  </a:cubicBezTo>
                  <a:cubicBezTo>
                    <a:pt x="741" y="294"/>
                    <a:pt x="733" y="277"/>
                    <a:pt x="730" y="276"/>
                  </a:cubicBezTo>
                  <a:cubicBezTo>
                    <a:pt x="728" y="275"/>
                    <a:pt x="724" y="276"/>
                    <a:pt x="721" y="275"/>
                  </a:cubicBezTo>
                  <a:cubicBezTo>
                    <a:pt x="717" y="273"/>
                    <a:pt x="717" y="267"/>
                    <a:pt x="713" y="265"/>
                  </a:cubicBezTo>
                  <a:cubicBezTo>
                    <a:pt x="709" y="264"/>
                    <a:pt x="707" y="267"/>
                    <a:pt x="701" y="266"/>
                  </a:cubicBezTo>
                  <a:cubicBezTo>
                    <a:pt x="695" y="264"/>
                    <a:pt x="696" y="250"/>
                    <a:pt x="691" y="250"/>
                  </a:cubicBezTo>
                  <a:cubicBezTo>
                    <a:pt x="685" y="250"/>
                    <a:pt x="665" y="274"/>
                    <a:pt x="664" y="282"/>
                  </a:cubicBezTo>
                  <a:cubicBezTo>
                    <a:pt x="664" y="291"/>
                    <a:pt x="660" y="338"/>
                    <a:pt x="660" y="343"/>
                  </a:cubicBezTo>
                  <a:cubicBezTo>
                    <a:pt x="661" y="347"/>
                    <a:pt x="648" y="392"/>
                    <a:pt x="647" y="394"/>
                  </a:cubicBezTo>
                  <a:cubicBezTo>
                    <a:pt x="646" y="397"/>
                    <a:pt x="630" y="406"/>
                    <a:pt x="628" y="416"/>
                  </a:cubicBezTo>
                  <a:cubicBezTo>
                    <a:pt x="627" y="423"/>
                    <a:pt x="629" y="431"/>
                    <a:pt x="631" y="436"/>
                  </a:cubicBezTo>
                  <a:cubicBezTo>
                    <a:pt x="633" y="439"/>
                    <a:pt x="631" y="444"/>
                    <a:pt x="630" y="445"/>
                  </a:cubicBezTo>
                  <a:cubicBezTo>
                    <a:pt x="605" y="472"/>
                    <a:pt x="566" y="469"/>
                    <a:pt x="550" y="453"/>
                  </a:cubicBezTo>
                  <a:cubicBezTo>
                    <a:pt x="537" y="441"/>
                    <a:pt x="543" y="409"/>
                    <a:pt x="562" y="405"/>
                  </a:cubicBezTo>
                  <a:cubicBezTo>
                    <a:pt x="576" y="403"/>
                    <a:pt x="579" y="400"/>
                    <a:pt x="575" y="394"/>
                  </a:cubicBezTo>
                  <a:cubicBezTo>
                    <a:pt x="519" y="353"/>
                    <a:pt x="472" y="423"/>
                    <a:pt x="472" y="423"/>
                  </a:cubicBezTo>
                  <a:cubicBezTo>
                    <a:pt x="468" y="423"/>
                    <a:pt x="400" y="375"/>
                    <a:pt x="403" y="319"/>
                  </a:cubicBezTo>
                  <a:cubicBezTo>
                    <a:pt x="405" y="282"/>
                    <a:pt x="456" y="282"/>
                    <a:pt x="475" y="225"/>
                  </a:cubicBezTo>
                  <a:cubicBezTo>
                    <a:pt x="491" y="177"/>
                    <a:pt x="473" y="134"/>
                    <a:pt x="461" y="134"/>
                  </a:cubicBezTo>
                  <a:cubicBezTo>
                    <a:pt x="445" y="133"/>
                    <a:pt x="447" y="146"/>
                    <a:pt x="431" y="165"/>
                  </a:cubicBezTo>
                  <a:cubicBezTo>
                    <a:pt x="420" y="179"/>
                    <a:pt x="400" y="190"/>
                    <a:pt x="395" y="188"/>
                  </a:cubicBezTo>
                  <a:cubicBezTo>
                    <a:pt x="387" y="184"/>
                    <a:pt x="386" y="160"/>
                    <a:pt x="381" y="136"/>
                  </a:cubicBezTo>
                  <a:cubicBezTo>
                    <a:pt x="370" y="87"/>
                    <a:pt x="311" y="47"/>
                    <a:pt x="280" y="44"/>
                  </a:cubicBezTo>
                  <a:cubicBezTo>
                    <a:pt x="267" y="42"/>
                    <a:pt x="265" y="55"/>
                    <a:pt x="268" y="62"/>
                  </a:cubicBezTo>
                  <a:cubicBezTo>
                    <a:pt x="281" y="90"/>
                    <a:pt x="306" y="149"/>
                    <a:pt x="290" y="170"/>
                  </a:cubicBezTo>
                  <a:cubicBezTo>
                    <a:pt x="283" y="178"/>
                    <a:pt x="251" y="141"/>
                    <a:pt x="201" y="135"/>
                  </a:cubicBezTo>
                  <a:cubicBezTo>
                    <a:pt x="160" y="129"/>
                    <a:pt x="136" y="140"/>
                    <a:pt x="134" y="151"/>
                  </a:cubicBezTo>
                  <a:cubicBezTo>
                    <a:pt x="133" y="159"/>
                    <a:pt x="146" y="167"/>
                    <a:pt x="163" y="179"/>
                  </a:cubicBezTo>
                  <a:cubicBezTo>
                    <a:pt x="192" y="198"/>
                    <a:pt x="228" y="224"/>
                    <a:pt x="229" y="262"/>
                  </a:cubicBezTo>
                  <a:cubicBezTo>
                    <a:pt x="230" y="281"/>
                    <a:pt x="198" y="290"/>
                    <a:pt x="170" y="291"/>
                  </a:cubicBezTo>
                  <a:cubicBezTo>
                    <a:pt x="143" y="293"/>
                    <a:pt x="119" y="288"/>
                    <a:pt x="120" y="303"/>
                  </a:cubicBezTo>
                  <a:cubicBezTo>
                    <a:pt x="121" y="320"/>
                    <a:pt x="146" y="347"/>
                    <a:pt x="169" y="357"/>
                  </a:cubicBezTo>
                  <a:cubicBezTo>
                    <a:pt x="222" y="382"/>
                    <a:pt x="274" y="348"/>
                    <a:pt x="282" y="366"/>
                  </a:cubicBezTo>
                  <a:cubicBezTo>
                    <a:pt x="294" y="391"/>
                    <a:pt x="309" y="574"/>
                    <a:pt x="365" y="606"/>
                  </a:cubicBezTo>
                  <a:cubicBezTo>
                    <a:pt x="379" y="614"/>
                    <a:pt x="401" y="616"/>
                    <a:pt x="444" y="610"/>
                  </a:cubicBezTo>
                  <a:cubicBezTo>
                    <a:pt x="448" y="610"/>
                    <a:pt x="450" y="613"/>
                    <a:pt x="451" y="614"/>
                  </a:cubicBezTo>
                  <a:cubicBezTo>
                    <a:pt x="459" y="632"/>
                    <a:pt x="480" y="652"/>
                    <a:pt x="511" y="663"/>
                  </a:cubicBezTo>
                  <a:cubicBezTo>
                    <a:pt x="511" y="663"/>
                    <a:pt x="515" y="667"/>
                    <a:pt x="512" y="670"/>
                  </a:cubicBezTo>
                  <a:cubicBezTo>
                    <a:pt x="498" y="685"/>
                    <a:pt x="428" y="737"/>
                    <a:pt x="371" y="765"/>
                  </a:cubicBezTo>
                  <a:cubicBezTo>
                    <a:pt x="347" y="776"/>
                    <a:pt x="320" y="789"/>
                    <a:pt x="296" y="800"/>
                  </a:cubicBezTo>
                  <a:cubicBezTo>
                    <a:pt x="140" y="870"/>
                    <a:pt x="0" y="870"/>
                    <a:pt x="8" y="907"/>
                  </a:cubicBezTo>
                  <a:cubicBezTo>
                    <a:pt x="14" y="933"/>
                    <a:pt x="93" y="910"/>
                    <a:pt x="101" y="939"/>
                  </a:cubicBezTo>
                  <a:close/>
                  <a:moveTo>
                    <a:pt x="1143" y="985"/>
                  </a:moveTo>
                  <a:cubicBezTo>
                    <a:pt x="1150" y="981"/>
                    <a:pt x="1163" y="1025"/>
                    <a:pt x="1164" y="1030"/>
                  </a:cubicBezTo>
                  <a:cubicBezTo>
                    <a:pt x="1166" y="1035"/>
                    <a:pt x="1167" y="1040"/>
                    <a:pt x="1162" y="1042"/>
                  </a:cubicBezTo>
                  <a:cubicBezTo>
                    <a:pt x="1154" y="1046"/>
                    <a:pt x="1137" y="1008"/>
                    <a:pt x="1135" y="1005"/>
                  </a:cubicBezTo>
                  <a:cubicBezTo>
                    <a:pt x="1133" y="1002"/>
                    <a:pt x="1139" y="988"/>
                    <a:pt x="1143" y="985"/>
                  </a:cubicBezTo>
                  <a:close/>
                  <a:moveTo>
                    <a:pt x="465" y="850"/>
                  </a:moveTo>
                  <a:cubicBezTo>
                    <a:pt x="455" y="851"/>
                    <a:pt x="446" y="851"/>
                    <a:pt x="446" y="846"/>
                  </a:cubicBezTo>
                  <a:cubicBezTo>
                    <a:pt x="445" y="842"/>
                    <a:pt x="457" y="833"/>
                    <a:pt x="462" y="833"/>
                  </a:cubicBezTo>
                  <a:cubicBezTo>
                    <a:pt x="471" y="832"/>
                    <a:pt x="487" y="839"/>
                    <a:pt x="488" y="843"/>
                  </a:cubicBezTo>
                  <a:cubicBezTo>
                    <a:pt x="488" y="850"/>
                    <a:pt x="473" y="849"/>
                    <a:pt x="465" y="850"/>
                  </a:cubicBezTo>
                  <a:close/>
                  <a:moveTo>
                    <a:pt x="415" y="817"/>
                  </a:moveTo>
                  <a:cubicBezTo>
                    <a:pt x="414" y="803"/>
                    <a:pt x="423" y="788"/>
                    <a:pt x="438" y="784"/>
                  </a:cubicBezTo>
                  <a:cubicBezTo>
                    <a:pt x="442" y="783"/>
                    <a:pt x="445" y="787"/>
                    <a:pt x="451" y="789"/>
                  </a:cubicBezTo>
                  <a:cubicBezTo>
                    <a:pt x="457" y="791"/>
                    <a:pt x="464" y="790"/>
                    <a:pt x="465" y="792"/>
                  </a:cubicBezTo>
                  <a:cubicBezTo>
                    <a:pt x="468" y="797"/>
                    <a:pt x="463" y="800"/>
                    <a:pt x="461" y="807"/>
                  </a:cubicBezTo>
                  <a:cubicBezTo>
                    <a:pt x="459" y="813"/>
                    <a:pt x="462" y="818"/>
                    <a:pt x="451" y="824"/>
                  </a:cubicBezTo>
                  <a:cubicBezTo>
                    <a:pt x="436" y="831"/>
                    <a:pt x="416" y="823"/>
                    <a:pt x="415" y="817"/>
                  </a:cubicBezTo>
                  <a:close/>
                  <a:moveTo>
                    <a:pt x="472" y="820"/>
                  </a:moveTo>
                  <a:cubicBezTo>
                    <a:pt x="469" y="813"/>
                    <a:pt x="470" y="796"/>
                    <a:pt x="496" y="786"/>
                  </a:cubicBezTo>
                  <a:cubicBezTo>
                    <a:pt x="502" y="784"/>
                    <a:pt x="499" y="790"/>
                    <a:pt x="508" y="792"/>
                  </a:cubicBezTo>
                  <a:cubicBezTo>
                    <a:pt x="516" y="794"/>
                    <a:pt x="518" y="790"/>
                    <a:pt x="522" y="794"/>
                  </a:cubicBezTo>
                  <a:cubicBezTo>
                    <a:pt x="525" y="798"/>
                    <a:pt x="520" y="803"/>
                    <a:pt x="517" y="809"/>
                  </a:cubicBezTo>
                  <a:cubicBezTo>
                    <a:pt x="515" y="814"/>
                    <a:pt x="518" y="820"/>
                    <a:pt x="510" y="823"/>
                  </a:cubicBezTo>
                  <a:cubicBezTo>
                    <a:pt x="486" y="832"/>
                    <a:pt x="476" y="826"/>
                    <a:pt x="472" y="820"/>
                  </a:cubicBezTo>
                  <a:close/>
                  <a:moveTo>
                    <a:pt x="552" y="678"/>
                  </a:moveTo>
                  <a:cubicBezTo>
                    <a:pt x="547" y="679"/>
                    <a:pt x="538" y="681"/>
                    <a:pt x="531" y="681"/>
                  </a:cubicBezTo>
                  <a:cubicBezTo>
                    <a:pt x="528" y="681"/>
                    <a:pt x="528" y="675"/>
                    <a:pt x="530" y="673"/>
                  </a:cubicBezTo>
                  <a:cubicBezTo>
                    <a:pt x="531" y="670"/>
                    <a:pt x="537" y="666"/>
                    <a:pt x="540" y="664"/>
                  </a:cubicBezTo>
                  <a:cubicBezTo>
                    <a:pt x="544" y="661"/>
                    <a:pt x="549" y="660"/>
                    <a:pt x="554" y="659"/>
                  </a:cubicBezTo>
                  <a:cubicBezTo>
                    <a:pt x="559" y="659"/>
                    <a:pt x="559" y="666"/>
                    <a:pt x="559" y="670"/>
                  </a:cubicBezTo>
                  <a:cubicBezTo>
                    <a:pt x="560" y="675"/>
                    <a:pt x="556" y="678"/>
                    <a:pt x="552" y="678"/>
                  </a:cubicBezTo>
                  <a:close/>
                  <a:moveTo>
                    <a:pt x="562" y="710"/>
                  </a:moveTo>
                  <a:cubicBezTo>
                    <a:pt x="564" y="716"/>
                    <a:pt x="573" y="727"/>
                    <a:pt x="564" y="733"/>
                  </a:cubicBezTo>
                  <a:cubicBezTo>
                    <a:pt x="559" y="736"/>
                    <a:pt x="548" y="735"/>
                    <a:pt x="541" y="729"/>
                  </a:cubicBezTo>
                  <a:cubicBezTo>
                    <a:pt x="537" y="726"/>
                    <a:pt x="536" y="721"/>
                    <a:pt x="536" y="718"/>
                  </a:cubicBezTo>
                  <a:cubicBezTo>
                    <a:pt x="535" y="707"/>
                    <a:pt x="544" y="693"/>
                    <a:pt x="554" y="690"/>
                  </a:cubicBezTo>
                  <a:cubicBezTo>
                    <a:pt x="561" y="688"/>
                    <a:pt x="561" y="704"/>
                    <a:pt x="562" y="710"/>
                  </a:cubicBezTo>
                  <a:close/>
                  <a:moveTo>
                    <a:pt x="552" y="747"/>
                  </a:moveTo>
                  <a:cubicBezTo>
                    <a:pt x="554" y="752"/>
                    <a:pt x="551" y="755"/>
                    <a:pt x="549" y="764"/>
                  </a:cubicBezTo>
                  <a:cubicBezTo>
                    <a:pt x="546" y="773"/>
                    <a:pt x="548" y="777"/>
                    <a:pt x="539" y="781"/>
                  </a:cubicBezTo>
                  <a:cubicBezTo>
                    <a:pt x="533" y="784"/>
                    <a:pt x="527" y="784"/>
                    <a:pt x="521" y="784"/>
                  </a:cubicBezTo>
                  <a:cubicBezTo>
                    <a:pt x="513" y="783"/>
                    <a:pt x="505" y="780"/>
                    <a:pt x="506" y="768"/>
                  </a:cubicBezTo>
                  <a:cubicBezTo>
                    <a:pt x="506" y="758"/>
                    <a:pt x="513" y="746"/>
                    <a:pt x="528" y="740"/>
                  </a:cubicBezTo>
                  <a:cubicBezTo>
                    <a:pt x="534" y="738"/>
                    <a:pt x="550" y="742"/>
                    <a:pt x="552" y="747"/>
                  </a:cubicBezTo>
                  <a:close/>
                  <a:moveTo>
                    <a:pt x="507" y="844"/>
                  </a:moveTo>
                  <a:cubicBezTo>
                    <a:pt x="507" y="842"/>
                    <a:pt x="515" y="833"/>
                    <a:pt x="520" y="834"/>
                  </a:cubicBezTo>
                  <a:cubicBezTo>
                    <a:pt x="525" y="835"/>
                    <a:pt x="532" y="836"/>
                    <a:pt x="533" y="843"/>
                  </a:cubicBezTo>
                  <a:cubicBezTo>
                    <a:pt x="533" y="849"/>
                    <a:pt x="507" y="847"/>
                    <a:pt x="507" y="844"/>
                  </a:cubicBezTo>
                  <a:close/>
                  <a:moveTo>
                    <a:pt x="577" y="814"/>
                  </a:moveTo>
                  <a:cubicBezTo>
                    <a:pt x="574" y="820"/>
                    <a:pt x="573" y="827"/>
                    <a:pt x="569" y="830"/>
                  </a:cubicBezTo>
                  <a:cubicBezTo>
                    <a:pt x="564" y="833"/>
                    <a:pt x="548" y="835"/>
                    <a:pt x="538" y="831"/>
                  </a:cubicBezTo>
                  <a:cubicBezTo>
                    <a:pt x="532" y="828"/>
                    <a:pt x="529" y="821"/>
                    <a:pt x="529" y="818"/>
                  </a:cubicBezTo>
                  <a:cubicBezTo>
                    <a:pt x="528" y="808"/>
                    <a:pt x="540" y="792"/>
                    <a:pt x="552" y="790"/>
                  </a:cubicBezTo>
                  <a:cubicBezTo>
                    <a:pt x="557" y="790"/>
                    <a:pt x="561" y="794"/>
                    <a:pt x="566" y="795"/>
                  </a:cubicBezTo>
                  <a:cubicBezTo>
                    <a:pt x="570" y="796"/>
                    <a:pt x="578" y="795"/>
                    <a:pt x="580" y="799"/>
                  </a:cubicBezTo>
                  <a:cubicBezTo>
                    <a:pt x="581" y="802"/>
                    <a:pt x="579" y="807"/>
                    <a:pt x="577" y="814"/>
                  </a:cubicBezTo>
                  <a:close/>
                  <a:moveTo>
                    <a:pt x="562" y="777"/>
                  </a:moveTo>
                  <a:cubicBezTo>
                    <a:pt x="557" y="765"/>
                    <a:pt x="569" y="747"/>
                    <a:pt x="575" y="746"/>
                  </a:cubicBezTo>
                  <a:cubicBezTo>
                    <a:pt x="580" y="746"/>
                    <a:pt x="587" y="761"/>
                    <a:pt x="593" y="761"/>
                  </a:cubicBezTo>
                  <a:cubicBezTo>
                    <a:pt x="597" y="761"/>
                    <a:pt x="602" y="747"/>
                    <a:pt x="608" y="750"/>
                  </a:cubicBezTo>
                  <a:cubicBezTo>
                    <a:pt x="615" y="754"/>
                    <a:pt x="610" y="758"/>
                    <a:pt x="608" y="766"/>
                  </a:cubicBezTo>
                  <a:cubicBezTo>
                    <a:pt x="606" y="771"/>
                    <a:pt x="606" y="777"/>
                    <a:pt x="604" y="780"/>
                  </a:cubicBezTo>
                  <a:cubicBezTo>
                    <a:pt x="598" y="788"/>
                    <a:pt x="565" y="786"/>
                    <a:pt x="562" y="777"/>
                  </a:cubicBezTo>
                  <a:close/>
                  <a:moveTo>
                    <a:pt x="841" y="871"/>
                  </a:moveTo>
                  <a:cubicBezTo>
                    <a:pt x="843" y="868"/>
                    <a:pt x="856" y="870"/>
                    <a:pt x="876" y="860"/>
                  </a:cubicBezTo>
                  <a:cubicBezTo>
                    <a:pt x="881" y="858"/>
                    <a:pt x="907" y="892"/>
                    <a:pt x="897" y="908"/>
                  </a:cubicBezTo>
                  <a:cubicBezTo>
                    <a:pt x="876" y="942"/>
                    <a:pt x="839" y="915"/>
                    <a:pt x="840" y="908"/>
                  </a:cubicBezTo>
                  <a:cubicBezTo>
                    <a:pt x="840" y="905"/>
                    <a:pt x="841" y="898"/>
                    <a:pt x="841" y="892"/>
                  </a:cubicBezTo>
                  <a:cubicBezTo>
                    <a:pt x="841" y="883"/>
                    <a:pt x="839" y="872"/>
                    <a:pt x="841" y="871"/>
                  </a:cubicBezTo>
                  <a:close/>
                  <a:moveTo>
                    <a:pt x="886" y="847"/>
                  </a:moveTo>
                  <a:cubicBezTo>
                    <a:pt x="891" y="821"/>
                    <a:pt x="885" y="814"/>
                    <a:pt x="888" y="808"/>
                  </a:cubicBezTo>
                  <a:cubicBezTo>
                    <a:pt x="890" y="804"/>
                    <a:pt x="904" y="809"/>
                    <a:pt x="920" y="801"/>
                  </a:cubicBezTo>
                  <a:cubicBezTo>
                    <a:pt x="928" y="798"/>
                    <a:pt x="961" y="825"/>
                    <a:pt x="944" y="852"/>
                  </a:cubicBezTo>
                  <a:cubicBezTo>
                    <a:pt x="927" y="879"/>
                    <a:pt x="885" y="856"/>
                    <a:pt x="886" y="847"/>
                  </a:cubicBezTo>
                  <a:close/>
                  <a:moveTo>
                    <a:pt x="917" y="788"/>
                  </a:moveTo>
                  <a:cubicBezTo>
                    <a:pt x="892" y="807"/>
                    <a:pt x="855" y="783"/>
                    <a:pt x="854" y="774"/>
                  </a:cubicBezTo>
                  <a:cubicBezTo>
                    <a:pt x="853" y="770"/>
                    <a:pt x="855" y="763"/>
                    <a:pt x="855" y="759"/>
                  </a:cubicBezTo>
                  <a:cubicBezTo>
                    <a:pt x="854" y="750"/>
                    <a:pt x="851" y="741"/>
                    <a:pt x="853" y="739"/>
                  </a:cubicBezTo>
                  <a:cubicBezTo>
                    <a:pt x="856" y="736"/>
                    <a:pt x="869" y="739"/>
                    <a:pt x="884" y="739"/>
                  </a:cubicBezTo>
                  <a:cubicBezTo>
                    <a:pt x="893" y="738"/>
                    <a:pt x="905" y="734"/>
                    <a:pt x="908" y="735"/>
                  </a:cubicBezTo>
                  <a:cubicBezTo>
                    <a:pt x="928" y="745"/>
                    <a:pt x="929" y="778"/>
                    <a:pt x="917" y="788"/>
                  </a:cubicBezTo>
                  <a:close/>
                  <a:moveTo>
                    <a:pt x="869" y="846"/>
                  </a:moveTo>
                  <a:cubicBezTo>
                    <a:pt x="854" y="865"/>
                    <a:pt x="813" y="851"/>
                    <a:pt x="807" y="841"/>
                  </a:cubicBezTo>
                  <a:cubicBezTo>
                    <a:pt x="803" y="836"/>
                    <a:pt x="806" y="827"/>
                    <a:pt x="806" y="821"/>
                  </a:cubicBezTo>
                  <a:cubicBezTo>
                    <a:pt x="807" y="814"/>
                    <a:pt x="805" y="808"/>
                    <a:pt x="808" y="803"/>
                  </a:cubicBezTo>
                  <a:cubicBezTo>
                    <a:pt x="809" y="800"/>
                    <a:pt x="818" y="801"/>
                    <a:pt x="827" y="798"/>
                  </a:cubicBezTo>
                  <a:cubicBezTo>
                    <a:pt x="835" y="795"/>
                    <a:pt x="843" y="789"/>
                    <a:pt x="847" y="790"/>
                  </a:cubicBezTo>
                  <a:cubicBezTo>
                    <a:pt x="856" y="791"/>
                    <a:pt x="889" y="822"/>
                    <a:pt x="869" y="846"/>
                  </a:cubicBezTo>
                  <a:close/>
                  <a:moveTo>
                    <a:pt x="759" y="886"/>
                  </a:moveTo>
                  <a:cubicBezTo>
                    <a:pt x="757" y="876"/>
                    <a:pt x="752" y="868"/>
                    <a:pt x="756" y="864"/>
                  </a:cubicBezTo>
                  <a:cubicBezTo>
                    <a:pt x="759" y="861"/>
                    <a:pt x="768" y="864"/>
                    <a:pt x="777" y="861"/>
                  </a:cubicBezTo>
                  <a:cubicBezTo>
                    <a:pt x="786" y="858"/>
                    <a:pt x="792" y="850"/>
                    <a:pt x="795" y="850"/>
                  </a:cubicBezTo>
                  <a:cubicBezTo>
                    <a:pt x="807" y="850"/>
                    <a:pt x="843" y="886"/>
                    <a:pt x="824" y="908"/>
                  </a:cubicBezTo>
                  <a:cubicBezTo>
                    <a:pt x="801" y="935"/>
                    <a:pt x="762" y="908"/>
                    <a:pt x="762" y="908"/>
                  </a:cubicBezTo>
                  <a:cubicBezTo>
                    <a:pt x="757" y="905"/>
                    <a:pt x="758" y="902"/>
                    <a:pt x="758" y="902"/>
                  </a:cubicBezTo>
                  <a:cubicBezTo>
                    <a:pt x="757" y="900"/>
                    <a:pt x="760" y="892"/>
                    <a:pt x="759" y="886"/>
                  </a:cubicBezTo>
                  <a:close/>
                  <a:moveTo>
                    <a:pt x="839" y="774"/>
                  </a:moveTo>
                  <a:cubicBezTo>
                    <a:pt x="822" y="803"/>
                    <a:pt x="778" y="781"/>
                    <a:pt x="777" y="775"/>
                  </a:cubicBezTo>
                  <a:cubicBezTo>
                    <a:pt x="776" y="772"/>
                    <a:pt x="782" y="761"/>
                    <a:pt x="784" y="752"/>
                  </a:cubicBezTo>
                  <a:cubicBezTo>
                    <a:pt x="786" y="742"/>
                    <a:pt x="781" y="738"/>
                    <a:pt x="785" y="733"/>
                  </a:cubicBezTo>
                  <a:cubicBezTo>
                    <a:pt x="789" y="729"/>
                    <a:pt x="794" y="737"/>
                    <a:pt x="817" y="727"/>
                  </a:cubicBezTo>
                  <a:cubicBezTo>
                    <a:pt x="832" y="722"/>
                    <a:pt x="848" y="758"/>
                    <a:pt x="839" y="774"/>
                  </a:cubicBezTo>
                  <a:close/>
                  <a:moveTo>
                    <a:pt x="808" y="714"/>
                  </a:moveTo>
                  <a:cubicBezTo>
                    <a:pt x="788" y="732"/>
                    <a:pt x="763" y="710"/>
                    <a:pt x="762" y="705"/>
                  </a:cubicBezTo>
                  <a:cubicBezTo>
                    <a:pt x="761" y="699"/>
                    <a:pt x="780" y="668"/>
                    <a:pt x="786" y="669"/>
                  </a:cubicBezTo>
                  <a:cubicBezTo>
                    <a:pt x="791" y="669"/>
                    <a:pt x="791" y="681"/>
                    <a:pt x="797" y="691"/>
                  </a:cubicBezTo>
                  <a:cubicBezTo>
                    <a:pt x="803" y="701"/>
                    <a:pt x="813" y="710"/>
                    <a:pt x="808" y="714"/>
                  </a:cubicBezTo>
                  <a:close/>
                  <a:moveTo>
                    <a:pt x="771" y="747"/>
                  </a:moveTo>
                  <a:cubicBezTo>
                    <a:pt x="772" y="757"/>
                    <a:pt x="767" y="768"/>
                    <a:pt x="763" y="767"/>
                  </a:cubicBezTo>
                  <a:cubicBezTo>
                    <a:pt x="755" y="767"/>
                    <a:pt x="756" y="751"/>
                    <a:pt x="756" y="742"/>
                  </a:cubicBezTo>
                  <a:cubicBezTo>
                    <a:pt x="757" y="732"/>
                    <a:pt x="757" y="727"/>
                    <a:pt x="761" y="727"/>
                  </a:cubicBezTo>
                  <a:cubicBezTo>
                    <a:pt x="764" y="727"/>
                    <a:pt x="770" y="737"/>
                    <a:pt x="771" y="747"/>
                  </a:cubicBezTo>
                  <a:close/>
                  <a:moveTo>
                    <a:pt x="760" y="786"/>
                  </a:moveTo>
                  <a:cubicBezTo>
                    <a:pt x="776" y="785"/>
                    <a:pt x="800" y="813"/>
                    <a:pt x="791" y="831"/>
                  </a:cubicBezTo>
                  <a:cubicBezTo>
                    <a:pt x="771" y="872"/>
                    <a:pt x="723" y="840"/>
                    <a:pt x="723" y="831"/>
                  </a:cubicBezTo>
                  <a:cubicBezTo>
                    <a:pt x="723" y="827"/>
                    <a:pt x="726" y="823"/>
                    <a:pt x="726" y="816"/>
                  </a:cubicBezTo>
                  <a:cubicBezTo>
                    <a:pt x="726" y="806"/>
                    <a:pt x="723" y="794"/>
                    <a:pt x="725" y="792"/>
                  </a:cubicBezTo>
                  <a:cubicBezTo>
                    <a:pt x="728" y="790"/>
                    <a:pt x="736" y="791"/>
                    <a:pt x="744" y="790"/>
                  </a:cubicBezTo>
                  <a:cubicBezTo>
                    <a:pt x="752" y="790"/>
                    <a:pt x="754" y="787"/>
                    <a:pt x="760" y="786"/>
                  </a:cubicBezTo>
                  <a:close/>
                  <a:moveTo>
                    <a:pt x="734" y="778"/>
                  </a:moveTo>
                  <a:cubicBezTo>
                    <a:pt x="733" y="781"/>
                    <a:pt x="718" y="774"/>
                    <a:pt x="712" y="777"/>
                  </a:cubicBezTo>
                  <a:cubicBezTo>
                    <a:pt x="706" y="780"/>
                    <a:pt x="691" y="797"/>
                    <a:pt x="687" y="793"/>
                  </a:cubicBezTo>
                  <a:cubicBezTo>
                    <a:pt x="684" y="790"/>
                    <a:pt x="683" y="782"/>
                    <a:pt x="684" y="774"/>
                  </a:cubicBezTo>
                  <a:cubicBezTo>
                    <a:pt x="685" y="767"/>
                    <a:pt x="689" y="761"/>
                    <a:pt x="700" y="752"/>
                  </a:cubicBezTo>
                  <a:cubicBezTo>
                    <a:pt x="704" y="749"/>
                    <a:pt x="709" y="757"/>
                    <a:pt x="715" y="762"/>
                  </a:cubicBezTo>
                  <a:cubicBezTo>
                    <a:pt x="724" y="770"/>
                    <a:pt x="736" y="774"/>
                    <a:pt x="734" y="778"/>
                  </a:cubicBezTo>
                  <a:close/>
                  <a:moveTo>
                    <a:pt x="668" y="777"/>
                  </a:moveTo>
                  <a:cubicBezTo>
                    <a:pt x="666" y="790"/>
                    <a:pt x="659" y="789"/>
                    <a:pt x="656" y="790"/>
                  </a:cubicBezTo>
                  <a:cubicBezTo>
                    <a:pt x="653" y="790"/>
                    <a:pt x="637" y="793"/>
                    <a:pt x="628" y="789"/>
                  </a:cubicBezTo>
                  <a:cubicBezTo>
                    <a:pt x="623" y="786"/>
                    <a:pt x="619" y="784"/>
                    <a:pt x="619" y="777"/>
                  </a:cubicBezTo>
                  <a:cubicBezTo>
                    <a:pt x="618" y="756"/>
                    <a:pt x="637" y="746"/>
                    <a:pt x="642" y="744"/>
                  </a:cubicBezTo>
                  <a:cubicBezTo>
                    <a:pt x="647" y="743"/>
                    <a:pt x="657" y="752"/>
                    <a:pt x="669" y="754"/>
                  </a:cubicBezTo>
                  <a:cubicBezTo>
                    <a:pt x="681" y="756"/>
                    <a:pt x="670" y="764"/>
                    <a:pt x="668" y="777"/>
                  </a:cubicBezTo>
                  <a:close/>
                  <a:moveTo>
                    <a:pt x="659" y="809"/>
                  </a:moveTo>
                  <a:cubicBezTo>
                    <a:pt x="655" y="803"/>
                    <a:pt x="671" y="794"/>
                    <a:pt x="672" y="796"/>
                  </a:cubicBezTo>
                  <a:cubicBezTo>
                    <a:pt x="676" y="802"/>
                    <a:pt x="660" y="811"/>
                    <a:pt x="659" y="809"/>
                  </a:cubicBezTo>
                  <a:close/>
                  <a:moveTo>
                    <a:pt x="662" y="824"/>
                  </a:moveTo>
                  <a:cubicBezTo>
                    <a:pt x="691" y="814"/>
                    <a:pt x="698" y="800"/>
                    <a:pt x="709" y="801"/>
                  </a:cubicBezTo>
                  <a:cubicBezTo>
                    <a:pt x="717" y="802"/>
                    <a:pt x="719" y="825"/>
                    <a:pt x="702" y="838"/>
                  </a:cubicBezTo>
                  <a:cubicBezTo>
                    <a:pt x="692" y="845"/>
                    <a:pt x="683" y="846"/>
                    <a:pt x="673" y="843"/>
                  </a:cubicBezTo>
                  <a:cubicBezTo>
                    <a:pt x="665" y="841"/>
                    <a:pt x="662" y="837"/>
                    <a:pt x="659" y="836"/>
                  </a:cubicBezTo>
                  <a:cubicBezTo>
                    <a:pt x="654" y="833"/>
                    <a:pt x="656" y="826"/>
                    <a:pt x="662" y="824"/>
                  </a:cubicBezTo>
                  <a:close/>
                  <a:moveTo>
                    <a:pt x="688" y="740"/>
                  </a:moveTo>
                  <a:cubicBezTo>
                    <a:pt x="664" y="751"/>
                    <a:pt x="656" y="735"/>
                    <a:pt x="654" y="728"/>
                  </a:cubicBezTo>
                  <a:cubicBezTo>
                    <a:pt x="651" y="718"/>
                    <a:pt x="661" y="701"/>
                    <a:pt x="671" y="698"/>
                  </a:cubicBezTo>
                  <a:cubicBezTo>
                    <a:pt x="678" y="696"/>
                    <a:pt x="677" y="704"/>
                    <a:pt x="681" y="713"/>
                  </a:cubicBezTo>
                  <a:cubicBezTo>
                    <a:pt x="686" y="724"/>
                    <a:pt x="694" y="737"/>
                    <a:pt x="688" y="740"/>
                  </a:cubicBezTo>
                  <a:close/>
                  <a:moveTo>
                    <a:pt x="671" y="683"/>
                  </a:moveTo>
                  <a:cubicBezTo>
                    <a:pt x="667" y="688"/>
                    <a:pt x="644" y="694"/>
                    <a:pt x="640" y="682"/>
                  </a:cubicBezTo>
                  <a:cubicBezTo>
                    <a:pt x="638" y="677"/>
                    <a:pt x="663" y="657"/>
                    <a:pt x="672" y="657"/>
                  </a:cubicBezTo>
                  <a:cubicBezTo>
                    <a:pt x="678" y="657"/>
                    <a:pt x="675" y="678"/>
                    <a:pt x="671" y="683"/>
                  </a:cubicBezTo>
                  <a:close/>
                  <a:moveTo>
                    <a:pt x="647" y="700"/>
                  </a:moveTo>
                  <a:cubicBezTo>
                    <a:pt x="648" y="702"/>
                    <a:pt x="648" y="708"/>
                    <a:pt x="645" y="717"/>
                  </a:cubicBezTo>
                  <a:cubicBezTo>
                    <a:pt x="643" y="723"/>
                    <a:pt x="639" y="729"/>
                    <a:pt x="636" y="731"/>
                  </a:cubicBezTo>
                  <a:cubicBezTo>
                    <a:pt x="630" y="737"/>
                    <a:pt x="610" y="739"/>
                    <a:pt x="608" y="735"/>
                  </a:cubicBezTo>
                  <a:cubicBezTo>
                    <a:pt x="604" y="728"/>
                    <a:pt x="619" y="703"/>
                    <a:pt x="624" y="697"/>
                  </a:cubicBezTo>
                  <a:cubicBezTo>
                    <a:pt x="629" y="693"/>
                    <a:pt x="631" y="698"/>
                    <a:pt x="636" y="699"/>
                  </a:cubicBezTo>
                  <a:cubicBezTo>
                    <a:pt x="639" y="700"/>
                    <a:pt x="646" y="699"/>
                    <a:pt x="647" y="700"/>
                  </a:cubicBezTo>
                  <a:close/>
                  <a:moveTo>
                    <a:pt x="588" y="830"/>
                  </a:moveTo>
                  <a:cubicBezTo>
                    <a:pt x="583" y="812"/>
                    <a:pt x="603" y="792"/>
                    <a:pt x="610" y="792"/>
                  </a:cubicBezTo>
                  <a:cubicBezTo>
                    <a:pt x="614" y="792"/>
                    <a:pt x="619" y="797"/>
                    <a:pt x="625" y="799"/>
                  </a:cubicBezTo>
                  <a:cubicBezTo>
                    <a:pt x="631" y="801"/>
                    <a:pt x="638" y="800"/>
                    <a:pt x="641" y="802"/>
                  </a:cubicBezTo>
                  <a:cubicBezTo>
                    <a:pt x="646" y="808"/>
                    <a:pt x="640" y="816"/>
                    <a:pt x="633" y="822"/>
                  </a:cubicBezTo>
                  <a:cubicBezTo>
                    <a:pt x="626" y="827"/>
                    <a:pt x="591" y="839"/>
                    <a:pt x="588" y="830"/>
                  </a:cubicBezTo>
                  <a:close/>
                  <a:moveTo>
                    <a:pt x="655" y="889"/>
                  </a:moveTo>
                  <a:cubicBezTo>
                    <a:pt x="650" y="890"/>
                    <a:pt x="632" y="855"/>
                    <a:pt x="631" y="850"/>
                  </a:cubicBezTo>
                  <a:cubicBezTo>
                    <a:pt x="628" y="843"/>
                    <a:pt x="627" y="842"/>
                    <a:pt x="633" y="839"/>
                  </a:cubicBezTo>
                  <a:cubicBezTo>
                    <a:pt x="647" y="832"/>
                    <a:pt x="657" y="852"/>
                    <a:pt x="661" y="862"/>
                  </a:cubicBezTo>
                  <a:cubicBezTo>
                    <a:pt x="666" y="872"/>
                    <a:pt x="660" y="888"/>
                    <a:pt x="655" y="889"/>
                  </a:cubicBezTo>
                  <a:close/>
                  <a:moveTo>
                    <a:pt x="669" y="898"/>
                  </a:moveTo>
                  <a:cubicBezTo>
                    <a:pt x="669" y="895"/>
                    <a:pt x="675" y="887"/>
                    <a:pt x="675" y="879"/>
                  </a:cubicBezTo>
                  <a:cubicBezTo>
                    <a:pt x="676" y="869"/>
                    <a:pt x="672" y="859"/>
                    <a:pt x="675" y="855"/>
                  </a:cubicBezTo>
                  <a:cubicBezTo>
                    <a:pt x="678" y="852"/>
                    <a:pt x="693" y="858"/>
                    <a:pt x="709" y="845"/>
                  </a:cubicBezTo>
                  <a:cubicBezTo>
                    <a:pt x="716" y="840"/>
                    <a:pt x="758" y="879"/>
                    <a:pt x="743" y="902"/>
                  </a:cubicBezTo>
                  <a:cubicBezTo>
                    <a:pt x="729" y="924"/>
                    <a:pt x="670" y="914"/>
                    <a:pt x="669" y="898"/>
                  </a:cubicBezTo>
                  <a:close/>
                  <a:moveTo>
                    <a:pt x="764" y="985"/>
                  </a:moveTo>
                  <a:cubicBezTo>
                    <a:pt x="741" y="978"/>
                    <a:pt x="704" y="950"/>
                    <a:pt x="696" y="940"/>
                  </a:cubicBezTo>
                  <a:cubicBezTo>
                    <a:pt x="691" y="935"/>
                    <a:pt x="685" y="927"/>
                    <a:pt x="689" y="926"/>
                  </a:cubicBezTo>
                  <a:cubicBezTo>
                    <a:pt x="695" y="923"/>
                    <a:pt x="706" y="930"/>
                    <a:pt x="722" y="928"/>
                  </a:cubicBezTo>
                  <a:cubicBezTo>
                    <a:pt x="735" y="927"/>
                    <a:pt x="745" y="917"/>
                    <a:pt x="748" y="915"/>
                  </a:cubicBezTo>
                  <a:cubicBezTo>
                    <a:pt x="753" y="913"/>
                    <a:pt x="771" y="929"/>
                    <a:pt x="779" y="940"/>
                  </a:cubicBezTo>
                  <a:cubicBezTo>
                    <a:pt x="794" y="963"/>
                    <a:pt x="774" y="988"/>
                    <a:pt x="764" y="985"/>
                  </a:cubicBezTo>
                  <a:close/>
                  <a:moveTo>
                    <a:pt x="801" y="1048"/>
                  </a:moveTo>
                  <a:cubicBezTo>
                    <a:pt x="797" y="1049"/>
                    <a:pt x="790" y="1055"/>
                    <a:pt x="786" y="1052"/>
                  </a:cubicBezTo>
                  <a:cubicBezTo>
                    <a:pt x="784" y="1050"/>
                    <a:pt x="782" y="1045"/>
                    <a:pt x="779" y="1041"/>
                  </a:cubicBezTo>
                  <a:cubicBezTo>
                    <a:pt x="776" y="1036"/>
                    <a:pt x="774" y="1031"/>
                    <a:pt x="776" y="1028"/>
                  </a:cubicBezTo>
                  <a:cubicBezTo>
                    <a:pt x="779" y="1023"/>
                    <a:pt x="803" y="1034"/>
                    <a:pt x="806" y="1040"/>
                  </a:cubicBezTo>
                  <a:cubicBezTo>
                    <a:pt x="810" y="1047"/>
                    <a:pt x="804" y="1047"/>
                    <a:pt x="801" y="1048"/>
                  </a:cubicBezTo>
                  <a:close/>
                  <a:moveTo>
                    <a:pt x="808" y="1011"/>
                  </a:moveTo>
                  <a:cubicBezTo>
                    <a:pt x="806" y="1015"/>
                    <a:pt x="790" y="1002"/>
                    <a:pt x="785" y="999"/>
                  </a:cubicBezTo>
                  <a:cubicBezTo>
                    <a:pt x="780" y="996"/>
                    <a:pt x="780" y="992"/>
                    <a:pt x="785" y="989"/>
                  </a:cubicBezTo>
                  <a:cubicBezTo>
                    <a:pt x="794" y="985"/>
                    <a:pt x="810" y="1008"/>
                    <a:pt x="808" y="1011"/>
                  </a:cubicBezTo>
                  <a:close/>
                  <a:moveTo>
                    <a:pt x="797" y="975"/>
                  </a:moveTo>
                  <a:cubicBezTo>
                    <a:pt x="795" y="971"/>
                    <a:pt x="798" y="965"/>
                    <a:pt x="797" y="959"/>
                  </a:cubicBezTo>
                  <a:cubicBezTo>
                    <a:pt x="797" y="950"/>
                    <a:pt x="792" y="938"/>
                    <a:pt x="795" y="935"/>
                  </a:cubicBezTo>
                  <a:cubicBezTo>
                    <a:pt x="798" y="931"/>
                    <a:pt x="805" y="933"/>
                    <a:pt x="814" y="930"/>
                  </a:cubicBezTo>
                  <a:cubicBezTo>
                    <a:pt x="822" y="928"/>
                    <a:pt x="829" y="922"/>
                    <a:pt x="833" y="924"/>
                  </a:cubicBezTo>
                  <a:cubicBezTo>
                    <a:pt x="842" y="928"/>
                    <a:pt x="865" y="957"/>
                    <a:pt x="849" y="976"/>
                  </a:cubicBezTo>
                  <a:cubicBezTo>
                    <a:pt x="834" y="995"/>
                    <a:pt x="803" y="985"/>
                    <a:pt x="797" y="975"/>
                  </a:cubicBezTo>
                  <a:close/>
                  <a:moveTo>
                    <a:pt x="872" y="1045"/>
                  </a:moveTo>
                  <a:cubicBezTo>
                    <a:pt x="863" y="1049"/>
                    <a:pt x="836" y="1029"/>
                    <a:pt x="833" y="1025"/>
                  </a:cubicBezTo>
                  <a:cubicBezTo>
                    <a:pt x="830" y="1022"/>
                    <a:pt x="823" y="1008"/>
                    <a:pt x="825" y="1003"/>
                  </a:cubicBezTo>
                  <a:cubicBezTo>
                    <a:pt x="828" y="998"/>
                    <a:pt x="835" y="1000"/>
                    <a:pt x="842" y="997"/>
                  </a:cubicBezTo>
                  <a:cubicBezTo>
                    <a:pt x="851" y="994"/>
                    <a:pt x="858" y="988"/>
                    <a:pt x="861" y="989"/>
                  </a:cubicBezTo>
                  <a:cubicBezTo>
                    <a:pt x="869" y="991"/>
                    <a:pt x="883" y="1007"/>
                    <a:pt x="884" y="1021"/>
                  </a:cubicBezTo>
                  <a:cubicBezTo>
                    <a:pt x="885" y="1036"/>
                    <a:pt x="883" y="1040"/>
                    <a:pt x="872" y="1045"/>
                  </a:cubicBezTo>
                  <a:close/>
                  <a:moveTo>
                    <a:pt x="925" y="977"/>
                  </a:moveTo>
                  <a:cubicBezTo>
                    <a:pt x="906" y="1004"/>
                    <a:pt x="871" y="978"/>
                    <a:pt x="871" y="978"/>
                  </a:cubicBezTo>
                  <a:cubicBezTo>
                    <a:pt x="866" y="972"/>
                    <a:pt x="869" y="966"/>
                    <a:pt x="868" y="959"/>
                  </a:cubicBezTo>
                  <a:cubicBezTo>
                    <a:pt x="867" y="952"/>
                    <a:pt x="863" y="944"/>
                    <a:pt x="867" y="941"/>
                  </a:cubicBezTo>
                  <a:cubicBezTo>
                    <a:pt x="872" y="937"/>
                    <a:pt x="881" y="943"/>
                    <a:pt x="899" y="930"/>
                  </a:cubicBezTo>
                  <a:cubicBezTo>
                    <a:pt x="910" y="922"/>
                    <a:pt x="937" y="960"/>
                    <a:pt x="925" y="977"/>
                  </a:cubicBezTo>
                  <a:close/>
                  <a:moveTo>
                    <a:pt x="912" y="914"/>
                  </a:moveTo>
                  <a:cubicBezTo>
                    <a:pt x="915" y="896"/>
                    <a:pt x="908" y="886"/>
                    <a:pt x="912" y="879"/>
                  </a:cubicBezTo>
                  <a:cubicBezTo>
                    <a:pt x="915" y="874"/>
                    <a:pt x="926" y="885"/>
                    <a:pt x="947" y="871"/>
                  </a:cubicBezTo>
                  <a:cubicBezTo>
                    <a:pt x="957" y="864"/>
                    <a:pt x="987" y="904"/>
                    <a:pt x="974" y="923"/>
                  </a:cubicBezTo>
                  <a:cubicBezTo>
                    <a:pt x="957" y="947"/>
                    <a:pt x="910" y="922"/>
                    <a:pt x="912" y="914"/>
                  </a:cubicBezTo>
                  <a:close/>
                  <a:moveTo>
                    <a:pt x="994" y="997"/>
                  </a:moveTo>
                  <a:cubicBezTo>
                    <a:pt x="981" y="1019"/>
                    <a:pt x="933" y="993"/>
                    <a:pt x="937" y="987"/>
                  </a:cubicBezTo>
                  <a:cubicBezTo>
                    <a:pt x="947" y="967"/>
                    <a:pt x="939" y="950"/>
                    <a:pt x="941" y="948"/>
                  </a:cubicBezTo>
                  <a:cubicBezTo>
                    <a:pt x="945" y="943"/>
                    <a:pt x="953" y="951"/>
                    <a:pt x="971" y="941"/>
                  </a:cubicBezTo>
                  <a:cubicBezTo>
                    <a:pt x="976" y="939"/>
                    <a:pt x="1010" y="972"/>
                    <a:pt x="994" y="997"/>
                  </a:cubicBezTo>
                  <a:close/>
                  <a:moveTo>
                    <a:pt x="989" y="893"/>
                  </a:moveTo>
                  <a:cubicBezTo>
                    <a:pt x="991" y="891"/>
                    <a:pt x="1002" y="892"/>
                    <a:pt x="1022" y="890"/>
                  </a:cubicBezTo>
                  <a:cubicBezTo>
                    <a:pt x="1032" y="889"/>
                    <a:pt x="1062" y="929"/>
                    <a:pt x="1043" y="948"/>
                  </a:cubicBezTo>
                  <a:cubicBezTo>
                    <a:pt x="1022" y="968"/>
                    <a:pt x="985" y="938"/>
                    <a:pt x="987" y="932"/>
                  </a:cubicBezTo>
                  <a:cubicBezTo>
                    <a:pt x="994" y="902"/>
                    <a:pt x="985" y="899"/>
                    <a:pt x="989" y="893"/>
                  </a:cubicBezTo>
                  <a:close/>
                  <a:moveTo>
                    <a:pt x="1065" y="1025"/>
                  </a:moveTo>
                  <a:cubicBezTo>
                    <a:pt x="1042" y="1048"/>
                    <a:pt x="1001" y="1013"/>
                    <a:pt x="1005" y="1005"/>
                  </a:cubicBezTo>
                  <a:cubicBezTo>
                    <a:pt x="1015" y="985"/>
                    <a:pt x="1007" y="972"/>
                    <a:pt x="1014" y="968"/>
                  </a:cubicBezTo>
                  <a:cubicBezTo>
                    <a:pt x="1016" y="966"/>
                    <a:pt x="1025" y="972"/>
                    <a:pt x="1041" y="965"/>
                  </a:cubicBezTo>
                  <a:cubicBezTo>
                    <a:pt x="1052" y="959"/>
                    <a:pt x="1081" y="1010"/>
                    <a:pt x="1065" y="1025"/>
                  </a:cubicBezTo>
                  <a:close/>
                  <a:moveTo>
                    <a:pt x="1123" y="990"/>
                  </a:moveTo>
                  <a:cubicBezTo>
                    <a:pt x="1099" y="1011"/>
                    <a:pt x="1054" y="961"/>
                    <a:pt x="1057" y="955"/>
                  </a:cubicBezTo>
                  <a:cubicBezTo>
                    <a:pt x="1067" y="931"/>
                    <a:pt x="1057" y="921"/>
                    <a:pt x="1061" y="918"/>
                  </a:cubicBezTo>
                  <a:cubicBezTo>
                    <a:pt x="1066" y="913"/>
                    <a:pt x="1080" y="926"/>
                    <a:pt x="1100" y="915"/>
                  </a:cubicBezTo>
                  <a:cubicBezTo>
                    <a:pt x="1106" y="911"/>
                    <a:pt x="1148" y="968"/>
                    <a:pt x="1123" y="990"/>
                  </a:cubicBezTo>
                  <a:close/>
                  <a:moveTo>
                    <a:pt x="1144" y="838"/>
                  </a:moveTo>
                  <a:cubicBezTo>
                    <a:pt x="1141" y="840"/>
                    <a:pt x="1138" y="839"/>
                    <a:pt x="1135" y="837"/>
                  </a:cubicBezTo>
                  <a:cubicBezTo>
                    <a:pt x="1132" y="834"/>
                    <a:pt x="1136" y="829"/>
                    <a:pt x="1136" y="829"/>
                  </a:cubicBezTo>
                  <a:cubicBezTo>
                    <a:pt x="1136" y="829"/>
                    <a:pt x="1141" y="827"/>
                    <a:pt x="1147" y="826"/>
                  </a:cubicBezTo>
                  <a:cubicBezTo>
                    <a:pt x="1152" y="824"/>
                    <a:pt x="1154" y="826"/>
                    <a:pt x="1154" y="829"/>
                  </a:cubicBezTo>
                  <a:cubicBezTo>
                    <a:pt x="1155" y="832"/>
                    <a:pt x="1146" y="836"/>
                    <a:pt x="1144" y="838"/>
                  </a:cubicBezTo>
                  <a:close/>
                  <a:moveTo>
                    <a:pt x="1215" y="788"/>
                  </a:moveTo>
                  <a:cubicBezTo>
                    <a:pt x="1210" y="790"/>
                    <a:pt x="1196" y="783"/>
                    <a:pt x="1194" y="779"/>
                  </a:cubicBezTo>
                  <a:cubicBezTo>
                    <a:pt x="1192" y="775"/>
                    <a:pt x="1198" y="764"/>
                    <a:pt x="1201" y="762"/>
                  </a:cubicBezTo>
                  <a:cubicBezTo>
                    <a:pt x="1206" y="759"/>
                    <a:pt x="1228" y="757"/>
                    <a:pt x="1229" y="763"/>
                  </a:cubicBezTo>
                  <a:cubicBezTo>
                    <a:pt x="1231" y="782"/>
                    <a:pt x="1220" y="785"/>
                    <a:pt x="1215" y="788"/>
                  </a:cubicBezTo>
                  <a:close/>
                  <a:moveTo>
                    <a:pt x="1186" y="659"/>
                  </a:moveTo>
                  <a:cubicBezTo>
                    <a:pt x="1173" y="639"/>
                    <a:pt x="1130" y="618"/>
                    <a:pt x="1146" y="570"/>
                  </a:cubicBezTo>
                  <a:cubicBezTo>
                    <a:pt x="1147" y="567"/>
                    <a:pt x="1150" y="563"/>
                    <a:pt x="1150" y="563"/>
                  </a:cubicBezTo>
                  <a:cubicBezTo>
                    <a:pt x="1160" y="557"/>
                    <a:pt x="1157" y="596"/>
                    <a:pt x="1180" y="597"/>
                  </a:cubicBezTo>
                  <a:cubicBezTo>
                    <a:pt x="1191" y="598"/>
                    <a:pt x="1193" y="585"/>
                    <a:pt x="1198" y="585"/>
                  </a:cubicBezTo>
                  <a:cubicBezTo>
                    <a:pt x="1202" y="585"/>
                    <a:pt x="1210" y="591"/>
                    <a:pt x="1223" y="599"/>
                  </a:cubicBezTo>
                  <a:cubicBezTo>
                    <a:pt x="1264" y="624"/>
                    <a:pt x="1254" y="642"/>
                    <a:pt x="1266" y="639"/>
                  </a:cubicBezTo>
                  <a:cubicBezTo>
                    <a:pt x="1271" y="638"/>
                    <a:pt x="1270" y="605"/>
                    <a:pt x="1281" y="581"/>
                  </a:cubicBezTo>
                  <a:cubicBezTo>
                    <a:pt x="1295" y="550"/>
                    <a:pt x="1311" y="526"/>
                    <a:pt x="1316" y="526"/>
                  </a:cubicBezTo>
                  <a:cubicBezTo>
                    <a:pt x="1330" y="526"/>
                    <a:pt x="1322" y="565"/>
                    <a:pt x="1334" y="565"/>
                  </a:cubicBezTo>
                  <a:cubicBezTo>
                    <a:pt x="1343" y="565"/>
                    <a:pt x="1343" y="541"/>
                    <a:pt x="1357" y="525"/>
                  </a:cubicBezTo>
                  <a:cubicBezTo>
                    <a:pt x="1381" y="500"/>
                    <a:pt x="1406" y="497"/>
                    <a:pt x="1423" y="484"/>
                  </a:cubicBezTo>
                  <a:cubicBezTo>
                    <a:pt x="1437" y="475"/>
                    <a:pt x="1437" y="486"/>
                    <a:pt x="1429" y="507"/>
                  </a:cubicBezTo>
                  <a:cubicBezTo>
                    <a:pt x="1429" y="507"/>
                    <a:pt x="1412" y="535"/>
                    <a:pt x="1413" y="551"/>
                  </a:cubicBezTo>
                  <a:cubicBezTo>
                    <a:pt x="1415" y="566"/>
                    <a:pt x="1423" y="604"/>
                    <a:pt x="1417" y="618"/>
                  </a:cubicBezTo>
                  <a:cubicBezTo>
                    <a:pt x="1406" y="646"/>
                    <a:pt x="1417" y="634"/>
                    <a:pt x="1420" y="632"/>
                  </a:cubicBezTo>
                  <a:cubicBezTo>
                    <a:pt x="1427" y="629"/>
                    <a:pt x="1443" y="616"/>
                    <a:pt x="1465" y="619"/>
                  </a:cubicBezTo>
                  <a:cubicBezTo>
                    <a:pt x="1480" y="622"/>
                    <a:pt x="1476" y="625"/>
                    <a:pt x="1467" y="633"/>
                  </a:cubicBezTo>
                  <a:cubicBezTo>
                    <a:pt x="1459" y="641"/>
                    <a:pt x="1449" y="690"/>
                    <a:pt x="1427" y="716"/>
                  </a:cubicBezTo>
                  <a:cubicBezTo>
                    <a:pt x="1401" y="746"/>
                    <a:pt x="1368" y="747"/>
                    <a:pt x="1370" y="756"/>
                  </a:cubicBezTo>
                  <a:cubicBezTo>
                    <a:pt x="1372" y="763"/>
                    <a:pt x="1388" y="766"/>
                    <a:pt x="1407" y="779"/>
                  </a:cubicBezTo>
                  <a:cubicBezTo>
                    <a:pt x="1430" y="796"/>
                    <a:pt x="1455" y="818"/>
                    <a:pt x="1451" y="824"/>
                  </a:cubicBezTo>
                  <a:cubicBezTo>
                    <a:pt x="1446" y="830"/>
                    <a:pt x="1423" y="806"/>
                    <a:pt x="1415" y="814"/>
                  </a:cubicBezTo>
                  <a:cubicBezTo>
                    <a:pt x="1410" y="821"/>
                    <a:pt x="1434" y="840"/>
                    <a:pt x="1445" y="873"/>
                  </a:cubicBezTo>
                  <a:cubicBezTo>
                    <a:pt x="1452" y="896"/>
                    <a:pt x="1444" y="953"/>
                    <a:pt x="1435" y="956"/>
                  </a:cubicBezTo>
                  <a:cubicBezTo>
                    <a:pt x="1432" y="957"/>
                    <a:pt x="1422" y="921"/>
                    <a:pt x="1416" y="924"/>
                  </a:cubicBezTo>
                  <a:cubicBezTo>
                    <a:pt x="1407" y="926"/>
                    <a:pt x="1402" y="976"/>
                    <a:pt x="1389" y="972"/>
                  </a:cubicBezTo>
                  <a:cubicBezTo>
                    <a:pt x="1382" y="970"/>
                    <a:pt x="1395" y="938"/>
                    <a:pt x="1358" y="916"/>
                  </a:cubicBezTo>
                  <a:cubicBezTo>
                    <a:pt x="1323" y="894"/>
                    <a:pt x="1235" y="894"/>
                    <a:pt x="1237" y="801"/>
                  </a:cubicBezTo>
                  <a:cubicBezTo>
                    <a:pt x="1237" y="801"/>
                    <a:pt x="1264" y="778"/>
                    <a:pt x="1268" y="771"/>
                  </a:cubicBezTo>
                  <a:cubicBezTo>
                    <a:pt x="1269" y="769"/>
                    <a:pt x="1265" y="759"/>
                    <a:pt x="1257" y="763"/>
                  </a:cubicBezTo>
                  <a:cubicBezTo>
                    <a:pt x="1249" y="766"/>
                    <a:pt x="1243" y="774"/>
                    <a:pt x="1241" y="764"/>
                  </a:cubicBezTo>
                  <a:cubicBezTo>
                    <a:pt x="1240" y="760"/>
                    <a:pt x="1237" y="754"/>
                    <a:pt x="1233" y="751"/>
                  </a:cubicBezTo>
                  <a:cubicBezTo>
                    <a:pt x="1229" y="748"/>
                    <a:pt x="1223" y="747"/>
                    <a:pt x="1222" y="744"/>
                  </a:cubicBezTo>
                  <a:cubicBezTo>
                    <a:pt x="1220" y="741"/>
                    <a:pt x="1223" y="728"/>
                    <a:pt x="1225" y="723"/>
                  </a:cubicBezTo>
                  <a:cubicBezTo>
                    <a:pt x="1227" y="717"/>
                    <a:pt x="1223" y="710"/>
                    <a:pt x="1214" y="712"/>
                  </a:cubicBezTo>
                  <a:cubicBezTo>
                    <a:pt x="1204" y="715"/>
                    <a:pt x="1202" y="716"/>
                    <a:pt x="1202" y="706"/>
                  </a:cubicBezTo>
                  <a:cubicBezTo>
                    <a:pt x="1202" y="697"/>
                    <a:pt x="1200" y="680"/>
                    <a:pt x="1186" y="659"/>
                  </a:cubicBezTo>
                  <a:close/>
                  <a:moveTo>
                    <a:pt x="1188" y="742"/>
                  </a:moveTo>
                  <a:cubicBezTo>
                    <a:pt x="1188" y="742"/>
                    <a:pt x="1205" y="732"/>
                    <a:pt x="1208" y="735"/>
                  </a:cubicBezTo>
                  <a:cubicBezTo>
                    <a:pt x="1209" y="736"/>
                    <a:pt x="1208" y="741"/>
                    <a:pt x="1207" y="743"/>
                  </a:cubicBezTo>
                  <a:cubicBezTo>
                    <a:pt x="1206" y="744"/>
                    <a:pt x="1200" y="749"/>
                    <a:pt x="1195" y="751"/>
                  </a:cubicBezTo>
                  <a:cubicBezTo>
                    <a:pt x="1191" y="753"/>
                    <a:pt x="1190" y="753"/>
                    <a:pt x="1186" y="749"/>
                  </a:cubicBezTo>
                  <a:cubicBezTo>
                    <a:pt x="1182" y="744"/>
                    <a:pt x="1188" y="742"/>
                    <a:pt x="1188" y="742"/>
                  </a:cubicBezTo>
                  <a:close/>
                  <a:moveTo>
                    <a:pt x="1199" y="793"/>
                  </a:moveTo>
                  <a:cubicBezTo>
                    <a:pt x="1206" y="795"/>
                    <a:pt x="1201" y="803"/>
                    <a:pt x="1200" y="804"/>
                  </a:cubicBezTo>
                  <a:cubicBezTo>
                    <a:pt x="1198" y="804"/>
                    <a:pt x="1186" y="815"/>
                    <a:pt x="1175" y="819"/>
                  </a:cubicBezTo>
                  <a:cubicBezTo>
                    <a:pt x="1168" y="820"/>
                    <a:pt x="1164" y="814"/>
                    <a:pt x="1164" y="808"/>
                  </a:cubicBezTo>
                  <a:cubicBezTo>
                    <a:pt x="1163" y="803"/>
                    <a:pt x="1170" y="798"/>
                    <a:pt x="1170" y="798"/>
                  </a:cubicBezTo>
                  <a:cubicBezTo>
                    <a:pt x="1175" y="795"/>
                    <a:pt x="1188" y="791"/>
                    <a:pt x="1199" y="793"/>
                  </a:cubicBezTo>
                  <a:close/>
                  <a:moveTo>
                    <a:pt x="1147" y="769"/>
                  </a:moveTo>
                  <a:cubicBezTo>
                    <a:pt x="1147" y="769"/>
                    <a:pt x="1149" y="765"/>
                    <a:pt x="1151" y="763"/>
                  </a:cubicBezTo>
                  <a:cubicBezTo>
                    <a:pt x="1154" y="761"/>
                    <a:pt x="1168" y="757"/>
                    <a:pt x="1173" y="758"/>
                  </a:cubicBezTo>
                  <a:cubicBezTo>
                    <a:pt x="1179" y="758"/>
                    <a:pt x="1180" y="762"/>
                    <a:pt x="1181" y="767"/>
                  </a:cubicBezTo>
                  <a:cubicBezTo>
                    <a:pt x="1183" y="773"/>
                    <a:pt x="1173" y="785"/>
                    <a:pt x="1170" y="787"/>
                  </a:cubicBezTo>
                  <a:cubicBezTo>
                    <a:pt x="1167" y="789"/>
                    <a:pt x="1163" y="790"/>
                    <a:pt x="1161" y="787"/>
                  </a:cubicBezTo>
                  <a:cubicBezTo>
                    <a:pt x="1158" y="784"/>
                    <a:pt x="1150" y="783"/>
                    <a:pt x="1146" y="780"/>
                  </a:cubicBezTo>
                  <a:cubicBezTo>
                    <a:pt x="1143" y="778"/>
                    <a:pt x="1146" y="770"/>
                    <a:pt x="1147" y="769"/>
                  </a:cubicBezTo>
                  <a:close/>
                  <a:moveTo>
                    <a:pt x="1149" y="794"/>
                  </a:moveTo>
                  <a:cubicBezTo>
                    <a:pt x="1151" y="795"/>
                    <a:pt x="1153" y="798"/>
                    <a:pt x="1153" y="801"/>
                  </a:cubicBezTo>
                  <a:cubicBezTo>
                    <a:pt x="1152" y="805"/>
                    <a:pt x="1148" y="810"/>
                    <a:pt x="1145" y="813"/>
                  </a:cubicBezTo>
                  <a:cubicBezTo>
                    <a:pt x="1141" y="817"/>
                    <a:pt x="1131" y="821"/>
                    <a:pt x="1129" y="821"/>
                  </a:cubicBezTo>
                  <a:cubicBezTo>
                    <a:pt x="1126" y="821"/>
                    <a:pt x="1124" y="818"/>
                    <a:pt x="1121" y="816"/>
                  </a:cubicBezTo>
                  <a:cubicBezTo>
                    <a:pt x="1118" y="814"/>
                    <a:pt x="1117" y="816"/>
                    <a:pt x="1113" y="813"/>
                  </a:cubicBezTo>
                  <a:cubicBezTo>
                    <a:pt x="1110" y="811"/>
                    <a:pt x="1114" y="803"/>
                    <a:pt x="1114" y="802"/>
                  </a:cubicBezTo>
                  <a:cubicBezTo>
                    <a:pt x="1114" y="802"/>
                    <a:pt x="1118" y="798"/>
                    <a:pt x="1121" y="796"/>
                  </a:cubicBezTo>
                  <a:cubicBezTo>
                    <a:pt x="1123" y="794"/>
                    <a:pt x="1131" y="793"/>
                    <a:pt x="1135" y="792"/>
                  </a:cubicBezTo>
                  <a:cubicBezTo>
                    <a:pt x="1139" y="790"/>
                    <a:pt x="1147" y="792"/>
                    <a:pt x="1149" y="794"/>
                  </a:cubicBezTo>
                  <a:close/>
                  <a:moveTo>
                    <a:pt x="1109" y="779"/>
                  </a:moveTo>
                  <a:cubicBezTo>
                    <a:pt x="1112" y="776"/>
                    <a:pt x="1120" y="772"/>
                    <a:pt x="1123" y="772"/>
                  </a:cubicBezTo>
                  <a:cubicBezTo>
                    <a:pt x="1125" y="771"/>
                    <a:pt x="1126" y="770"/>
                    <a:pt x="1128" y="772"/>
                  </a:cubicBezTo>
                  <a:cubicBezTo>
                    <a:pt x="1131" y="774"/>
                    <a:pt x="1129" y="778"/>
                    <a:pt x="1124" y="781"/>
                  </a:cubicBezTo>
                  <a:cubicBezTo>
                    <a:pt x="1120" y="784"/>
                    <a:pt x="1116" y="788"/>
                    <a:pt x="1113" y="787"/>
                  </a:cubicBezTo>
                  <a:cubicBezTo>
                    <a:pt x="1111" y="785"/>
                    <a:pt x="1106" y="781"/>
                    <a:pt x="1109" y="779"/>
                  </a:cubicBezTo>
                  <a:close/>
                  <a:moveTo>
                    <a:pt x="1117" y="825"/>
                  </a:moveTo>
                  <a:cubicBezTo>
                    <a:pt x="1121" y="828"/>
                    <a:pt x="1123" y="835"/>
                    <a:pt x="1122" y="840"/>
                  </a:cubicBezTo>
                  <a:cubicBezTo>
                    <a:pt x="1121" y="846"/>
                    <a:pt x="1106" y="854"/>
                    <a:pt x="1102" y="855"/>
                  </a:cubicBezTo>
                  <a:cubicBezTo>
                    <a:pt x="1096" y="857"/>
                    <a:pt x="1085" y="853"/>
                    <a:pt x="1083" y="848"/>
                  </a:cubicBezTo>
                  <a:cubicBezTo>
                    <a:pt x="1080" y="840"/>
                    <a:pt x="1089" y="827"/>
                    <a:pt x="1089" y="827"/>
                  </a:cubicBezTo>
                  <a:cubicBezTo>
                    <a:pt x="1089" y="827"/>
                    <a:pt x="1092" y="825"/>
                    <a:pt x="1094" y="825"/>
                  </a:cubicBezTo>
                  <a:cubicBezTo>
                    <a:pt x="1097" y="824"/>
                    <a:pt x="1113" y="823"/>
                    <a:pt x="1117" y="825"/>
                  </a:cubicBezTo>
                  <a:close/>
                  <a:moveTo>
                    <a:pt x="1084" y="789"/>
                  </a:moveTo>
                  <a:cubicBezTo>
                    <a:pt x="1099" y="787"/>
                    <a:pt x="1102" y="796"/>
                    <a:pt x="1102" y="801"/>
                  </a:cubicBezTo>
                  <a:cubicBezTo>
                    <a:pt x="1101" y="811"/>
                    <a:pt x="1087" y="817"/>
                    <a:pt x="1081" y="818"/>
                  </a:cubicBezTo>
                  <a:cubicBezTo>
                    <a:pt x="1079" y="818"/>
                    <a:pt x="1076" y="818"/>
                    <a:pt x="1074" y="816"/>
                  </a:cubicBezTo>
                  <a:cubicBezTo>
                    <a:pt x="1069" y="811"/>
                    <a:pt x="1062" y="813"/>
                    <a:pt x="1062" y="808"/>
                  </a:cubicBezTo>
                  <a:cubicBezTo>
                    <a:pt x="1061" y="797"/>
                    <a:pt x="1077" y="790"/>
                    <a:pt x="1084" y="789"/>
                  </a:cubicBezTo>
                  <a:close/>
                  <a:moveTo>
                    <a:pt x="1034" y="877"/>
                  </a:moveTo>
                  <a:cubicBezTo>
                    <a:pt x="1042" y="859"/>
                    <a:pt x="1035" y="843"/>
                    <a:pt x="1040" y="841"/>
                  </a:cubicBezTo>
                  <a:cubicBezTo>
                    <a:pt x="1051" y="835"/>
                    <a:pt x="1068" y="866"/>
                    <a:pt x="1087" y="892"/>
                  </a:cubicBezTo>
                  <a:cubicBezTo>
                    <a:pt x="1092" y="898"/>
                    <a:pt x="1090" y="905"/>
                    <a:pt x="1088" y="906"/>
                  </a:cubicBezTo>
                  <a:cubicBezTo>
                    <a:pt x="1069" y="918"/>
                    <a:pt x="1031" y="884"/>
                    <a:pt x="1034" y="877"/>
                  </a:cubicBezTo>
                  <a:close/>
                  <a:moveTo>
                    <a:pt x="1017" y="791"/>
                  </a:moveTo>
                  <a:cubicBezTo>
                    <a:pt x="1022" y="793"/>
                    <a:pt x="1029" y="809"/>
                    <a:pt x="1032" y="814"/>
                  </a:cubicBezTo>
                  <a:cubicBezTo>
                    <a:pt x="1035" y="819"/>
                    <a:pt x="1034" y="826"/>
                    <a:pt x="1030" y="825"/>
                  </a:cubicBezTo>
                  <a:cubicBezTo>
                    <a:pt x="1027" y="824"/>
                    <a:pt x="1019" y="811"/>
                    <a:pt x="1013" y="805"/>
                  </a:cubicBezTo>
                  <a:cubicBezTo>
                    <a:pt x="1010" y="802"/>
                    <a:pt x="1011" y="790"/>
                    <a:pt x="1017" y="791"/>
                  </a:cubicBezTo>
                  <a:close/>
                  <a:moveTo>
                    <a:pt x="1022" y="871"/>
                  </a:moveTo>
                  <a:cubicBezTo>
                    <a:pt x="1000" y="895"/>
                    <a:pt x="963" y="865"/>
                    <a:pt x="962" y="859"/>
                  </a:cubicBezTo>
                  <a:cubicBezTo>
                    <a:pt x="962" y="857"/>
                    <a:pt x="964" y="848"/>
                    <a:pt x="964" y="842"/>
                  </a:cubicBezTo>
                  <a:cubicBezTo>
                    <a:pt x="964" y="832"/>
                    <a:pt x="961" y="823"/>
                    <a:pt x="963" y="821"/>
                  </a:cubicBezTo>
                  <a:cubicBezTo>
                    <a:pt x="968" y="817"/>
                    <a:pt x="973" y="826"/>
                    <a:pt x="998" y="814"/>
                  </a:cubicBezTo>
                  <a:cubicBezTo>
                    <a:pt x="1004" y="812"/>
                    <a:pt x="1038" y="855"/>
                    <a:pt x="1022" y="871"/>
                  </a:cubicBezTo>
                  <a:close/>
                  <a:moveTo>
                    <a:pt x="984" y="741"/>
                  </a:moveTo>
                  <a:cubicBezTo>
                    <a:pt x="991" y="747"/>
                    <a:pt x="1012" y="773"/>
                    <a:pt x="997" y="795"/>
                  </a:cubicBezTo>
                  <a:cubicBezTo>
                    <a:pt x="977" y="824"/>
                    <a:pt x="938" y="792"/>
                    <a:pt x="938" y="792"/>
                  </a:cubicBezTo>
                  <a:cubicBezTo>
                    <a:pt x="933" y="788"/>
                    <a:pt x="939" y="774"/>
                    <a:pt x="940" y="766"/>
                  </a:cubicBezTo>
                  <a:cubicBezTo>
                    <a:pt x="940" y="757"/>
                    <a:pt x="939" y="752"/>
                    <a:pt x="942" y="749"/>
                  </a:cubicBezTo>
                  <a:cubicBezTo>
                    <a:pt x="946" y="745"/>
                    <a:pt x="953" y="746"/>
                    <a:pt x="960" y="745"/>
                  </a:cubicBezTo>
                  <a:cubicBezTo>
                    <a:pt x="969" y="744"/>
                    <a:pt x="981" y="738"/>
                    <a:pt x="984" y="741"/>
                  </a:cubicBezTo>
                  <a:close/>
                  <a:moveTo>
                    <a:pt x="978" y="722"/>
                  </a:moveTo>
                  <a:cubicBezTo>
                    <a:pt x="976" y="727"/>
                    <a:pt x="971" y="730"/>
                    <a:pt x="965" y="732"/>
                  </a:cubicBezTo>
                  <a:cubicBezTo>
                    <a:pt x="929" y="745"/>
                    <a:pt x="912" y="720"/>
                    <a:pt x="913" y="715"/>
                  </a:cubicBezTo>
                  <a:cubicBezTo>
                    <a:pt x="913" y="711"/>
                    <a:pt x="964" y="717"/>
                    <a:pt x="963" y="701"/>
                  </a:cubicBezTo>
                  <a:cubicBezTo>
                    <a:pt x="962" y="696"/>
                    <a:pt x="944" y="691"/>
                    <a:pt x="943" y="685"/>
                  </a:cubicBezTo>
                  <a:cubicBezTo>
                    <a:pt x="940" y="673"/>
                    <a:pt x="952" y="667"/>
                    <a:pt x="956" y="665"/>
                  </a:cubicBezTo>
                  <a:cubicBezTo>
                    <a:pt x="960" y="663"/>
                    <a:pt x="962" y="676"/>
                    <a:pt x="968" y="687"/>
                  </a:cubicBezTo>
                  <a:cubicBezTo>
                    <a:pt x="974" y="699"/>
                    <a:pt x="980" y="716"/>
                    <a:pt x="978" y="722"/>
                  </a:cubicBezTo>
                  <a:close/>
                  <a:moveTo>
                    <a:pt x="930" y="657"/>
                  </a:moveTo>
                  <a:cubicBezTo>
                    <a:pt x="927" y="635"/>
                    <a:pt x="929" y="613"/>
                    <a:pt x="940" y="621"/>
                  </a:cubicBezTo>
                  <a:cubicBezTo>
                    <a:pt x="940" y="621"/>
                    <a:pt x="957" y="644"/>
                    <a:pt x="952" y="655"/>
                  </a:cubicBezTo>
                  <a:cubicBezTo>
                    <a:pt x="952" y="655"/>
                    <a:pt x="934" y="681"/>
                    <a:pt x="930" y="657"/>
                  </a:cubicBezTo>
                  <a:close/>
                  <a:moveTo>
                    <a:pt x="1001" y="578"/>
                  </a:moveTo>
                  <a:cubicBezTo>
                    <a:pt x="996" y="581"/>
                    <a:pt x="985" y="593"/>
                    <a:pt x="977" y="600"/>
                  </a:cubicBezTo>
                  <a:cubicBezTo>
                    <a:pt x="968" y="606"/>
                    <a:pt x="966" y="601"/>
                    <a:pt x="965" y="599"/>
                  </a:cubicBezTo>
                  <a:cubicBezTo>
                    <a:pt x="963" y="598"/>
                    <a:pt x="953" y="586"/>
                    <a:pt x="950" y="582"/>
                  </a:cubicBezTo>
                  <a:cubicBezTo>
                    <a:pt x="947" y="578"/>
                    <a:pt x="944" y="573"/>
                    <a:pt x="944" y="567"/>
                  </a:cubicBezTo>
                  <a:cubicBezTo>
                    <a:pt x="943" y="542"/>
                    <a:pt x="958" y="528"/>
                    <a:pt x="966" y="524"/>
                  </a:cubicBezTo>
                  <a:cubicBezTo>
                    <a:pt x="973" y="521"/>
                    <a:pt x="978" y="523"/>
                    <a:pt x="981" y="525"/>
                  </a:cubicBezTo>
                  <a:cubicBezTo>
                    <a:pt x="983" y="526"/>
                    <a:pt x="993" y="537"/>
                    <a:pt x="993" y="537"/>
                  </a:cubicBezTo>
                  <a:cubicBezTo>
                    <a:pt x="993" y="537"/>
                    <a:pt x="999" y="546"/>
                    <a:pt x="988" y="545"/>
                  </a:cubicBezTo>
                  <a:cubicBezTo>
                    <a:pt x="981" y="545"/>
                    <a:pt x="982" y="543"/>
                    <a:pt x="977" y="542"/>
                  </a:cubicBezTo>
                  <a:cubicBezTo>
                    <a:pt x="973" y="541"/>
                    <a:pt x="968" y="542"/>
                    <a:pt x="967" y="545"/>
                  </a:cubicBezTo>
                  <a:cubicBezTo>
                    <a:pt x="967" y="548"/>
                    <a:pt x="968" y="548"/>
                    <a:pt x="975" y="550"/>
                  </a:cubicBezTo>
                  <a:cubicBezTo>
                    <a:pt x="981" y="552"/>
                    <a:pt x="974" y="555"/>
                    <a:pt x="974" y="555"/>
                  </a:cubicBezTo>
                  <a:cubicBezTo>
                    <a:pt x="970" y="557"/>
                    <a:pt x="971" y="556"/>
                    <a:pt x="961" y="559"/>
                  </a:cubicBezTo>
                  <a:cubicBezTo>
                    <a:pt x="954" y="561"/>
                    <a:pt x="954" y="567"/>
                    <a:pt x="962" y="566"/>
                  </a:cubicBezTo>
                  <a:cubicBezTo>
                    <a:pt x="975" y="563"/>
                    <a:pt x="977" y="567"/>
                    <a:pt x="965" y="576"/>
                  </a:cubicBezTo>
                  <a:cubicBezTo>
                    <a:pt x="961" y="579"/>
                    <a:pt x="962" y="587"/>
                    <a:pt x="969" y="582"/>
                  </a:cubicBezTo>
                  <a:cubicBezTo>
                    <a:pt x="981" y="573"/>
                    <a:pt x="988" y="564"/>
                    <a:pt x="997" y="558"/>
                  </a:cubicBezTo>
                  <a:cubicBezTo>
                    <a:pt x="1007" y="553"/>
                    <a:pt x="1012" y="557"/>
                    <a:pt x="1016" y="563"/>
                  </a:cubicBezTo>
                  <a:cubicBezTo>
                    <a:pt x="1019" y="567"/>
                    <a:pt x="1005" y="575"/>
                    <a:pt x="1001" y="578"/>
                  </a:cubicBezTo>
                  <a:close/>
                  <a:moveTo>
                    <a:pt x="913" y="414"/>
                  </a:moveTo>
                  <a:cubicBezTo>
                    <a:pt x="917" y="417"/>
                    <a:pt x="913" y="420"/>
                    <a:pt x="909" y="418"/>
                  </a:cubicBezTo>
                  <a:cubicBezTo>
                    <a:pt x="906" y="415"/>
                    <a:pt x="876" y="395"/>
                    <a:pt x="873" y="393"/>
                  </a:cubicBezTo>
                  <a:cubicBezTo>
                    <a:pt x="869" y="390"/>
                    <a:pt x="872" y="387"/>
                    <a:pt x="875" y="388"/>
                  </a:cubicBezTo>
                  <a:cubicBezTo>
                    <a:pt x="875" y="388"/>
                    <a:pt x="909" y="410"/>
                    <a:pt x="913" y="414"/>
                  </a:cubicBezTo>
                  <a:close/>
                  <a:moveTo>
                    <a:pt x="876" y="370"/>
                  </a:moveTo>
                  <a:cubicBezTo>
                    <a:pt x="879" y="366"/>
                    <a:pt x="883" y="363"/>
                    <a:pt x="885" y="362"/>
                  </a:cubicBezTo>
                  <a:cubicBezTo>
                    <a:pt x="888" y="361"/>
                    <a:pt x="891" y="359"/>
                    <a:pt x="892" y="365"/>
                  </a:cubicBezTo>
                  <a:cubicBezTo>
                    <a:pt x="893" y="368"/>
                    <a:pt x="892" y="372"/>
                    <a:pt x="891" y="373"/>
                  </a:cubicBezTo>
                  <a:cubicBezTo>
                    <a:pt x="891" y="375"/>
                    <a:pt x="888" y="383"/>
                    <a:pt x="882" y="382"/>
                  </a:cubicBezTo>
                  <a:cubicBezTo>
                    <a:pt x="875" y="379"/>
                    <a:pt x="874" y="373"/>
                    <a:pt x="876" y="370"/>
                  </a:cubicBezTo>
                  <a:close/>
                  <a:moveTo>
                    <a:pt x="917" y="383"/>
                  </a:moveTo>
                  <a:cubicBezTo>
                    <a:pt x="916" y="385"/>
                    <a:pt x="913" y="391"/>
                    <a:pt x="908" y="395"/>
                  </a:cubicBezTo>
                  <a:cubicBezTo>
                    <a:pt x="903" y="399"/>
                    <a:pt x="897" y="392"/>
                    <a:pt x="895" y="389"/>
                  </a:cubicBezTo>
                  <a:cubicBezTo>
                    <a:pt x="893" y="387"/>
                    <a:pt x="895" y="382"/>
                    <a:pt x="896" y="380"/>
                  </a:cubicBezTo>
                  <a:cubicBezTo>
                    <a:pt x="897" y="379"/>
                    <a:pt x="907" y="368"/>
                    <a:pt x="910" y="366"/>
                  </a:cubicBezTo>
                  <a:cubicBezTo>
                    <a:pt x="912" y="364"/>
                    <a:pt x="917" y="366"/>
                    <a:pt x="918" y="369"/>
                  </a:cubicBezTo>
                  <a:cubicBezTo>
                    <a:pt x="920" y="374"/>
                    <a:pt x="917" y="381"/>
                    <a:pt x="917" y="383"/>
                  </a:cubicBezTo>
                  <a:close/>
                  <a:moveTo>
                    <a:pt x="923" y="388"/>
                  </a:moveTo>
                  <a:cubicBezTo>
                    <a:pt x="925" y="387"/>
                    <a:pt x="928" y="385"/>
                    <a:pt x="932" y="386"/>
                  </a:cubicBezTo>
                  <a:cubicBezTo>
                    <a:pt x="936" y="388"/>
                    <a:pt x="934" y="395"/>
                    <a:pt x="933" y="397"/>
                  </a:cubicBezTo>
                  <a:cubicBezTo>
                    <a:pt x="932" y="399"/>
                    <a:pt x="931" y="404"/>
                    <a:pt x="928" y="407"/>
                  </a:cubicBezTo>
                  <a:cubicBezTo>
                    <a:pt x="925" y="411"/>
                    <a:pt x="919" y="407"/>
                    <a:pt x="917" y="405"/>
                  </a:cubicBezTo>
                  <a:cubicBezTo>
                    <a:pt x="915" y="403"/>
                    <a:pt x="914" y="399"/>
                    <a:pt x="916" y="397"/>
                  </a:cubicBezTo>
                  <a:cubicBezTo>
                    <a:pt x="918" y="394"/>
                    <a:pt x="922" y="389"/>
                    <a:pt x="923" y="388"/>
                  </a:cubicBezTo>
                  <a:close/>
                  <a:moveTo>
                    <a:pt x="907" y="427"/>
                  </a:moveTo>
                  <a:cubicBezTo>
                    <a:pt x="910" y="431"/>
                    <a:pt x="912" y="434"/>
                    <a:pt x="909" y="438"/>
                  </a:cubicBezTo>
                  <a:cubicBezTo>
                    <a:pt x="907" y="442"/>
                    <a:pt x="904" y="443"/>
                    <a:pt x="900" y="442"/>
                  </a:cubicBezTo>
                  <a:cubicBezTo>
                    <a:pt x="898" y="441"/>
                    <a:pt x="855" y="411"/>
                    <a:pt x="855" y="411"/>
                  </a:cubicBezTo>
                  <a:cubicBezTo>
                    <a:pt x="853" y="409"/>
                    <a:pt x="853" y="405"/>
                    <a:pt x="857" y="402"/>
                  </a:cubicBezTo>
                  <a:cubicBezTo>
                    <a:pt x="861" y="400"/>
                    <a:pt x="865" y="399"/>
                    <a:pt x="869" y="401"/>
                  </a:cubicBezTo>
                  <a:cubicBezTo>
                    <a:pt x="873" y="403"/>
                    <a:pt x="903" y="422"/>
                    <a:pt x="907" y="427"/>
                  </a:cubicBezTo>
                  <a:close/>
                  <a:moveTo>
                    <a:pt x="850" y="431"/>
                  </a:moveTo>
                  <a:cubicBezTo>
                    <a:pt x="841" y="432"/>
                    <a:pt x="837" y="432"/>
                    <a:pt x="834" y="432"/>
                  </a:cubicBezTo>
                  <a:cubicBezTo>
                    <a:pt x="830" y="432"/>
                    <a:pt x="829" y="439"/>
                    <a:pt x="836" y="439"/>
                  </a:cubicBezTo>
                  <a:cubicBezTo>
                    <a:pt x="842" y="440"/>
                    <a:pt x="851" y="439"/>
                    <a:pt x="845" y="444"/>
                  </a:cubicBezTo>
                  <a:cubicBezTo>
                    <a:pt x="838" y="450"/>
                    <a:pt x="833" y="451"/>
                    <a:pt x="831" y="452"/>
                  </a:cubicBezTo>
                  <a:cubicBezTo>
                    <a:pt x="825" y="456"/>
                    <a:pt x="827" y="463"/>
                    <a:pt x="834" y="460"/>
                  </a:cubicBezTo>
                  <a:cubicBezTo>
                    <a:pt x="846" y="453"/>
                    <a:pt x="848" y="454"/>
                    <a:pt x="845" y="461"/>
                  </a:cubicBezTo>
                  <a:cubicBezTo>
                    <a:pt x="843" y="465"/>
                    <a:pt x="840" y="469"/>
                    <a:pt x="839" y="472"/>
                  </a:cubicBezTo>
                  <a:cubicBezTo>
                    <a:pt x="837" y="476"/>
                    <a:pt x="842" y="478"/>
                    <a:pt x="844" y="476"/>
                  </a:cubicBezTo>
                  <a:cubicBezTo>
                    <a:pt x="847" y="473"/>
                    <a:pt x="864" y="445"/>
                    <a:pt x="867" y="441"/>
                  </a:cubicBezTo>
                  <a:cubicBezTo>
                    <a:pt x="870" y="435"/>
                    <a:pt x="879" y="438"/>
                    <a:pt x="873" y="447"/>
                  </a:cubicBezTo>
                  <a:cubicBezTo>
                    <a:pt x="865" y="460"/>
                    <a:pt x="853" y="478"/>
                    <a:pt x="851" y="479"/>
                  </a:cubicBezTo>
                  <a:cubicBezTo>
                    <a:pt x="849" y="483"/>
                    <a:pt x="853" y="488"/>
                    <a:pt x="857" y="483"/>
                  </a:cubicBezTo>
                  <a:cubicBezTo>
                    <a:pt x="866" y="471"/>
                    <a:pt x="869" y="465"/>
                    <a:pt x="869" y="474"/>
                  </a:cubicBezTo>
                  <a:cubicBezTo>
                    <a:pt x="869" y="483"/>
                    <a:pt x="870" y="487"/>
                    <a:pt x="873" y="487"/>
                  </a:cubicBezTo>
                  <a:cubicBezTo>
                    <a:pt x="876" y="487"/>
                    <a:pt x="877" y="479"/>
                    <a:pt x="877" y="474"/>
                  </a:cubicBezTo>
                  <a:cubicBezTo>
                    <a:pt x="876" y="469"/>
                    <a:pt x="879" y="458"/>
                    <a:pt x="883" y="468"/>
                  </a:cubicBezTo>
                  <a:cubicBezTo>
                    <a:pt x="886" y="475"/>
                    <a:pt x="889" y="476"/>
                    <a:pt x="892" y="475"/>
                  </a:cubicBezTo>
                  <a:cubicBezTo>
                    <a:pt x="894" y="473"/>
                    <a:pt x="891" y="464"/>
                    <a:pt x="890" y="460"/>
                  </a:cubicBezTo>
                  <a:cubicBezTo>
                    <a:pt x="886" y="449"/>
                    <a:pt x="890" y="449"/>
                    <a:pt x="893" y="451"/>
                  </a:cubicBezTo>
                  <a:cubicBezTo>
                    <a:pt x="896" y="452"/>
                    <a:pt x="903" y="456"/>
                    <a:pt x="906" y="460"/>
                  </a:cubicBezTo>
                  <a:cubicBezTo>
                    <a:pt x="921" y="476"/>
                    <a:pt x="884" y="523"/>
                    <a:pt x="837" y="491"/>
                  </a:cubicBezTo>
                  <a:cubicBezTo>
                    <a:pt x="797" y="464"/>
                    <a:pt x="814" y="411"/>
                    <a:pt x="838" y="414"/>
                  </a:cubicBezTo>
                  <a:cubicBezTo>
                    <a:pt x="841" y="414"/>
                    <a:pt x="853" y="423"/>
                    <a:pt x="853" y="423"/>
                  </a:cubicBezTo>
                  <a:cubicBezTo>
                    <a:pt x="853" y="423"/>
                    <a:pt x="863" y="430"/>
                    <a:pt x="850" y="431"/>
                  </a:cubicBezTo>
                  <a:close/>
                  <a:moveTo>
                    <a:pt x="879" y="509"/>
                  </a:moveTo>
                  <a:cubicBezTo>
                    <a:pt x="902" y="505"/>
                    <a:pt x="913" y="492"/>
                    <a:pt x="917" y="478"/>
                  </a:cubicBezTo>
                  <a:cubicBezTo>
                    <a:pt x="917" y="478"/>
                    <a:pt x="919" y="469"/>
                    <a:pt x="924" y="474"/>
                  </a:cubicBezTo>
                  <a:cubicBezTo>
                    <a:pt x="929" y="478"/>
                    <a:pt x="960" y="506"/>
                    <a:pt x="960" y="506"/>
                  </a:cubicBezTo>
                  <a:cubicBezTo>
                    <a:pt x="960" y="506"/>
                    <a:pt x="969" y="511"/>
                    <a:pt x="960" y="516"/>
                  </a:cubicBezTo>
                  <a:cubicBezTo>
                    <a:pt x="950" y="522"/>
                    <a:pt x="936" y="535"/>
                    <a:pt x="934" y="550"/>
                  </a:cubicBezTo>
                  <a:cubicBezTo>
                    <a:pt x="934" y="556"/>
                    <a:pt x="932" y="566"/>
                    <a:pt x="923" y="558"/>
                  </a:cubicBezTo>
                  <a:cubicBezTo>
                    <a:pt x="913" y="550"/>
                    <a:pt x="876" y="518"/>
                    <a:pt x="876" y="518"/>
                  </a:cubicBezTo>
                  <a:cubicBezTo>
                    <a:pt x="876" y="518"/>
                    <a:pt x="869" y="510"/>
                    <a:pt x="879" y="509"/>
                  </a:cubicBezTo>
                  <a:close/>
                  <a:moveTo>
                    <a:pt x="1040" y="560"/>
                  </a:moveTo>
                  <a:cubicBezTo>
                    <a:pt x="1034" y="564"/>
                    <a:pt x="1029" y="561"/>
                    <a:pt x="1025" y="557"/>
                  </a:cubicBezTo>
                  <a:cubicBezTo>
                    <a:pt x="1021" y="552"/>
                    <a:pt x="1000" y="528"/>
                    <a:pt x="1000" y="527"/>
                  </a:cubicBezTo>
                  <a:cubicBezTo>
                    <a:pt x="999" y="526"/>
                    <a:pt x="997" y="524"/>
                    <a:pt x="1000" y="521"/>
                  </a:cubicBezTo>
                  <a:cubicBezTo>
                    <a:pt x="1002" y="518"/>
                    <a:pt x="1010" y="519"/>
                    <a:pt x="1013" y="523"/>
                  </a:cubicBezTo>
                  <a:cubicBezTo>
                    <a:pt x="1017" y="527"/>
                    <a:pt x="1034" y="543"/>
                    <a:pt x="1036" y="547"/>
                  </a:cubicBezTo>
                  <a:cubicBezTo>
                    <a:pt x="1037" y="548"/>
                    <a:pt x="1044" y="557"/>
                    <a:pt x="1040" y="560"/>
                  </a:cubicBezTo>
                  <a:close/>
                  <a:moveTo>
                    <a:pt x="1049" y="547"/>
                  </a:moveTo>
                  <a:cubicBezTo>
                    <a:pt x="1048" y="548"/>
                    <a:pt x="1044" y="544"/>
                    <a:pt x="1041" y="541"/>
                  </a:cubicBezTo>
                  <a:cubicBezTo>
                    <a:pt x="1037" y="535"/>
                    <a:pt x="1024" y="523"/>
                    <a:pt x="1019" y="515"/>
                  </a:cubicBezTo>
                  <a:cubicBezTo>
                    <a:pt x="1017" y="512"/>
                    <a:pt x="1017" y="511"/>
                    <a:pt x="1019" y="510"/>
                  </a:cubicBezTo>
                  <a:cubicBezTo>
                    <a:pt x="1020" y="508"/>
                    <a:pt x="1024" y="513"/>
                    <a:pt x="1025" y="514"/>
                  </a:cubicBezTo>
                  <a:cubicBezTo>
                    <a:pt x="1027" y="516"/>
                    <a:pt x="1045" y="536"/>
                    <a:pt x="1048" y="540"/>
                  </a:cubicBezTo>
                  <a:cubicBezTo>
                    <a:pt x="1050" y="544"/>
                    <a:pt x="1050" y="546"/>
                    <a:pt x="1049" y="547"/>
                  </a:cubicBezTo>
                  <a:close/>
                  <a:moveTo>
                    <a:pt x="1042" y="483"/>
                  </a:moveTo>
                  <a:cubicBezTo>
                    <a:pt x="1049" y="493"/>
                    <a:pt x="1034" y="511"/>
                    <a:pt x="1028" y="503"/>
                  </a:cubicBezTo>
                  <a:cubicBezTo>
                    <a:pt x="1020" y="494"/>
                    <a:pt x="1040" y="480"/>
                    <a:pt x="1042" y="483"/>
                  </a:cubicBezTo>
                  <a:close/>
                  <a:moveTo>
                    <a:pt x="1041" y="518"/>
                  </a:moveTo>
                  <a:cubicBezTo>
                    <a:pt x="1039" y="513"/>
                    <a:pt x="1051" y="502"/>
                    <a:pt x="1055" y="499"/>
                  </a:cubicBezTo>
                  <a:cubicBezTo>
                    <a:pt x="1060" y="496"/>
                    <a:pt x="1067" y="493"/>
                    <a:pt x="1069" y="496"/>
                  </a:cubicBezTo>
                  <a:cubicBezTo>
                    <a:pt x="1071" y="498"/>
                    <a:pt x="1068" y="506"/>
                    <a:pt x="1067" y="509"/>
                  </a:cubicBezTo>
                  <a:cubicBezTo>
                    <a:pt x="1065" y="512"/>
                    <a:pt x="1053" y="524"/>
                    <a:pt x="1050" y="524"/>
                  </a:cubicBezTo>
                  <a:cubicBezTo>
                    <a:pt x="1048" y="524"/>
                    <a:pt x="1044" y="524"/>
                    <a:pt x="1041" y="518"/>
                  </a:cubicBezTo>
                  <a:close/>
                  <a:moveTo>
                    <a:pt x="1075" y="519"/>
                  </a:moveTo>
                  <a:cubicBezTo>
                    <a:pt x="1078" y="521"/>
                    <a:pt x="1077" y="527"/>
                    <a:pt x="1076" y="529"/>
                  </a:cubicBezTo>
                  <a:cubicBezTo>
                    <a:pt x="1075" y="531"/>
                    <a:pt x="1070" y="538"/>
                    <a:pt x="1067" y="540"/>
                  </a:cubicBezTo>
                  <a:cubicBezTo>
                    <a:pt x="1059" y="544"/>
                    <a:pt x="1056" y="534"/>
                    <a:pt x="1058" y="531"/>
                  </a:cubicBezTo>
                  <a:cubicBezTo>
                    <a:pt x="1059" y="527"/>
                    <a:pt x="1066" y="523"/>
                    <a:pt x="1068" y="521"/>
                  </a:cubicBezTo>
                  <a:cubicBezTo>
                    <a:pt x="1070" y="519"/>
                    <a:pt x="1073" y="517"/>
                    <a:pt x="1075" y="519"/>
                  </a:cubicBezTo>
                  <a:close/>
                  <a:moveTo>
                    <a:pt x="745" y="249"/>
                  </a:moveTo>
                  <a:cubicBezTo>
                    <a:pt x="723" y="232"/>
                    <a:pt x="716" y="206"/>
                    <a:pt x="722" y="201"/>
                  </a:cubicBezTo>
                  <a:cubicBezTo>
                    <a:pt x="726" y="198"/>
                    <a:pt x="727" y="223"/>
                    <a:pt x="752" y="230"/>
                  </a:cubicBezTo>
                  <a:cubicBezTo>
                    <a:pt x="775" y="236"/>
                    <a:pt x="801" y="227"/>
                    <a:pt x="803" y="237"/>
                  </a:cubicBezTo>
                  <a:cubicBezTo>
                    <a:pt x="804" y="243"/>
                    <a:pt x="799" y="250"/>
                    <a:pt x="794" y="255"/>
                  </a:cubicBezTo>
                  <a:cubicBezTo>
                    <a:pt x="791" y="258"/>
                    <a:pt x="785" y="258"/>
                    <a:pt x="780" y="259"/>
                  </a:cubicBezTo>
                  <a:cubicBezTo>
                    <a:pt x="765" y="261"/>
                    <a:pt x="761" y="261"/>
                    <a:pt x="745" y="249"/>
                  </a:cubicBezTo>
                  <a:close/>
                  <a:moveTo>
                    <a:pt x="828" y="231"/>
                  </a:moveTo>
                  <a:cubicBezTo>
                    <a:pt x="823" y="231"/>
                    <a:pt x="819" y="220"/>
                    <a:pt x="821" y="209"/>
                  </a:cubicBezTo>
                  <a:cubicBezTo>
                    <a:pt x="821" y="206"/>
                    <a:pt x="828" y="201"/>
                    <a:pt x="832" y="201"/>
                  </a:cubicBezTo>
                  <a:cubicBezTo>
                    <a:pt x="834" y="201"/>
                    <a:pt x="836" y="205"/>
                    <a:pt x="836" y="208"/>
                  </a:cubicBezTo>
                  <a:cubicBezTo>
                    <a:pt x="836" y="212"/>
                    <a:pt x="835" y="231"/>
                    <a:pt x="828" y="231"/>
                  </a:cubicBezTo>
                  <a:close/>
                  <a:moveTo>
                    <a:pt x="854" y="247"/>
                  </a:moveTo>
                  <a:cubicBezTo>
                    <a:pt x="860" y="249"/>
                    <a:pt x="861" y="250"/>
                    <a:pt x="862" y="255"/>
                  </a:cubicBezTo>
                  <a:cubicBezTo>
                    <a:pt x="862" y="259"/>
                    <a:pt x="861" y="269"/>
                    <a:pt x="854" y="276"/>
                  </a:cubicBezTo>
                  <a:cubicBezTo>
                    <a:pt x="850" y="279"/>
                    <a:pt x="846" y="275"/>
                    <a:pt x="842" y="271"/>
                  </a:cubicBezTo>
                  <a:cubicBezTo>
                    <a:pt x="838" y="268"/>
                    <a:pt x="832" y="266"/>
                    <a:pt x="828" y="264"/>
                  </a:cubicBezTo>
                  <a:cubicBezTo>
                    <a:pt x="824" y="262"/>
                    <a:pt x="823" y="259"/>
                    <a:pt x="823" y="258"/>
                  </a:cubicBezTo>
                  <a:cubicBezTo>
                    <a:pt x="823" y="257"/>
                    <a:pt x="823" y="251"/>
                    <a:pt x="824" y="244"/>
                  </a:cubicBezTo>
                  <a:cubicBezTo>
                    <a:pt x="825" y="237"/>
                    <a:pt x="834" y="241"/>
                    <a:pt x="834" y="241"/>
                  </a:cubicBezTo>
                  <a:cubicBezTo>
                    <a:pt x="838" y="242"/>
                    <a:pt x="848" y="244"/>
                    <a:pt x="854" y="247"/>
                  </a:cubicBezTo>
                  <a:close/>
                  <a:moveTo>
                    <a:pt x="840" y="280"/>
                  </a:moveTo>
                  <a:cubicBezTo>
                    <a:pt x="844" y="284"/>
                    <a:pt x="837" y="288"/>
                    <a:pt x="830" y="284"/>
                  </a:cubicBezTo>
                  <a:cubicBezTo>
                    <a:pt x="823" y="281"/>
                    <a:pt x="815" y="278"/>
                    <a:pt x="806" y="278"/>
                  </a:cubicBezTo>
                  <a:cubicBezTo>
                    <a:pt x="795" y="277"/>
                    <a:pt x="789" y="281"/>
                    <a:pt x="778" y="279"/>
                  </a:cubicBezTo>
                  <a:cubicBezTo>
                    <a:pt x="767" y="277"/>
                    <a:pt x="775" y="269"/>
                    <a:pt x="777" y="268"/>
                  </a:cubicBezTo>
                  <a:cubicBezTo>
                    <a:pt x="779" y="265"/>
                    <a:pt x="787" y="268"/>
                    <a:pt x="792" y="268"/>
                  </a:cubicBezTo>
                  <a:cubicBezTo>
                    <a:pt x="798" y="268"/>
                    <a:pt x="827" y="271"/>
                    <a:pt x="840" y="280"/>
                  </a:cubicBezTo>
                  <a:close/>
                  <a:moveTo>
                    <a:pt x="812" y="261"/>
                  </a:moveTo>
                  <a:cubicBezTo>
                    <a:pt x="807" y="262"/>
                    <a:pt x="807" y="261"/>
                    <a:pt x="806" y="260"/>
                  </a:cubicBezTo>
                  <a:cubicBezTo>
                    <a:pt x="806" y="258"/>
                    <a:pt x="806" y="255"/>
                    <a:pt x="807" y="253"/>
                  </a:cubicBezTo>
                  <a:cubicBezTo>
                    <a:pt x="807" y="253"/>
                    <a:pt x="809" y="247"/>
                    <a:pt x="811" y="247"/>
                  </a:cubicBezTo>
                  <a:cubicBezTo>
                    <a:pt x="813" y="247"/>
                    <a:pt x="814" y="250"/>
                    <a:pt x="814" y="253"/>
                  </a:cubicBezTo>
                  <a:cubicBezTo>
                    <a:pt x="815" y="256"/>
                    <a:pt x="817" y="260"/>
                    <a:pt x="812" y="261"/>
                  </a:cubicBezTo>
                  <a:close/>
                  <a:moveTo>
                    <a:pt x="805" y="226"/>
                  </a:moveTo>
                  <a:cubicBezTo>
                    <a:pt x="799" y="226"/>
                    <a:pt x="798" y="209"/>
                    <a:pt x="798" y="207"/>
                  </a:cubicBezTo>
                  <a:cubicBezTo>
                    <a:pt x="798" y="205"/>
                    <a:pt x="799" y="201"/>
                    <a:pt x="802" y="200"/>
                  </a:cubicBezTo>
                  <a:cubicBezTo>
                    <a:pt x="805" y="200"/>
                    <a:pt x="812" y="206"/>
                    <a:pt x="812" y="208"/>
                  </a:cubicBezTo>
                  <a:cubicBezTo>
                    <a:pt x="812" y="218"/>
                    <a:pt x="808" y="226"/>
                    <a:pt x="805" y="226"/>
                  </a:cubicBezTo>
                  <a:close/>
                  <a:moveTo>
                    <a:pt x="773" y="355"/>
                  </a:moveTo>
                  <a:cubicBezTo>
                    <a:pt x="775" y="353"/>
                    <a:pt x="795" y="335"/>
                    <a:pt x="795" y="335"/>
                  </a:cubicBezTo>
                  <a:cubicBezTo>
                    <a:pt x="801" y="328"/>
                    <a:pt x="804" y="331"/>
                    <a:pt x="802" y="341"/>
                  </a:cubicBezTo>
                  <a:cubicBezTo>
                    <a:pt x="800" y="353"/>
                    <a:pt x="818" y="344"/>
                    <a:pt x="830" y="338"/>
                  </a:cubicBezTo>
                  <a:cubicBezTo>
                    <a:pt x="843" y="333"/>
                    <a:pt x="838" y="337"/>
                    <a:pt x="843" y="344"/>
                  </a:cubicBezTo>
                  <a:cubicBezTo>
                    <a:pt x="847" y="352"/>
                    <a:pt x="875" y="324"/>
                    <a:pt x="875" y="324"/>
                  </a:cubicBezTo>
                  <a:cubicBezTo>
                    <a:pt x="878" y="322"/>
                    <a:pt x="881" y="320"/>
                    <a:pt x="883" y="322"/>
                  </a:cubicBezTo>
                  <a:cubicBezTo>
                    <a:pt x="886" y="327"/>
                    <a:pt x="889" y="324"/>
                    <a:pt x="892" y="321"/>
                  </a:cubicBezTo>
                  <a:cubicBezTo>
                    <a:pt x="912" y="303"/>
                    <a:pt x="920" y="278"/>
                    <a:pt x="922" y="270"/>
                  </a:cubicBezTo>
                  <a:cubicBezTo>
                    <a:pt x="924" y="261"/>
                    <a:pt x="930" y="267"/>
                    <a:pt x="930" y="267"/>
                  </a:cubicBezTo>
                  <a:cubicBezTo>
                    <a:pt x="930" y="267"/>
                    <a:pt x="945" y="281"/>
                    <a:pt x="952" y="286"/>
                  </a:cubicBezTo>
                  <a:cubicBezTo>
                    <a:pt x="959" y="290"/>
                    <a:pt x="965" y="277"/>
                    <a:pt x="959" y="274"/>
                  </a:cubicBezTo>
                  <a:cubicBezTo>
                    <a:pt x="955" y="272"/>
                    <a:pt x="942" y="264"/>
                    <a:pt x="933" y="254"/>
                  </a:cubicBezTo>
                  <a:cubicBezTo>
                    <a:pt x="926" y="246"/>
                    <a:pt x="923" y="237"/>
                    <a:pt x="922" y="235"/>
                  </a:cubicBezTo>
                  <a:cubicBezTo>
                    <a:pt x="918" y="229"/>
                    <a:pt x="912" y="229"/>
                    <a:pt x="914" y="239"/>
                  </a:cubicBezTo>
                  <a:cubicBezTo>
                    <a:pt x="918" y="265"/>
                    <a:pt x="906" y="283"/>
                    <a:pt x="902" y="289"/>
                  </a:cubicBezTo>
                  <a:cubicBezTo>
                    <a:pt x="899" y="295"/>
                    <a:pt x="894" y="288"/>
                    <a:pt x="892" y="285"/>
                  </a:cubicBezTo>
                  <a:cubicBezTo>
                    <a:pt x="890" y="282"/>
                    <a:pt x="888" y="283"/>
                    <a:pt x="886" y="288"/>
                  </a:cubicBezTo>
                  <a:cubicBezTo>
                    <a:pt x="885" y="293"/>
                    <a:pt x="881" y="304"/>
                    <a:pt x="873" y="312"/>
                  </a:cubicBezTo>
                  <a:cubicBezTo>
                    <a:pt x="862" y="323"/>
                    <a:pt x="864" y="315"/>
                    <a:pt x="862" y="311"/>
                  </a:cubicBezTo>
                  <a:cubicBezTo>
                    <a:pt x="861" y="307"/>
                    <a:pt x="859" y="307"/>
                    <a:pt x="855" y="309"/>
                  </a:cubicBezTo>
                  <a:cubicBezTo>
                    <a:pt x="851" y="312"/>
                    <a:pt x="841" y="320"/>
                    <a:pt x="834" y="324"/>
                  </a:cubicBezTo>
                  <a:cubicBezTo>
                    <a:pt x="827" y="328"/>
                    <a:pt x="827" y="326"/>
                    <a:pt x="825" y="321"/>
                  </a:cubicBezTo>
                  <a:cubicBezTo>
                    <a:pt x="823" y="315"/>
                    <a:pt x="817" y="316"/>
                    <a:pt x="815" y="317"/>
                  </a:cubicBezTo>
                  <a:cubicBezTo>
                    <a:pt x="811" y="318"/>
                    <a:pt x="796" y="320"/>
                    <a:pt x="783" y="319"/>
                  </a:cubicBezTo>
                  <a:cubicBezTo>
                    <a:pt x="770" y="317"/>
                    <a:pt x="777" y="305"/>
                    <a:pt x="777" y="305"/>
                  </a:cubicBezTo>
                  <a:cubicBezTo>
                    <a:pt x="777" y="304"/>
                    <a:pt x="780" y="302"/>
                    <a:pt x="782" y="299"/>
                  </a:cubicBezTo>
                  <a:cubicBezTo>
                    <a:pt x="785" y="294"/>
                    <a:pt x="787" y="289"/>
                    <a:pt x="790" y="288"/>
                  </a:cubicBezTo>
                  <a:cubicBezTo>
                    <a:pt x="794" y="285"/>
                    <a:pt x="806" y="284"/>
                    <a:pt x="815" y="288"/>
                  </a:cubicBezTo>
                  <a:cubicBezTo>
                    <a:pt x="824" y="292"/>
                    <a:pt x="831" y="299"/>
                    <a:pt x="839" y="299"/>
                  </a:cubicBezTo>
                  <a:cubicBezTo>
                    <a:pt x="842" y="299"/>
                    <a:pt x="874" y="279"/>
                    <a:pt x="874" y="256"/>
                  </a:cubicBezTo>
                  <a:cubicBezTo>
                    <a:pt x="874" y="227"/>
                    <a:pt x="870" y="198"/>
                    <a:pt x="864" y="188"/>
                  </a:cubicBezTo>
                  <a:cubicBezTo>
                    <a:pt x="861" y="182"/>
                    <a:pt x="857" y="182"/>
                    <a:pt x="853" y="185"/>
                  </a:cubicBezTo>
                  <a:cubicBezTo>
                    <a:pt x="852" y="186"/>
                    <a:pt x="833" y="196"/>
                    <a:pt x="819" y="195"/>
                  </a:cubicBezTo>
                  <a:cubicBezTo>
                    <a:pt x="808" y="194"/>
                    <a:pt x="803" y="187"/>
                    <a:pt x="801" y="182"/>
                  </a:cubicBezTo>
                  <a:cubicBezTo>
                    <a:pt x="798" y="177"/>
                    <a:pt x="795" y="179"/>
                    <a:pt x="793" y="181"/>
                  </a:cubicBezTo>
                  <a:cubicBezTo>
                    <a:pt x="791" y="183"/>
                    <a:pt x="778" y="194"/>
                    <a:pt x="780" y="175"/>
                  </a:cubicBezTo>
                  <a:cubicBezTo>
                    <a:pt x="780" y="175"/>
                    <a:pt x="781" y="168"/>
                    <a:pt x="782" y="160"/>
                  </a:cubicBezTo>
                  <a:cubicBezTo>
                    <a:pt x="783" y="155"/>
                    <a:pt x="780" y="147"/>
                    <a:pt x="778" y="142"/>
                  </a:cubicBezTo>
                  <a:cubicBezTo>
                    <a:pt x="776" y="137"/>
                    <a:pt x="775" y="120"/>
                    <a:pt x="775" y="120"/>
                  </a:cubicBezTo>
                  <a:cubicBezTo>
                    <a:pt x="775" y="120"/>
                    <a:pt x="773" y="112"/>
                    <a:pt x="780" y="108"/>
                  </a:cubicBezTo>
                  <a:cubicBezTo>
                    <a:pt x="789" y="102"/>
                    <a:pt x="796" y="98"/>
                    <a:pt x="824" y="88"/>
                  </a:cubicBezTo>
                  <a:cubicBezTo>
                    <a:pt x="830" y="87"/>
                    <a:pt x="835" y="70"/>
                    <a:pt x="841" y="69"/>
                  </a:cubicBezTo>
                  <a:cubicBezTo>
                    <a:pt x="847" y="67"/>
                    <a:pt x="854" y="69"/>
                    <a:pt x="859" y="70"/>
                  </a:cubicBezTo>
                  <a:cubicBezTo>
                    <a:pt x="869" y="71"/>
                    <a:pt x="903" y="64"/>
                    <a:pt x="912" y="64"/>
                  </a:cubicBezTo>
                  <a:cubicBezTo>
                    <a:pt x="926" y="64"/>
                    <a:pt x="948" y="69"/>
                    <a:pt x="963" y="69"/>
                  </a:cubicBezTo>
                  <a:cubicBezTo>
                    <a:pt x="978" y="69"/>
                    <a:pt x="1011" y="31"/>
                    <a:pt x="1018" y="31"/>
                  </a:cubicBezTo>
                  <a:cubicBezTo>
                    <a:pt x="1025" y="31"/>
                    <a:pt x="1022" y="50"/>
                    <a:pt x="1026" y="50"/>
                  </a:cubicBezTo>
                  <a:cubicBezTo>
                    <a:pt x="1030" y="50"/>
                    <a:pt x="1031" y="41"/>
                    <a:pt x="1038" y="41"/>
                  </a:cubicBezTo>
                  <a:cubicBezTo>
                    <a:pt x="1040" y="41"/>
                    <a:pt x="1044" y="51"/>
                    <a:pt x="1042" y="56"/>
                  </a:cubicBezTo>
                  <a:cubicBezTo>
                    <a:pt x="1039" y="62"/>
                    <a:pt x="1030" y="67"/>
                    <a:pt x="1026" y="71"/>
                  </a:cubicBezTo>
                  <a:cubicBezTo>
                    <a:pt x="1024" y="73"/>
                    <a:pt x="1025" y="77"/>
                    <a:pt x="1027" y="77"/>
                  </a:cubicBezTo>
                  <a:cubicBezTo>
                    <a:pt x="1045" y="78"/>
                    <a:pt x="1082" y="26"/>
                    <a:pt x="1096" y="26"/>
                  </a:cubicBezTo>
                  <a:cubicBezTo>
                    <a:pt x="1101" y="26"/>
                    <a:pt x="1102" y="30"/>
                    <a:pt x="1100" y="37"/>
                  </a:cubicBezTo>
                  <a:cubicBezTo>
                    <a:pt x="1099" y="40"/>
                    <a:pt x="1098" y="46"/>
                    <a:pt x="1099" y="52"/>
                  </a:cubicBezTo>
                  <a:cubicBezTo>
                    <a:pt x="1100" y="60"/>
                    <a:pt x="1101" y="61"/>
                    <a:pt x="1104" y="69"/>
                  </a:cubicBezTo>
                  <a:cubicBezTo>
                    <a:pt x="1106" y="78"/>
                    <a:pt x="1087" y="93"/>
                    <a:pt x="1070" y="97"/>
                  </a:cubicBezTo>
                  <a:cubicBezTo>
                    <a:pt x="1065" y="99"/>
                    <a:pt x="1064" y="102"/>
                    <a:pt x="1064" y="103"/>
                  </a:cubicBezTo>
                  <a:cubicBezTo>
                    <a:pt x="1065" y="106"/>
                    <a:pt x="1067" y="106"/>
                    <a:pt x="1070" y="105"/>
                  </a:cubicBezTo>
                  <a:cubicBezTo>
                    <a:pt x="1109" y="97"/>
                    <a:pt x="1125" y="74"/>
                    <a:pt x="1139" y="69"/>
                  </a:cubicBezTo>
                  <a:cubicBezTo>
                    <a:pt x="1142" y="68"/>
                    <a:pt x="1146" y="71"/>
                    <a:pt x="1145" y="76"/>
                  </a:cubicBezTo>
                  <a:cubicBezTo>
                    <a:pt x="1143" y="88"/>
                    <a:pt x="1135" y="109"/>
                    <a:pt x="1133" y="112"/>
                  </a:cubicBezTo>
                  <a:cubicBezTo>
                    <a:pt x="1130" y="117"/>
                    <a:pt x="1127" y="119"/>
                    <a:pt x="1116" y="124"/>
                  </a:cubicBezTo>
                  <a:cubicBezTo>
                    <a:pt x="1108" y="128"/>
                    <a:pt x="1085" y="145"/>
                    <a:pt x="1051" y="143"/>
                  </a:cubicBezTo>
                  <a:cubicBezTo>
                    <a:pt x="1038" y="142"/>
                    <a:pt x="1040" y="148"/>
                    <a:pt x="1049" y="151"/>
                  </a:cubicBezTo>
                  <a:cubicBezTo>
                    <a:pt x="1075" y="159"/>
                    <a:pt x="1113" y="144"/>
                    <a:pt x="1126" y="138"/>
                  </a:cubicBezTo>
                  <a:cubicBezTo>
                    <a:pt x="1144" y="131"/>
                    <a:pt x="1141" y="149"/>
                    <a:pt x="1129" y="154"/>
                  </a:cubicBezTo>
                  <a:cubicBezTo>
                    <a:pt x="1115" y="159"/>
                    <a:pt x="1115" y="163"/>
                    <a:pt x="1125" y="167"/>
                  </a:cubicBezTo>
                  <a:cubicBezTo>
                    <a:pt x="1131" y="170"/>
                    <a:pt x="1129" y="181"/>
                    <a:pt x="1115" y="177"/>
                  </a:cubicBezTo>
                  <a:cubicBezTo>
                    <a:pt x="1068" y="163"/>
                    <a:pt x="1049" y="172"/>
                    <a:pt x="1038" y="177"/>
                  </a:cubicBezTo>
                  <a:cubicBezTo>
                    <a:pt x="1028" y="181"/>
                    <a:pt x="1022" y="188"/>
                    <a:pt x="1024" y="190"/>
                  </a:cubicBezTo>
                  <a:cubicBezTo>
                    <a:pt x="1029" y="197"/>
                    <a:pt x="1046" y="180"/>
                    <a:pt x="1074" y="180"/>
                  </a:cubicBezTo>
                  <a:cubicBezTo>
                    <a:pt x="1155" y="180"/>
                    <a:pt x="1135" y="234"/>
                    <a:pt x="1135" y="234"/>
                  </a:cubicBezTo>
                  <a:cubicBezTo>
                    <a:pt x="1131" y="256"/>
                    <a:pt x="1121" y="264"/>
                    <a:pt x="1105" y="271"/>
                  </a:cubicBezTo>
                  <a:cubicBezTo>
                    <a:pt x="1062" y="289"/>
                    <a:pt x="1038" y="285"/>
                    <a:pt x="1030" y="269"/>
                  </a:cubicBezTo>
                  <a:cubicBezTo>
                    <a:pt x="1028" y="263"/>
                    <a:pt x="1025" y="262"/>
                    <a:pt x="1021" y="263"/>
                  </a:cubicBezTo>
                  <a:cubicBezTo>
                    <a:pt x="1017" y="265"/>
                    <a:pt x="1022" y="273"/>
                    <a:pt x="1022" y="273"/>
                  </a:cubicBezTo>
                  <a:cubicBezTo>
                    <a:pt x="1025" y="279"/>
                    <a:pt x="1033" y="291"/>
                    <a:pt x="1047" y="295"/>
                  </a:cubicBezTo>
                  <a:cubicBezTo>
                    <a:pt x="1063" y="299"/>
                    <a:pt x="1084" y="293"/>
                    <a:pt x="1088" y="292"/>
                  </a:cubicBezTo>
                  <a:cubicBezTo>
                    <a:pt x="1096" y="289"/>
                    <a:pt x="1100" y="290"/>
                    <a:pt x="1103" y="295"/>
                  </a:cubicBezTo>
                  <a:cubicBezTo>
                    <a:pt x="1105" y="301"/>
                    <a:pt x="1114" y="319"/>
                    <a:pt x="1116" y="326"/>
                  </a:cubicBezTo>
                  <a:cubicBezTo>
                    <a:pt x="1119" y="333"/>
                    <a:pt x="1116" y="335"/>
                    <a:pt x="1113" y="337"/>
                  </a:cubicBezTo>
                  <a:cubicBezTo>
                    <a:pt x="1109" y="338"/>
                    <a:pt x="1101" y="324"/>
                    <a:pt x="1095" y="319"/>
                  </a:cubicBezTo>
                  <a:cubicBezTo>
                    <a:pt x="1089" y="314"/>
                    <a:pt x="1081" y="318"/>
                    <a:pt x="1087" y="326"/>
                  </a:cubicBezTo>
                  <a:cubicBezTo>
                    <a:pt x="1091" y="332"/>
                    <a:pt x="1099" y="341"/>
                    <a:pt x="1101" y="359"/>
                  </a:cubicBezTo>
                  <a:cubicBezTo>
                    <a:pt x="1103" y="375"/>
                    <a:pt x="1095" y="396"/>
                    <a:pt x="1091" y="411"/>
                  </a:cubicBezTo>
                  <a:cubicBezTo>
                    <a:pt x="1087" y="425"/>
                    <a:pt x="1088" y="435"/>
                    <a:pt x="1084" y="436"/>
                  </a:cubicBezTo>
                  <a:cubicBezTo>
                    <a:pt x="1073" y="439"/>
                    <a:pt x="1069" y="403"/>
                    <a:pt x="1062" y="407"/>
                  </a:cubicBezTo>
                  <a:cubicBezTo>
                    <a:pt x="1057" y="410"/>
                    <a:pt x="1061" y="426"/>
                    <a:pt x="1063" y="433"/>
                  </a:cubicBezTo>
                  <a:cubicBezTo>
                    <a:pt x="1064" y="435"/>
                    <a:pt x="1063" y="439"/>
                    <a:pt x="1063" y="440"/>
                  </a:cubicBezTo>
                  <a:cubicBezTo>
                    <a:pt x="1060" y="450"/>
                    <a:pt x="1054" y="470"/>
                    <a:pt x="1046" y="472"/>
                  </a:cubicBezTo>
                  <a:cubicBezTo>
                    <a:pt x="1026" y="477"/>
                    <a:pt x="1017" y="491"/>
                    <a:pt x="1013" y="494"/>
                  </a:cubicBezTo>
                  <a:cubicBezTo>
                    <a:pt x="1010" y="496"/>
                    <a:pt x="1003" y="507"/>
                    <a:pt x="999" y="510"/>
                  </a:cubicBezTo>
                  <a:cubicBezTo>
                    <a:pt x="995" y="514"/>
                    <a:pt x="985" y="514"/>
                    <a:pt x="981" y="510"/>
                  </a:cubicBezTo>
                  <a:cubicBezTo>
                    <a:pt x="977" y="506"/>
                    <a:pt x="924" y="461"/>
                    <a:pt x="921" y="457"/>
                  </a:cubicBezTo>
                  <a:cubicBezTo>
                    <a:pt x="918" y="453"/>
                    <a:pt x="917" y="452"/>
                    <a:pt x="918" y="448"/>
                  </a:cubicBezTo>
                  <a:cubicBezTo>
                    <a:pt x="918" y="444"/>
                    <a:pt x="919" y="435"/>
                    <a:pt x="920" y="431"/>
                  </a:cubicBezTo>
                  <a:cubicBezTo>
                    <a:pt x="922" y="428"/>
                    <a:pt x="927" y="424"/>
                    <a:pt x="932" y="417"/>
                  </a:cubicBezTo>
                  <a:cubicBezTo>
                    <a:pt x="937" y="410"/>
                    <a:pt x="942" y="403"/>
                    <a:pt x="942" y="399"/>
                  </a:cubicBezTo>
                  <a:cubicBezTo>
                    <a:pt x="943" y="396"/>
                    <a:pt x="943" y="385"/>
                    <a:pt x="944" y="377"/>
                  </a:cubicBezTo>
                  <a:cubicBezTo>
                    <a:pt x="945" y="370"/>
                    <a:pt x="940" y="371"/>
                    <a:pt x="939" y="372"/>
                  </a:cubicBezTo>
                  <a:cubicBezTo>
                    <a:pt x="937" y="372"/>
                    <a:pt x="930" y="376"/>
                    <a:pt x="929" y="372"/>
                  </a:cubicBezTo>
                  <a:cubicBezTo>
                    <a:pt x="928" y="367"/>
                    <a:pt x="930" y="365"/>
                    <a:pt x="932" y="354"/>
                  </a:cubicBezTo>
                  <a:cubicBezTo>
                    <a:pt x="933" y="344"/>
                    <a:pt x="924" y="349"/>
                    <a:pt x="923" y="349"/>
                  </a:cubicBezTo>
                  <a:cubicBezTo>
                    <a:pt x="922" y="349"/>
                    <a:pt x="914" y="354"/>
                    <a:pt x="911" y="356"/>
                  </a:cubicBezTo>
                  <a:cubicBezTo>
                    <a:pt x="907" y="359"/>
                    <a:pt x="904" y="358"/>
                    <a:pt x="903" y="352"/>
                  </a:cubicBezTo>
                  <a:cubicBezTo>
                    <a:pt x="901" y="344"/>
                    <a:pt x="899" y="346"/>
                    <a:pt x="896" y="347"/>
                  </a:cubicBezTo>
                  <a:cubicBezTo>
                    <a:pt x="891" y="349"/>
                    <a:pt x="880" y="352"/>
                    <a:pt x="873" y="360"/>
                  </a:cubicBezTo>
                  <a:cubicBezTo>
                    <a:pt x="870" y="365"/>
                    <a:pt x="864" y="376"/>
                    <a:pt x="862" y="381"/>
                  </a:cubicBezTo>
                  <a:cubicBezTo>
                    <a:pt x="860" y="387"/>
                    <a:pt x="860" y="388"/>
                    <a:pt x="855" y="394"/>
                  </a:cubicBezTo>
                  <a:cubicBezTo>
                    <a:pt x="850" y="400"/>
                    <a:pt x="839" y="401"/>
                    <a:pt x="831" y="397"/>
                  </a:cubicBezTo>
                  <a:cubicBezTo>
                    <a:pt x="824" y="392"/>
                    <a:pt x="780" y="372"/>
                    <a:pt x="772" y="367"/>
                  </a:cubicBezTo>
                  <a:cubicBezTo>
                    <a:pt x="764" y="362"/>
                    <a:pt x="771" y="357"/>
                    <a:pt x="773" y="355"/>
                  </a:cubicBezTo>
                  <a:close/>
                  <a:moveTo>
                    <a:pt x="736" y="394"/>
                  </a:moveTo>
                  <a:cubicBezTo>
                    <a:pt x="740" y="386"/>
                    <a:pt x="742" y="381"/>
                    <a:pt x="742" y="377"/>
                  </a:cubicBezTo>
                  <a:cubicBezTo>
                    <a:pt x="743" y="365"/>
                    <a:pt x="747" y="368"/>
                    <a:pt x="754" y="370"/>
                  </a:cubicBezTo>
                  <a:cubicBezTo>
                    <a:pt x="754" y="370"/>
                    <a:pt x="815" y="401"/>
                    <a:pt x="819" y="403"/>
                  </a:cubicBezTo>
                  <a:cubicBezTo>
                    <a:pt x="822" y="404"/>
                    <a:pt x="823" y="409"/>
                    <a:pt x="817" y="414"/>
                  </a:cubicBezTo>
                  <a:cubicBezTo>
                    <a:pt x="811" y="419"/>
                    <a:pt x="799" y="430"/>
                    <a:pt x="803" y="457"/>
                  </a:cubicBezTo>
                  <a:cubicBezTo>
                    <a:pt x="804" y="463"/>
                    <a:pt x="802" y="469"/>
                    <a:pt x="793" y="463"/>
                  </a:cubicBezTo>
                  <a:cubicBezTo>
                    <a:pt x="785" y="457"/>
                    <a:pt x="740" y="434"/>
                    <a:pt x="720" y="426"/>
                  </a:cubicBezTo>
                  <a:cubicBezTo>
                    <a:pt x="715" y="424"/>
                    <a:pt x="709" y="421"/>
                    <a:pt x="714" y="417"/>
                  </a:cubicBezTo>
                  <a:cubicBezTo>
                    <a:pt x="721" y="413"/>
                    <a:pt x="732" y="403"/>
                    <a:pt x="736" y="394"/>
                  </a:cubicBezTo>
                  <a:close/>
                  <a:moveTo>
                    <a:pt x="720" y="295"/>
                  </a:moveTo>
                  <a:cubicBezTo>
                    <a:pt x="721" y="288"/>
                    <a:pt x="729" y="284"/>
                    <a:pt x="729" y="294"/>
                  </a:cubicBezTo>
                  <a:cubicBezTo>
                    <a:pt x="729" y="297"/>
                    <a:pt x="730" y="298"/>
                    <a:pt x="728" y="303"/>
                  </a:cubicBezTo>
                  <a:cubicBezTo>
                    <a:pt x="727" y="306"/>
                    <a:pt x="725" y="307"/>
                    <a:pt x="722" y="306"/>
                  </a:cubicBezTo>
                  <a:cubicBezTo>
                    <a:pt x="719" y="306"/>
                    <a:pt x="718" y="303"/>
                    <a:pt x="718" y="300"/>
                  </a:cubicBezTo>
                  <a:cubicBezTo>
                    <a:pt x="719" y="296"/>
                    <a:pt x="720" y="295"/>
                    <a:pt x="720" y="295"/>
                  </a:cubicBezTo>
                  <a:close/>
                  <a:moveTo>
                    <a:pt x="697" y="293"/>
                  </a:moveTo>
                  <a:cubicBezTo>
                    <a:pt x="698" y="291"/>
                    <a:pt x="700" y="284"/>
                    <a:pt x="700" y="284"/>
                  </a:cubicBezTo>
                  <a:cubicBezTo>
                    <a:pt x="700" y="284"/>
                    <a:pt x="702" y="277"/>
                    <a:pt x="705" y="278"/>
                  </a:cubicBezTo>
                  <a:cubicBezTo>
                    <a:pt x="709" y="279"/>
                    <a:pt x="712" y="282"/>
                    <a:pt x="711" y="285"/>
                  </a:cubicBezTo>
                  <a:cubicBezTo>
                    <a:pt x="711" y="286"/>
                    <a:pt x="710" y="293"/>
                    <a:pt x="710" y="294"/>
                  </a:cubicBezTo>
                  <a:cubicBezTo>
                    <a:pt x="709" y="297"/>
                    <a:pt x="708" y="302"/>
                    <a:pt x="702" y="301"/>
                  </a:cubicBezTo>
                  <a:cubicBezTo>
                    <a:pt x="696" y="299"/>
                    <a:pt x="697" y="294"/>
                    <a:pt x="697" y="293"/>
                  </a:cubicBezTo>
                  <a:close/>
                  <a:moveTo>
                    <a:pt x="720" y="316"/>
                  </a:moveTo>
                  <a:cubicBezTo>
                    <a:pt x="720" y="317"/>
                    <a:pt x="720" y="318"/>
                    <a:pt x="718" y="318"/>
                  </a:cubicBezTo>
                  <a:cubicBezTo>
                    <a:pt x="710" y="317"/>
                    <a:pt x="691" y="310"/>
                    <a:pt x="685" y="309"/>
                  </a:cubicBezTo>
                  <a:cubicBezTo>
                    <a:pt x="682" y="309"/>
                    <a:pt x="682" y="306"/>
                    <a:pt x="682" y="305"/>
                  </a:cubicBezTo>
                  <a:cubicBezTo>
                    <a:pt x="682" y="305"/>
                    <a:pt x="683" y="304"/>
                    <a:pt x="685" y="304"/>
                  </a:cubicBezTo>
                  <a:cubicBezTo>
                    <a:pt x="695" y="305"/>
                    <a:pt x="721" y="313"/>
                    <a:pt x="720" y="316"/>
                  </a:cubicBezTo>
                  <a:close/>
                  <a:moveTo>
                    <a:pt x="681" y="286"/>
                  </a:moveTo>
                  <a:cubicBezTo>
                    <a:pt x="682" y="280"/>
                    <a:pt x="685" y="275"/>
                    <a:pt x="689" y="276"/>
                  </a:cubicBezTo>
                  <a:cubicBezTo>
                    <a:pt x="691" y="277"/>
                    <a:pt x="692" y="279"/>
                    <a:pt x="690" y="289"/>
                  </a:cubicBezTo>
                  <a:cubicBezTo>
                    <a:pt x="690" y="290"/>
                    <a:pt x="688" y="295"/>
                    <a:pt x="684" y="294"/>
                  </a:cubicBezTo>
                  <a:cubicBezTo>
                    <a:pt x="679" y="294"/>
                    <a:pt x="681" y="289"/>
                    <a:pt x="681" y="289"/>
                  </a:cubicBezTo>
                  <a:cubicBezTo>
                    <a:pt x="681" y="289"/>
                    <a:pt x="680" y="289"/>
                    <a:pt x="681" y="286"/>
                  </a:cubicBezTo>
                  <a:close/>
                  <a:moveTo>
                    <a:pt x="683" y="318"/>
                  </a:moveTo>
                  <a:cubicBezTo>
                    <a:pt x="683" y="318"/>
                    <a:pt x="714" y="326"/>
                    <a:pt x="716" y="327"/>
                  </a:cubicBezTo>
                  <a:cubicBezTo>
                    <a:pt x="723" y="331"/>
                    <a:pt x="721" y="345"/>
                    <a:pt x="714" y="344"/>
                  </a:cubicBezTo>
                  <a:cubicBezTo>
                    <a:pt x="714" y="344"/>
                    <a:pt x="714" y="344"/>
                    <a:pt x="683" y="335"/>
                  </a:cubicBezTo>
                  <a:cubicBezTo>
                    <a:pt x="674" y="332"/>
                    <a:pt x="677" y="316"/>
                    <a:pt x="683" y="318"/>
                  </a:cubicBezTo>
                  <a:close/>
                  <a:moveTo>
                    <a:pt x="661" y="397"/>
                  </a:moveTo>
                  <a:cubicBezTo>
                    <a:pt x="662" y="393"/>
                    <a:pt x="666" y="381"/>
                    <a:pt x="668" y="370"/>
                  </a:cubicBezTo>
                  <a:cubicBezTo>
                    <a:pt x="671" y="362"/>
                    <a:pt x="673" y="355"/>
                    <a:pt x="673" y="353"/>
                  </a:cubicBezTo>
                  <a:cubicBezTo>
                    <a:pt x="675" y="349"/>
                    <a:pt x="678" y="344"/>
                    <a:pt x="681" y="345"/>
                  </a:cubicBezTo>
                  <a:cubicBezTo>
                    <a:pt x="685" y="345"/>
                    <a:pt x="688" y="350"/>
                    <a:pt x="687" y="358"/>
                  </a:cubicBezTo>
                  <a:cubicBezTo>
                    <a:pt x="686" y="366"/>
                    <a:pt x="681" y="391"/>
                    <a:pt x="680" y="395"/>
                  </a:cubicBezTo>
                  <a:cubicBezTo>
                    <a:pt x="680" y="399"/>
                    <a:pt x="679" y="403"/>
                    <a:pt x="682" y="403"/>
                  </a:cubicBezTo>
                  <a:cubicBezTo>
                    <a:pt x="685" y="403"/>
                    <a:pt x="687" y="397"/>
                    <a:pt x="688" y="395"/>
                  </a:cubicBezTo>
                  <a:cubicBezTo>
                    <a:pt x="688" y="393"/>
                    <a:pt x="690" y="385"/>
                    <a:pt x="691" y="384"/>
                  </a:cubicBezTo>
                  <a:cubicBezTo>
                    <a:pt x="691" y="382"/>
                    <a:pt x="692" y="381"/>
                    <a:pt x="693" y="383"/>
                  </a:cubicBezTo>
                  <a:cubicBezTo>
                    <a:pt x="695" y="385"/>
                    <a:pt x="696" y="392"/>
                    <a:pt x="698" y="395"/>
                  </a:cubicBezTo>
                  <a:cubicBezTo>
                    <a:pt x="701" y="399"/>
                    <a:pt x="706" y="397"/>
                    <a:pt x="705" y="391"/>
                  </a:cubicBezTo>
                  <a:cubicBezTo>
                    <a:pt x="704" y="385"/>
                    <a:pt x="702" y="381"/>
                    <a:pt x="702" y="380"/>
                  </a:cubicBezTo>
                  <a:cubicBezTo>
                    <a:pt x="701" y="375"/>
                    <a:pt x="704" y="373"/>
                    <a:pt x="707" y="375"/>
                  </a:cubicBezTo>
                  <a:cubicBezTo>
                    <a:pt x="715" y="383"/>
                    <a:pt x="718" y="376"/>
                    <a:pt x="714" y="371"/>
                  </a:cubicBezTo>
                  <a:cubicBezTo>
                    <a:pt x="713" y="370"/>
                    <a:pt x="707" y="361"/>
                    <a:pt x="706" y="361"/>
                  </a:cubicBezTo>
                  <a:cubicBezTo>
                    <a:pt x="705" y="359"/>
                    <a:pt x="702" y="351"/>
                    <a:pt x="710" y="354"/>
                  </a:cubicBezTo>
                  <a:cubicBezTo>
                    <a:pt x="711" y="354"/>
                    <a:pt x="728" y="360"/>
                    <a:pt x="728" y="360"/>
                  </a:cubicBezTo>
                  <a:cubicBezTo>
                    <a:pt x="728" y="360"/>
                    <a:pt x="742" y="365"/>
                    <a:pt x="724" y="395"/>
                  </a:cubicBezTo>
                  <a:cubicBezTo>
                    <a:pt x="716" y="409"/>
                    <a:pt x="690" y="416"/>
                    <a:pt x="676" y="412"/>
                  </a:cubicBezTo>
                  <a:cubicBezTo>
                    <a:pt x="676" y="412"/>
                    <a:pt x="665" y="408"/>
                    <a:pt x="663" y="407"/>
                  </a:cubicBezTo>
                  <a:cubicBezTo>
                    <a:pt x="662" y="406"/>
                    <a:pt x="659" y="404"/>
                    <a:pt x="661" y="397"/>
                  </a:cubicBezTo>
                  <a:close/>
                  <a:moveTo>
                    <a:pt x="657" y="414"/>
                  </a:moveTo>
                  <a:cubicBezTo>
                    <a:pt x="665" y="415"/>
                    <a:pt x="768" y="455"/>
                    <a:pt x="824" y="495"/>
                  </a:cubicBezTo>
                  <a:cubicBezTo>
                    <a:pt x="923" y="567"/>
                    <a:pt x="956" y="605"/>
                    <a:pt x="960" y="611"/>
                  </a:cubicBezTo>
                  <a:cubicBezTo>
                    <a:pt x="966" y="619"/>
                    <a:pt x="961" y="625"/>
                    <a:pt x="954" y="618"/>
                  </a:cubicBezTo>
                  <a:cubicBezTo>
                    <a:pt x="949" y="611"/>
                    <a:pt x="902" y="559"/>
                    <a:pt x="819" y="503"/>
                  </a:cubicBezTo>
                  <a:cubicBezTo>
                    <a:pt x="741" y="451"/>
                    <a:pt x="660" y="426"/>
                    <a:pt x="653" y="423"/>
                  </a:cubicBezTo>
                  <a:cubicBezTo>
                    <a:pt x="645" y="420"/>
                    <a:pt x="648" y="413"/>
                    <a:pt x="657" y="414"/>
                  </a:cubicBezTo>
                  <a:close/>
                  <a:moveTo>
                    <a:pt x="468" y="480"/>
                  </a:moveTo>
                  <a:cubicBezTo>
                    <a:pt x="472" y="489"/>
                    <a:pt x="473" y="499"/>
                    <a:pt x="492" y="514"/>
                  </a:cubicBezTo>
                  <a:cubicBezTo>
                    <a:pt x="496" y="517"/>
                    <a:pt x="496" y="523"/>
                    <a:pt x="487" y="519"/>
                  </a:cubicBezTo>
                  <a:cubicBezTo>
                    <a:pt x="481" y="517"/>
                    <a:pt x="470" y="511"/>
                    <a:pt x="463" y="502"/>
                  </a:cubicBezTo>
                  <a:cubicBezTo>
                    <a:pt x="459" y="498"/>
                    <a:pt x="455" y="492"/>
                    <a:pt x="456" y="486"/>
                  </a:cubicBezTo>
                  <a:cubicBezTo>
                    <a:pt x="459" y="469"/>
                    <a:pt x="463" y="472"/>
                    <a:pt x="468" y="480"/>
                  </a:cubicBezTo>
                  <a:close/>
                  <a:moveTo>
                    <a:pt x="453" y="433"/>
                  </a:moveTo>
                  <a:cubicBezTo>
                    <a:pt x="457" y="433"/>
                    <a:pt x="463" y="437"/>
                    <a:pt x="463" y="444"/>
                  </a:cubicBezTo>
                  <a:cubicBezTo>
                    <a:pt x="463" y="451"/>
                    <a:pt x="462" y="469"/>
                    <a:pt x="454" y="460"/>
                  </a:cubicBezTo>
                  <a:cubicBezTo>
                    <a:pt x="446" y="451"/>
                    <a:pt x="445" y="432"/>
                    <a:pt x="453" y="433"/>
                  </a:cubicBezTo>
                  <a:close/>
                  <a:moveTo>
                    <a:pt x="445" y="486"/>
                  </a:moveTo>
                  <a:cubicBezTo>
                    <a:pt x="445" y="493"/>
                    <a:pt x="443" y="497"/>
                    <a:pt x="440" y="496"/>
                  </a:cubicBezTo>
                  <a:cubicBezTo>
                    <a:pt x="432" y="492"/>
                    <a:pt x="426" y="494"/>
                    <a:pt x="418" y="499"/>
                  </a:cubicBezTo>
                  <a:cubicBezTo>
                    <a:pt x="414" y="501"/>
                    <a:pt x="412" y="498"/>
                    <a:pt x="406" y="483"/>
                  </a:cubicBezTo>
                  <a:cubicBezTo>
                    <a:pt x="399" y="467"/>
                    <a:pt x="408" y="459"/>
                    <a:pt x="408" y="459"/>
                  </a:cubicBezTo>
                  <a:cubicBezTo>
                    <a:pt x="418" y="453"/>
                    <a:pt x="432" y="460"/>
                    <a:pt x="440" y="463"/>
                  </a:cubicBezTo>
                  <a:cubicBezTo>
                    <a:pt x="447" y="466"/>
                    <a:pt x="445" y="479"/>
                    <a:pt x="445" y="486"/>
                  </a:cubicBezTo>
                  <a:close/>
                  <a:moveTo>
                    <a:pt x="358" y="443"/>
                  </a:moveTo>
                  <a:cubicBezTo>
                    <a:pt x="363" y="438"/>
                    <a:pt x="382" y="444"/>
                    <a:pt x="389" y="451"/>
                  </a:cubicBezTo>
                  <a:cubicBezTo>
                    <a:pt x="396" y="458"/>
                    <a:pt x="395" y="467"/>
                    <a:pt x="393" y="477"/>
                  </a:cubicBezTo>
                  <a:cubicBezTo>
                    <a:pt x="392" y="486"/>
                    <a:pt x="380" y="482"/>
                    <a:pt x="366" y="482"/>
                  </a:cubicBezTo>
                  <a:cubicBezTo>
                    <a:pt x="352" y="481"/>
                    <a:pt x="353" y="468"/>
                    <a:pt x="352" y="462"/>
                  </a:cubicBezTo>
                  <a:cubicBezTo>
                    <a:pt x="352" y="462"/>
                    <a:pt x="352" y="449"/>
                    <a:pt x="358" y="443"/>
                  </a:cubicBezTo>
                  <a:close/>
                  <a:moveTo>
                    <a:pt x="350" y="409"/>
                  </a:moveTo>
                  <a:cubicBezTo>
                    <a:pt x="350" y="401"/>
                    <a:pt x="350" y="394"/>
                    <a:pt x="354" y="391"/>
                  </a:cubicBezTo>
                  <a:cubicBezTo>
                    <a:pt x="364" y="383"/>
                    <a:pt x="378" y="390"/>
                    <a:pt x="387" y="401"/>
                  </a:cubicBezTo>
                  <a:cubicBezTo>
                    <a:pt x="390" y="405"/>
                    <a:pt x="388" y="408"/>
                    <a:pt x="387" y="413"/>
                  </a:cubicBezTo>
                  <a:cubicBezTo>
                    <a:pt x="384" y="419"/>
                    <a:pt x="386" y="427"/>
                    <a:pt x="382" y="432"/>
                  </a:cubicBezTo>
                  <a:cubicBezTo>
                    <a:pt x="378" y="435"/>
                    <a:pt x="375" y="429"/>
                    <a:pt x="361" y="429"/>
                  </a:cubicBezTo>
                  <a:cubicBezTo>
                    <a:pt x="353" y="429"/>
                    <a:pt x="350" y="417"/>
                    <a:pt x="350" y="409"/>
                  </a:cubicBezTo>
                  <a:close/>
                  <a:moveTo>
                    <a:pt x="369" y="494"/>
                  </a:moveTo>
                  <a:cubicBezTo>
                    <a:pt x="383" y="483"/>
                    <a:pt x="405" y="500"/>
                    <a:pt x="409" y="511"/>
                  </a:cubicBezTo>
                  <a:cubicBezTo>
                    <a:pt x="411" y="517"/>
                    <a:pt x="411" y="527"/>
                    <a:pt x="412" y="531"/>
                  </a:cubicBezTo>
                  <a:cubicBezTo>
                    <a:pt x="412" y="536"/>
                    <a:pt x="411" y="541"/>
                    <a:pt x="405" y="538"/>
                  </a:cubicBezTo>
                  <a:cubicBezTo>
                    <a:pt x="396" y="534"/>
                    <a:pt x="389" y="542"/>
                    <a:pt x="383" y="540"/>
                  </a:cubicBezTo>
                  <a:cubicBezTo>
                    <a:pt x="378" y="539"/>
                    <a:pt x="373" y="534"/>
                    <a:pt x="370" y="532"/>
                  </a:cubicBezTo>
                  <a:cubicBezTo>
                    <a:pt x="368" y="530"/>
                    <a:pt x="364" y="528"/>
                    <a:pt x="361" y="522"/>
                  </a:cubicBezTo>
                  <a:cubicBezTo>
                    <a:pt x="357" y="514"/>
                    <a:pt x="359" y="502"/>
                    <a:pt x="369" y="494"/>
                  </a:cubicBezTo>
                  <a:close/>
                  <a:moveTo>
                    <a:pt x="434" y="421"/>
                  </a:moveTo>
                  <a:cubicBezTo>
                    <a:pt x="438" y="426"/>
                    <a:pt x="437" y="445"/>
                    <a:pt x="435" y="449"/>
                  </a:cubicBezTo>
                  <a:cubicBezTo>
                    <a:pt x="433" y="452"/>
                    <a:pt x="419" y="446"/>
                    <a:pt x="414" y="447"/>
                  </a:cubicBezTo>
                  <a:cubicBezTo>
                    <a:pt x="408" y="448"/>
                    <a:pt x="410" y="450"/>
                    <a:pt x="404" y="448"/>
                  </a:cubicBezTo>
                  <a:cubicBezTo>
                    <a:pt x="399" y="446"/>
                    <a:pt x="396" y="437"/>
                    <a:pt x="396" y="428"/>
                  </a:cubicBezTo>
                  <a:cubicBezTo>
                    <a:pt x="396" y="418"/>
                    <a:pt x="402" y="411"/>
                    <a:pt x="402" y="411"/>
                  </a:cubicBezTo>
                  <a:cubicBezTo>
                    <a:pt x="415" y="405"/>
                    <a:pt x="430" y="415"/>
                    <a:pt x="434" y="421"/>
                  </a:cubicBezTo>
                  <a:close/>
                  <a:moveTo>
                    <a:pt x="412" y="390"/>
                  </a:moveTo>
                  <a:cubicBezTo>
                    <a:pt x="412" y="390"/>
                    <a:pt x="417" y="398"/>
                    <a:pt x="407" y="399"/>
                  </a:cubicBezTo>
                  <a:cubicBezTo>
                    <a:pt x="400" y="399"/>
                    <a:pt x="394" y="394"/>
                    <a:pt x="395" y="388"/>
                  </a:cubicBezTo>
                  <a:cubicBezTo>
                    <a:pt x="395" y="382"/>
                    <a:pt x="394" y="376"/>
                    <a:pt x="394" y="376"/>
                  </a:cubicBezTo>
                  <a:cubicBezTo>
                    <a:pt x="394" y="376"/>
                    <a:pt x="395" y="366"/>
                    <a:pt x="401" y="373"/>
                  </a:cubicBezTo>
                  <a:lnTo>
                    <a:pt x="412" y="390"/>
                  </a:lnTo>
                  <a:close/>
                  <a:moveTo>
                    <a:pt x="307" y="397"/>
                  </a:moveTo>
                  <a:cubicBezTo>
                    <a:pt x="307" y="396"/>
                    <a:pt x="301" y="344"/>
                    <a:pt x="284" y="338"/>
                  </a:cubicBezTo>
                  <a:cubicBezTo>
                    <a:pt x="258" y="329"/>
                    <a:pt x="180" y="363"/>
                    <a:pt x="147" y="316"/>
                  </a:cubicBezTo>
                  <a:cubicBezTo>
                    <a:pt x="140" y="306"/>
                    <a:pt x="149" y="305"/>
                    <a:pt x="149" y="305"/>
                  </a:cubicBezTo>
                  <a:cubicBezTo>
                    <a:pt x="149" y="305"/>
                    <a:pt x="243" y="305"/>
                    <a:pt x="244" y="260"/>
                  </a:cubicBezTo>
                  <a:cubicBezTo>
                    <a:pt x="247" y="204"/>
                    <a:pt x="176" y="161"/>
                    <a:pt x="166" y="154"/>
                  </a:cubicBezTo>
                  <a:cubicBezTo>
                    <a:pt x="158" y="149"/>
                    <a:pt x="166" y="146"/>
                    <a:pt x="174" y="146"/>
                  </a:cubicBezTo>
                  <a:cubicBezTo>
                    <a:pt x="248" y="148"/>
                    <a:pt x="279" y="201"/>
                    <a:pt x="299" y="184"/>
                  </a:cubicBezTo>
                  <a:cubicBezTo>
                    <a:pt x="334" y="154"/>
                    <a:pt x="283" y="70"/>
                    <a:pt x="293" y="63"/>
                  </a:cubicBezTo>
                  <a:cubicBezTo>
                    <a:pt x="300" y="58"/>
                    <a:pt x="335" y="78"/>
                    <a:pt x="354" y="114"/>
                  </a:cubicBezTo>
                  <a:cubicBezTo>
                    <a:pt x="370" y="144"/>
                    <a:pt x="363" y="184"/>
                    <a:pt x="379" y="196"/>
                  </a:cubicBezTo>
                  <a:cubicBezTo>
                    <a:pt x="398" y="210"/>
                    <a:pt x="420" y="194"/>
                    <a:pt x="434" y="179"/>
                  </a:cubicBezTo>
                  <a:cubicBezTo>
                    <a:pt x="444" y="168"/>
                    <a:pt x="448" y="159"/>
                    <a:pt x="453" y="157"/>
                  </a:cubicBezTo>
                  <a:cubicBezTo>
                    <a:pt x="461" y="154"/>
                    <a:pt x="470" y="209"/>
                    <a:pt x="447" y="236"/>
                  </a:cubicBezTo>
                  <a:cubicBezTo>
                    <a:pt x="417" y="270"/>
                    <a:pt x="394" y="275"/>
                    <a:pt x="388" y="291"/>
                  </a:cubicBezTo>
                  <a:cubicBezTo>
                    <a:pt x="382" y="307"/>
                    <a:pt x="387" y="338"/>
                    <a:pt x="389" y="348"/>
                  </a:cubicBezTo>
                  <a:cubicBezTo>
                    <a:pt x="390" y="351"/>
                    <a:pt x="390" y="353"/>
                    <a:pt x="389" y="354"/>
                  </a:cubicBezTo>
                  <a:cubicBezTo>
                    <a:pt x="387" y="358"/>
                    <a:pt x="383" y="366"/>
                    <a:pt x="383" y="373"/>
                  </a:cubicBezTo>
                  <a:cubicBezTo>
                    <a:pt x="383" y="377"/>
                    <a:pt x="379" y="379"/>
                    <a:pt x="373" y="378"/>
                  </a:cubicBezTo>
                  <a:cubicBezTo>
                    <a:pt x="362" y="375"/>
                    <a:pt x="356" y="374"/>
                    <a:pt x="347" y="379"/>
                  </a:cubicBezTo>
                  <a:cubicBezTo>
                    <a:pt x="342" y="383"/>
                    <a:pt x="340" y="392"/>
                    <a:pt x="339" y="399"/>
                  </a:cubicBezTo>
                  <a:cubicBezTo>
                    <a:pt x="338" y="404"/>
                    <a:pt x="337" y="409"/>
                    <a:pt x="334" y="408"/>
                  </a:cubicBezTo>
                  <a:cubicBezTo>
                    <a:pt x="323" y="405"/>
                    <a:pt x="314" y="405"/>
                    <a:pt x="310" y="402"/>
                  </a:cubicBezTo>
                  <a:cubicBezTo>
                    <a:pt x="308" y="401"/>
                    <a:pt x="307" y="397"/>
                    <a:pt x="307" y="397"/>
                  </a:cubicBezTo>
                  <a:close/>
                  <a:moveTo>
                    <a:pt x="318" y="452"/>
                  </a:moveTo>
                  <a:cubicBezTo>
                    <a:pt x="317" y="445"/>
                    <a:pt x="314" y="424"/>
                    <a:pt x="314" y="424"/>
                  </a:cubicBezTo>
                  <a:cubicBezTo>
                    <a:pt x="312" y="418"/>
                    <a:pt x="317" y="416"/>
                    <a:pt x="319" y="417"/>
                  </a:cubicBezTo>
                  <a:cubicBezTo>
                    <a:pt x="321" y="417"/>
                    <a:pt x="332" y="419"/>
                    <a:pt x="339" y="428"/>
                  </a:cubicBezTo>
                  <a:cubicBezTo>
                    <a:pt x="343" y="433"/>
                    <a:pt x="344" y="442"/>
                    <a:pt x="344" y="442"/>
                  </a:cubicBezTo>
                  <a:cubicBezTo>
                    <a:pt x="344" y="447"/>
                    <a:pt x="343" y="455"/>
                    <a:pt x="340" y="461"/>
                  </a:cubicBezTo>
                  <a:cubicBezTo>
                    <a:pt x="337" y="468"/>
                    <a:pt x="332" y="461"/>
                    <a:pt x="327" y="461"/>
                  </a:cubicBezTo>
                  <a:cubicBezTo>
                    <a:pt x="320" y="462"/>
                    <a:pt x="319" y="458"/>
                    <a:pt x="318" y="452"/>
                  </a:cubicBezTo>
                  <a:close/>
                  <a:moveTo>
                    <a:pt x="324" y="479"/>
                  </a:moveTo>
                  <a:cubicBezTo>
                    <a:pt x="324" y="468"/>
                    <a:pt x="335" y="475"/>
                    <a:pt x="337" y="477"/>
                  </a:cubicBezTo>
                  <a:cubicBezTo>
                    <a:pt x="339" y="479"/>
                    <a:pt x="347" y="485"/>
                    <a:pt x="351" y="487"/>
                  </a:cubicBezTo>
                  <a:cubicBezTo>
                    <a:pt x="355" y="490"/>
                    <a:pt x="351" y="499"/>
                    <a:pt x="351" y="506"/>
                  </a:cubicBezTo>
                  <a:cubicBezTo>
                    <a:pt x="350" y="514"/>
                    <a:pt x="349" y="518"/>
                    <a:pt x="345" y="519"/>
                  </a:cubicBezTo>
                  <a:cubicBezTo>
                    <a:pt x="340" y="519"/>
                    <a:pt x="334" y="515"/>
                    <a:pt x="331" y="512"/>
                  </a:cubicBezTo>
                  <a:cubicBezTo>
                    <a:pt x="328" y="510"/>
                    <a:pt x="324" y="481"/>
                    <a:pt x="324" y="479"/>
                  </a:cubicBezTo>
                  <a:close/>
                  <a:moveTo>
                    <a:pt x="362" y="574"/>
                  </a:moveTo>
                  <a:cubicBezTo>
                    <a:pt x="354" y="561"/>
                    <a:pt x="347" y="546"/>
                    <a:pt x="344" y="540"/>
                  </a:cubicBezTo>
                  <a:cubicBezTo>
                    <a:pt x="342" y="535"/>
                    <a:pt x="344" y="527"/>
                    <a:pt x="351" y="531"/>
                  </a:cubicBezTo>
                  <a:cubicBezTo>
                    <a:pt x="351" y="531"/>
                    <a:pt x="367" y="541"/>
                    <a:pt x="371" y="544"/>
                  </a:cubicBezTo>
                  <a:cubicBezTo>
                    <a:pt x="374" y="547"/>
                    <a:pt x="373" y="550"/>
                    <a:pt x="371" y="558"/>
                  </a:cubicBezTo>
                  <a:cubicBezTo>
                    <a:pt x="369" y="563"/>
                    <a:pt x="373" y="572"/>
                    <a:pt x="373" y="574"/>
                  </a:cubicBezTo>
                  <a:cubicBezTo>
                    <a:pt x="373" y="577"/>
                    <a:pt x="370" y="587"/>
                    <a:pt x="362" y="574"/>
                  </a:cubicBezTo>
                  <a:close/>
                  <a:moveTo>
                    <a:pt x="429" y="586"/>
                  </a:moveTo>
                  <a:cubicBezTo>
                    <a:pt x="423" y="586"/>
                    <a:pt x="397" y="590"/>
                    <a:pt x="390" y="585"/>
                  </a:cubicBezTo>
                  <a:cubicBezTo>
                    <a:pt x="384" y="581"/>
                    <a:pt x="382" y="571"/>
                    <a:pt x="381" y="567"/>
                  </a:cubicBezTo>
                  <a:cubicBezTo>
                    <a:pt x="381" y="567"/>
                    <a:pt x="379" y="558"/>
                    <a:pt x="387" y="554"/>
                  </a:cubicBezTo>
                  <a:cubicBezTo>
                    <a:pt x="394" y="550"/>
                    <a:pt x="393" y="547"/>
                    <a:pt x="403" y="550"/>
                  </a:cubicBezTo>
                  <a:cubicBezTo>
                    <a:pt x="414" y="553"/>
                    <a:pt x="429" y="561"/>
                    <a:pt x="433" y="568"/>
                  </a:cubicBezTo>
                  <a:cubicBezTo>
                    <a:pt x="437" y="574"/>
                    <a:pt x="435" y="585"/>
                    <a:pt x="429" y="586"/>
                  </a:cubicBezTo>
                  <a:close/>
                  <a:moveTo>
                    <a:pt x="438" y="556"/>
                  </a:moveTo>
                  <a:cubicBezTo>
                    <a:pt x="435" y="554"/>
                    <a:pt x="426" y="541"/>
                    <a:pt x="422" y="534"/>
                  </a:cubicBezTo>
                  <a:cubicBezTo>
                    <a:pt x="419" y="527"/>
                    <a:pt x="422" y="518"/>
                    <a:pt x="426" y="514"/>
                  </a:cubicBezTo>
                  <a:cubicBezTo>
                    <a:pt x="430" y="511"/>
                    <a:pt x="435" y="509"/>
                    <a:pt x="437" y="508"/>
                  </a:cubicBezTo>
                  <a:cubicBezTo>
                    <a:pt x="439" y="508"/>
                    <a:pt x="454" y="505"/>
                    <a:pt x="450" y="519"/>
                  </a:cubicBezTo>
                  <a:cubicBezTo>
                    <a:pt x="448" y="529"/>
                    <a:pt x="451" y="538"/>
                    <a:pt x="452" y="542"/>
                  </a:cubicBezTo>
                  <a:cubicBezTo>
                    <a:pt x="453" y="546"/>
                    <a:pt x="453" y="553"/>
                    <a:pt x="448" y="556"/>
                  </a:cubicBezTo>
                  <a:cubicBezTo>
                    <a:pt x="444" y="560"/>
                    <a:pt x="438" y="556"/>
                    <a:pt x="438" y="556"/>
                  </a:cubicBezTo>
                  <a:close/>
                  <a:moveTo>
                    <a:pt x="465" y="582"/>
                  </a:moveTo>
                  <a:cubicBezTo>
                    <a:pt x="460" y="573"/>
                    <a:pt x="451" y="578"/>
                    <a:pt x="449" y="580"/>
                  </a:cubicBezTo>
                  <a:cubicBezTo>
                    <a:pt x="447" y="583"/>
                    <a:pt x="442" y="577"/>
                    <a:pt x="447" y="571"/>
                  </a:cubicBezTo>
                  <a:cubicBezTo>
                    <a:pt x="452" y="565"/>
                    <a:pt x="457" y="560"/>
                    <a:pt x="465" y="565"/>
                  </a:cubicBezTo>
                  <a:cubicBezTo>
                    <a:pt x="480" y="577"/>
                    <a:pt x="486" y="588"/>
                    <a:pt x="503" y="588"/>
                  </a:cubicBezTo>
                  <a:cubicBezTo>
                    <a:pt x="507" y="588"/>
                    <a:pt x="519" y="596"/>
                    <a:pt x="504" y="597"/>
                  </a:cubicBezTo>
                  <a:cubicBezTo>
                    <a:pt x="489" y="598"/>
                    <a:pt x="473" y="597"/>
                    <a:pt x="465" y="582"/>
                  </a:cubicBezTo>
                  <a:close/>
                  <a:moveTo>
                    <a:pt x="482" y="618"/>
                  </a:moveTo>
                  <a:cubicBezTo>
                    <a:pt x="474" y="612"/>
                    <a:pt x="478" y="605"/>
                    <a:pt x="488" y="608"/>
                  </a:cubicBezTo>
                  <a:cubicBezTo>
                    <a:pt x="499" y="611"/>
                    <a:pt x="528" y="612"/>
                    <a:pt x="552" y="581"/>
                  </a:cubicBezTo>
                  <a:cubicBezTo>
                    <a:pt x="558" y="573"/>
                    <a:pt x="556" y="570"/>
                    <a:pt x="545" y="571"/>
                  </a:cubicBezTo>
                  <a:cubicBezTo>
                    <a:pt x="534" y="572"/>
                    <a:pt x="485" y="580"/>
                    <a:pt x="470" y="536"/>
                  </a:cubicBezTo>
                  <a:cubicBezTo>
                    <a:pt x="466" y="526"/>
                    <a:pt x="472" y="524"/>
                    <a:pt x="478" y="527"/>
                  </a:cubicBezTo>
                  <a:cubicBezTo>
                    <a:pt x="503" y="539"/>
                    <a:pt x="532" y="535"/>
                    <a:pt x="539" y="532"/>
                  </a:cubicBezTo>
                  <a:cubicBezTo>
                    <a:pt x="550" y="527"/>
                    <a:pt x="546" y="524"/>
                    <a:pt x="534" y="517"/>
                  </a:cubicBezTo>
                  <a:cubicBezTo>
                    <a:pt x="444" y="470"/>
                    <a:pt x="494" y="409"/>
                    <a:pt x="516" y="400"/>
                  </a:cubicBezTo>
                  <a:cubicBezTo>
                    <a:pt x="530" y="393"/>
                    <a:pt x="539" y="395"/>
                    <a:pt x="530" y="406"/>
                  </a:cubicBezTo>
                  <a:cubicBezTo>
                    <a:pt x="491" y="450"/>
                    <a:pt x="577" y="521"/>
                    <a:pt x="648" y="446"/>
                  </a:cubicBezTo>
                  <a:cubicBezTo>
                    <a:pt x="651" y="442"/>
                    <a:pt x="653" y="434"/>
                    <a:pt x="665" y="439"/>
                  </a:cubicBezTo>
                  <a:cubicBezTo>
                    <a:pt x="671" y="442"/>
                    <a:pt x="737" y="465"/>
                    <a:pt x="799" y="504"/>
                  </a:cubicBezTo>
                  <a:cubicBezTo>
                    <a:pt x="859" y="542"/>
                    <a:pt x="917" y="595"/>
                    <a:pt x="917" y="595"/>
                  </a:cubicBezTo>
                  <a:cubicBezTo>
                    <a:pt x="917" y="595"/>
                    <a:pt x="925" y="599"/>
                    <a:pt x="920" y="611"/>
                  </a:cubicBezTo>
                  <a:cubicBezTo>
                    <a:pt x="915" y="622"/>
                    <a:pt x="903" y="649"/>
                    <a:pt x="926" y="683"/>
                  </a:cubicBezTo>
                  <a:cubicBezTo>
                    <a:pt x="929" y="688"/>
                    <a:pt x="941" y="703"/>
                    <a:pt x="921" y="697"/>
                  </a:cubicBezTo>
                  <a:cubicBezTo>
                    <a:pt x="906" y="692"/>
                    <a:pt x="899" y="687"/>
                    <a:pt x="886" y="679"/>
                  </a:cubicBezTo>
                  <a:cubicBezTo>
                    <a:pt x="877" y="673"/>
                    <a:pt x="871" y="676"/>
                    <a:pt x="872" y="684"/>
                  </a:cubicBezTo>
                  <a:cubicBezTo>
                    <a:pt x="873" y="690"/>
                    <a:pt x="874" y="699"/>
                    <a:pt x="879" y="709"/>
                  </a:cubicBezTo>
                  <a:cubicBezTo>
                    <a:pt x="882" y="714"/>
                    <a:pt x="885" y="736"/>
                    <a:pt x="862" y="723"/>
                  </a:cubicBezTo>
                  <a:cubicBezTo>
                    <a:pt x="844" y="715"/>
                    <a:pt x="816" y="703"/>
                    <a:pt x="801" y="652"/>
                  </a:cubicBezTo>
                  <a:cubicBezTo>
                    <a:pt x="801" y="652"/>
                    <a:pt x="799" y="636"/>
                    <a:pt x="785" y="650"/>
                  </a:cubicBezTo>
                  <a:cubicBezTo>
                    <a:pt x="751" y="682"/>
                    <a:pt x="747" y="691"/>
                    <a:pt x="744" y="737"/>
                  </a:cubicBezTo>
                  <a:cubicBezTo>
                    <a:pt x="744" y="742"/>
                    <a:pt x="746" y="765"/>
                    <a:pt x="731" y="750"/>
                  </a:cubicBezTo>
                  <a:cubicBezTo>
                    <a:pt x="717" y="735"/>
                    <a:pt x="684" y="710"/>
                    <a:pt x="699" y="643"/>
                  </a:cubicBezTo>
                  <a:cubicBezTo>
                    <a:pt x="701" y="634"/>
                    <a:pt x="704" y="621"/>
                    <a:pt x="685" y="634"/>
                  </a:cubicBezTo>
                  <a:cubicBezTo>
                    <a:pt x="665" y="647"/>
                    <a:pt x="619" y="667"/>
                    <a:pt x="600" y="715"/>
                  </a:cubicBezTo>
                  <a:cubicBezTo>
                    <a:pt x="593" y="731"/>
                    <a:pt x="589" y="732"/>
                    <a:pt x="584" y="718"/>
                  </a:cubicBezTo>
                  <a:cubicBezTo>
                    <a:pt x="579" y="705"/>
                    <a:pt x="567" y="664"/>
                    <a:pt x="601" y="625"/>
                  </a:cubicBezTo>
                  <a:cubicBezTo>
                    <a:pt x="605" y="620"/>
                    <a:pt x="609" y="617"/>
                    <a:pt x="606" y="614"/>
                  </a:cubicBezTo>
                  <a:cubicBezTo>
                    <a:pt x="602" y="610"/>
                    <a:pt x="598" y="616"/>
                    <a:pt x="587" y="623"/>
                  </a:cubicBezTo>
                  <a:cubicBezTo>
                    <a:pt x="576" y="631"/>
                    <a:pt x="531" y="661"/>
                    <a:pt x="482" y="618"/>
                  </a:cubicBezTo>
                  <a:close/>
                  <a:moveTo>
                    <a:pt x="484" y="711"/>
                  </a:moveTo>
                  <a:cubicBezTo>
                    <a:pt x="488" y="708"/>
                    <a:pt x="502" y="698"/>
                    <a:pt x="507" y="694"/>
                  </a:cubicBezTo>
                  <a:cubicBezTo>
                    <a:pt x="510" y="692"/>
                    <a:pt x="524" y="688"/>
                    <a:pt x="528" y="693"/>
                  </a:cubicBezTo>
                  <a:cubicBezTo>
                    <a:pt x="532" y="698"/>
                    <a:pt x="524" y="707"/>
                    <a:pt x="522" y="713"/>
                  </a:cubicBezTo>
                  <a:cubicBezTo>
                    <a:pt x="521" y="718"/>
                    <a:pt x="523" y="724"/>
                    <a:pt x="520" y="729"/>
                  </a:cubicBezTo>
                  <a:cubicBezTo>
                    <a:pt x="515" y="736"/>
                    <a:pt x="489" y="735"/>
                    <a:pt x="483" y="729"/>
                  </a:cubicBezTo>
                  <a:cubicBezTo>
                    <a:pt x="475" y="722"/>
                    <a:pt x="481" y="715"/>
                    <a:pt x="484" y="711"/>
                  </a:cubicBezTo>
                  <a:close/>
                  <a:moveTo>
                    <a:pt x="449" y="754"/>
                  </a:moveTo>
                  <a:cubicBezTo>
                    <a:pt x="455" y="742"/>
                    <a:pt x="459" y="741"/>
                    <a:pt x="465" y="737"/>
                  </a:cubicBezTo>
                  <a:cubicBezTo>
                    <a:pt x="471" y="733"/>
                    <a:pt x="477" y="740"/>
                    <a:pt x="484" y="743"/>
                  </a:cubicBezTo>
                  <a:cubicBezTo>
                    <a:pt x="489" y="746"/>
                    <a:pt x="494" y="746"/>
                    <a:pt x="496" y="747"/>
                  </a:cubicBezTo>
                  <a:cubicBezTo>
                    <a:pt x="500" y="750"/>
                    <a:pt x="490" y="776"/>
                    <a:pt x="485" y="777"/>
                  </a:cubicBezTo>
                  <a:cubicBezTo>
                    <a:pt x="466" y="783"/>
                    <a:pt x="454" y="780"/>
                    <a:pt x="449" y="776"/>
                  </a:cubicBezTo>
                  <a:cubicBezTo>
                    <a:pt x="444" y="773"/>
                    <a:pt x="447" y="759"/>
                    <a:pt x="449" y="754"/>
                  </a:cubicBezTo>
                  <a:close/>
                  <a:moveTo>
                    <a:pt x="401" y="765"/>
                  </a:moveTo>
                  <a:cubicBezTo>
                    <a:pt x="405" y="762"/>
                    <a:pt x="429" y="749"/>
                    <a:pt x="431" y="748"/>
                  </a:cubicBezTo>
                  <a:cubicBezTo>
                    <a:pt x="433" y="747"/>
                    <a:pt x="442" y="742"/>
                    <a:pt x="440" y="747"/>
                  </a:cubicBezTo>
                  <a:cubicBezTo>
                    <a:pt x="438" y="753"/>
                    <a:pt x="437" y="756"/>
                    <a:pt x="435" y="765"/>
                  </a:cubicBezTo>
                  <a:cubicBezTo>
                    <a:pt x="434" y="768"/>
                    <a:pt x="433" y="775"/>
                    <a:pt x="428" y="776"/>
                  </a:cubicBezTo>
                  <a:cubicBezTo>
                    <a:pt x="421" y="778"/>
                    <a:pt x="407" y="779"/>
                    <a:pt x="401" y="776"/>
                  </a:cubicBezTo>
                  <a:cubicBezTo>
                    <a:pt x="393" y="772"/>
                    <a:pt x="397" y="768"/>
                    <a:pt x="401" y="765"/>
                  </a:cubicBezTo>
                  <a:close/>
                  <a:moveTo>
                    <a:pt x="59" y="887"/>
                  </a:moveTo>
                  <a:cubicBezTo>
                    <a:pt x="90" y="876"/>
                    <a:pt x="230" y="853"/>
                    <a:pt x="372" y="781"/>
                  </a:cubicBezTo>
                  <a:cubicBezTo>
                    <a:pt x="372" y="781"/>
                    <a:pt x="378" y="776"/>
                    <a:pt x="384" y="781"/>
                  </a:cubicBezTo>
                  <a:cubicBezTo>
                    <a:pt x="391" y="786"/>
                    <a:pt x="399" y="788"/>
                    <a:pt x="401" y="789"/>
                  </a:cubicBezTo>
                  <a:cubicBezTo>
                    <a:pt x="403" y="790"/>
                    <a:pt x="407" y="792"/>
                    <a:pt x="405" y="802"/>
                  </a:cubicBezTo>
                  <a:cubicBezTo>
                    <a:pt x="404" y="811"/>
                    <a:pt x="401" y="819"/>
                    <a:pt x="404" y="824"/>
                  </a:cubicBezTo>
                  <a:cubicBezTo>
                    <a:pt x="409" y="833"/>
                    <a:pt x="419" y="834"/>
                    <a:pt x="428" y="837"/>
                  </a:cubicBezTo>
                  <a:cubicBezTo>
                    <a:pt x="436" y="840"/>
                    <a:pt x="425" y="851"/>
                    <a:pt x="418" y="853"/>
                  </a:cubicBezTo>
                  <a:cubicBezTo>
                    <a:pt x="410" y="855"/>
                    <a:pt x="391" y="859"/>
                    <a:pt x="380" y="876"/>
                  </a:cubicBezTo>
                  <a:cubicBezTo>
                    <a:pt x="362" y="902"/>
                    <a:pt x="394" y="938"/>
                    <a:pt x="384" y="945"/>
                  </a:cubicBezTo>
                  <a:cubicBezTo>
                    <a:pt x="378" y="949"/>
                    <a:pt x="355" y="928"/>
                    <a:pt x="319" y="937"/>
                  </a:cubicBezTo>
                  <a:cubicBezTo>
                    <a:pt x="319" y="937"/>
                    <a:pt x="291" y="942"/>
                    <a:pt x="270" y="993"/>
                  </a:cubicBezTo>
                  <a:cubicBezTo>
                    <a:pt x="256" y="1026"/>
                    <a:pt x="249" y="992"/>
                    <a:pt x="249" y="992"/>
                  </a:cubicBezTo>
                  <a:cubicBezTo>
                    <a:pt x="213" y="916"/>
                    <a:pt x="139" y="967"/>
                    <a:pt x="117" y="986"/>
                  </a:cubicBezTo>
                  <a:cubicBezTo>
                    <a:pt x="100" y="999"/>
                    <a:pt x="92" y="995"/>
                    <a:pt x="103" y="977"/>
                  </a:cubicBezTo>
                  <a:cubicBezTo>
                    <a:pt x="149" y="900"/>
                    <a:pt x="73" y="900"/>
                    <a:pt x="73" y="900"/>
                  </a:cubicBezTo>
                  <a:cubicBezTo>
                    <a:pt x="73" y="900"/>
                    <a:pt x="27" y="899"/>
                    <a:pt x="59" y="8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215"/>
            </a:p>
          </p:txBody>
        </p:sp>
        <p:sp>
          <p:nvSpPr>
            <p:cNvPr id="53" name="Freeform 5">
              <a:extLst>
                <a:ext uri="{FF2B5EF4-FFF2-40B4-BE49-F238E27FC236}">
                  <a16:creationId xmlns:a16="http://schemas.microsoft.com/office/drawing/2014/main" id="{81085C8B-6129-DD4F-B523-B48336F55DD0}"/>
                </a:ext>
              </a:extLst>
            </p:cNvPr>
            <p:cNvSpPr>
              <a:spLocks/>
            </p:cNvSpPr>
            <p:nvPr userDrawn="1"/>
          </p:nvSpPr>
          <p:spPr bwMode="auto">
            <a:xfrm>
              <a:off x="6350000" y="4475163"/>
              <a:ext cx="134938" cy="487362"/>
            </a:xfrm>
            <a:custGeom>
              <a:avLst/>
              <a:gdLst>
                <a:gd name="T0" fmla="*/ 27 w 29"/>
                <a:gd name="T1" fmla="*/ 104 h 105"/>
                <a:gd name="T2" fmla="*/ 27 w 29"/>
                <a:gd name="T3" fmla="*/ 99 h 105"/>
                <a:gd name="T4" fmla="*/ 29 w 29"/>
                <a:gd name="T5" fmla="*/ 9 h 105"/>
                <a:gd name="T6" fmla="*/ 26 w 29"/>
                <a:gd name="T7" fmla="*/ 2 h 105"/>
                <a:gd name="T8" fmla="*/ 18 w 29"/>
                <a:gd name="T9" fmla="*/ 3 h 105"/>
                <a:gd name="T10" fmla="*/ 20 w 29"/>
                <a:gd name="T11" fmla="*/ 100 h 105"/>
                <a:gd name="T12" fmla="*/ 27 w 29"/>
                <a:gd name="T13" fmla="*/ 104 h 105"/>
              </a:gdLst>
              <a:ahLst/>
              <a:cxnLst>
                <a:cxn ang="0">
                  <a:pos x="T0" y="T1"/>
                </a:cxn>
                <a:cxn ang="0">
                  <a:pos x="T2" y="T3"/>
                </a:cxn>
                <a:cxn ang="0">
                  <a:pos x="T4" y="T5"/>
                </a:cxn>
                <a:cxn ang="0">
                  <a:pos x="T6" y="T7"/>
                </a:cxn>
                <a:cxn ang="0">
                  <a:pos x="T8" y="T9"/>
                </a:cxn>
                <a:cxn ang="0">
                  <a:pos x="T10" y="T11"/>
                </a:cxn>
                <a:cxn ang="0">
                  <a:pos x="T12" y="T13"/>
                </a:cxn>
              </a:cxnLst>
              <a:rect l="0" t="0" r="r" b="b"/>
              <a:pathLst>
                <a:path w="29" h="105">
                  <a:moveTo>
                    <a:pt x="27" y="104"/>
                  </a:moveTo>
                  <a:cubicBezTo>
                    <a:pt x="28" y="103"/>
                    <a:pt x="27" y="99"/>
                    <a:pt x="27" y="99"/>
                  </a:cubicBezTo>
                  <a:cubicBezTo>
                    <a:pt x="27" y="99"/>
                    <a:pt x="12" y="57"/>
                    <a:pt x="29" y="9"/>
                  </a:cubicBezTo>
                  <a:cubicBezTo>
                    <a:pt x="29" y="8"/>
                    <a:pt x="29" y="3"/>
                    <a:pt x="26" y="2"/>
                  </a:cubicBezTo>
                  <a:cubicBezTo>
                    <a:pt x="23" y="0"/>
                    <a:pt x="19" y="1"/>
                    <a:pt x="18" y="3"/>
                  </a:cubicBezTo>
                  <a:cubicBezTo>
                    <a:pt x="17" y="5"/>
                    <a:pt x="0" y="53"/>
                    <a:pt x="20" y="100"/>
                  </a:cubicBezTo>
                  <a:cubicBezTo>
                    <a:pt x="21" y="101"/>
                    <a:pt x="25" y="105"/>
                    <a:pt x="27"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215"/>
            </a:p>
          </p:txBody>
        </p:sp>
        <p:sp>
          <p:nvSpPr>
            <p:cNvPr id="54" name="Freeform 6">
              <a:extLst>
                <a:ext uri="{FF2B5EF4-FFF2-40B4-BE49-F238E27FC236}">
                  <a16:creationId xmlns:a16="http://schemas.microsoft.com/office/drawing/2014/main" id="{1D017095-D50F-D84E-BB36-F014F6E73DCF}"/>
                </a:ext>
              </a:extLst>
            </p:cNvPr>
            <p:cNvSpPr>
              <a:spLocks/>
            </p:cNvSpPr>
            <p:nvPr userDrawn="1"/>
          </p:nvSpPr>
          <p:spPr bwMode="auto">
            <a:xfrm>
              <a:off x="7345363" y="2817813"/>
              <a:ext cx="292100" cy="296862"/>
            </a:xfrm>
            <a:custGeom>
              <a:avLst/>
              <a:gdLst>
                <a:gd name="T0" fmla="*/ 30 w 63"/>
                <a:gd name="T1" fmla="*/ 64 h 64"/>
                <a:gd name="T2" fmla="*/ 33 w 63"/>
                <a:gd name="T3" fmla="*/ 57 h 64"/>
                <a:gd name="T4" fmla="*/ 51 w 63"/>
                <a:gd name="T5" fmla="*/ 16 h 64"/>
                <a:gd name="T6" fmla="*/ 55 w 63"/>
                <a:gd name="T7" fmla="*/ 9 h 64"/>
                <a:gd name="T8" fmla="*/ 5 w 63"/>
                <a:gd name="T9" fmla="*/ 27 h 64"/>
                <a:gd name="T10" fmla="*/ 30 w 63"/>
                <a:gd name="T11" fmla="*/ 64 h 64"/>
              </a:gdLst>
              <a:ahLst/>
              <a:cxnLst>
                <a:cxn ang="0">
                  <a:pos x="T0" y="T1"/>
                </a:cxn>
                <a:cxn ang="0">
                  <a:pos x="T2" y="T3"/>
                </a:cxn>
                <a:cxn ang="0">
                  <a:pos x="T4" y="T5"/>
                </a:cxn>
                <a:cxn ang="0">
                  <a:pos x="T6" y="T7"/>
                </a:cxn>
                <a:cxn ang="0">
                  <a:pos x="T8" y="T9"/>
                </a:cxn>
                <a:cxn ang="0">
                  <a:pos x="T10" y="T11"/>
                </a:cxn>
              </a:cxnLst>
              <a:rect l="0" t="0" r="r" b="b"/>
              <a:pathLst>
                <a:path w="63" h="64">
                  <a:moveTo>
                    <a:pt x="30" y="64"/>
                  </a:moveTo>
                  <a:cubicBezTo>
                    <a:pt x="30" y="64"/>
                    <a:pt x="36" y="60"/>
                    <a:pt x="33" y="57"/>
                  </a:cubicBezTo>
                  <a:cubicBezTo>
                    <a:pt x="29" y="55"/>
                    <a:pt x="8" y="23"/>
                    <a:pt x="51" y="16"/>
                  </a:cubicBezTo>
                  <a:cubicBezTo>
                    <a:pt x="51" y="16"/>
                    <a:pt x="63" y="14"/>
                    <a:pt x="55" y="9"/>
                  </a:cubicBezTo>
                  <a:cubicBezTo>
                    <a:pt x="38" y="0"/>
                    <a:pt x="7" y="18"/>
                    <a:pt x="5" y="27"/>
                  </a:cubicBezTo>
                  <a:cubicBezTo>
                    <a:pt x="0" y="47"/>
                    <a:pt x="18" y="62"/>
                    <a:pt x="30"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215"/>
            </a:p>
          </p:txBody>
        </p:sp>
        <p:sp>
          <p:nvSpPr>
            <p:cNvPr id="55" name="Freeform 7">
              <a:extLst>
                <a:ext uri="{FF2B5EF4-FFF2-40B4-BE49-F238E27FC236}">
                  <a16:creationId xmlns:a16="http://schemas.microsoft.com/office/drawing/2014/main" id="{5EB9E0ED-7220-1145-A234-426DEAB19A12}"/>
                </a:ext>
              </a:extLst>
            </p:cNvPr>
            <p:cNvSpPr>
              <a:spLocks/>
            </p:cNvSpPr>
            <p:nvPr userDrawn="1"/>
          </p:nvSpPr>
          <p:spPr bwMode="auto">
            <a:xfrm>
              <a:off x="5935663" y="4302125"/>
              <a:ext cx="311150" cy="573087"/>
            </a:xfrm>
            <a:custGeom>
              <a:avLst/>
              <a:gdLst>
                <a:gd name="T0" fmla="*/ 4 w 67"/>
                <a:gd name="T1" fmla="*/ 121 h 123"/>
                <a:gd name="T2" fmla="*/ 10 w 67"/>
                <a:gd name="T3" fmla="*/ 117 h 123"/>
                <a:gd name="T4" fmla="*/ 65 w 67"/>
                <a:gd name="T5" fmla="*/ 13 h 123"/>
                <a:gd name="T6" fmla="*/ 63 w 67"/>
                <a:gd name="T7" fmla="*/ 4 h 123"/>
                <a:gd name="T8" fmla="*/ 53 w 67"/>
                <a:gd name="T9" fmla="*/ 6 h 123"/>
                <a:gd name="T10" fmla="*/ 4 w 67"/>
                <a:gd name="T11" fmla="*/ 113 h 123"/>
                <a:gd name="T12" fmla="*/ 4 w 67"/>
                <a:gd name="T13" fmla="*/ 121 h 123"/>
              </a:gdLst>
              <a:ahLst/>
              <a:cxnLst>
                <a:cxn ang="0">
                  <a:pos x="T0" y="T1"/>
                </a:cxn>
                <a:cxn ang="0">
                  <a:pos x="T2" y="T3"/>
                </a:cxn>
                <a:cxn ang="0">
                  <a:pos x="T4" y="T5"/>
                </a:cxn>
                <a:cxn ang="0">
                  <a:pos x="T6" y="T7"/>
                </a:cxn>
                <a:cxn ang="0">
                  <a:pos x="T8" y="T9"/>
                </a:cxn>
                <a:cxn ang="0">
                  <a:pos x="T10" y="T11"/>
                </a:cxn>
                <a:cxn ang="0">
                  <a:pos x="T12" y="T13"/>
                </a:cxn>
              </a:cxnLst>
              <a:rect l="0" t="0" r="r" b="b"/>
              <a:pathLst>
                <a:path w="67" h="123">
                  <a:moveTo>
                    <a:pt x="4" y="121"/>
                  </a:moveTo>
                  <a:cubicBezTo>
                    <a:pt x="7" y="123"/>
                    <a:pt x="10" y="117"/>
                    <a:pt x="10" y="117"/>
                  </a:cubicBezTo>
                  <a:cubicBezTo>
                    <a:pt x="34" y="61"/>
                    <a:pt x="65" y="13"/>
                    <a:pt x="65" y="13"/>
                  </a:cubicBezTo>
                  <a:cubicBezTo>
                    <a:pt x="65" y="13"/>
                    <a:pt x="67" y="8"/>
                    <a:pt x="63" y="4"/>
                  </a:cubicBezTo>
                  <a:cubicBezTo>
                    <a:pt x="59" y="0"/>
                    <a:pt x="54" y="3"/>
                    <a:pt x="53" y="6"/>
                  </a:cubicBezTo>
                  <a:cubicBezTo>
                    <a:pt x="51" y="9"/>
                    <a:pt x="22" y="58"/>
                    <a:pt x="4" y="113"/>
                  </a:cubicBezTo>
                  <a:cubicBezTo>
                    <a:pt x="3" y="114"/>
                    <a:pt x="0" y="118"/>
                    <a:pt x="4" y="1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215"/>
            </a:p>
          </p:txBody>
        </p:sp>
        <p:sp>
          <p:nvSpPr>
            <p:cNvPr id="56" name="Freeform 8">
              <a:extLst>
                <a:ext uri="{FF2B5EF4-FFF2-40B4-BE49-F238E27FC236}">
                  <a16:creationId xmlns:a16="http://schemas.microsoft.com/office/drawing/2014/main" id="{9059167C-A1CC-0340-A328-D77487BCA8E7}"/>
                </a:ext>
              </a:extLst>
            </p:cNvPr>
            <p:cNvSpPr>
              <a:spLocks/>
            </p:cNvSpPr>
            <p:nvPr userDrawn="1"/>
          </p:nvSpPr>
          <p:spPr bwMode="auto">
            <a:xfrm>
              <a:off x="5246688" y="4102100"/>
              <a:ext cx="604838" cy="479425"/>
            </a:xfrm>
            <a:custGeom>
              <a:avLst/>
              <a:gdLst>
                <a:gd name="T0" fmla="*/ 10 w 130"/>
                <a:gd name="T1" fmla="*/ 93 h 103"/>
                <a:gd name="T2" fmla="*/ 1 w 130"/>
                <a:gd name="T3" fmla="*/ 100 h 103"/>
                <a:gd name="T4" fmla="*/ 12 w 130"/>
                <a:gd name="T5" fmla="*/ 101 h 103"/>
                <a:gd name="T6" fmla="*/ 127 w 130"/>
                <a:gd name="T7" fmla="*/ 10 h 103"/>
                <a:gd name="T8" fmla="*/ 127 w 130"/>
                <a:gd name="T9" fmla="*/ 2 h 103"/>
                <a:gd name="T10" fmla="*/ 116 w 130"/>
                <a:gd name="T11" fmla="*/ 6 h 103"/>
                <a:gd name="T12" fmla="*/ 10 w 130"/>
                <a:gd name="T13" fmla="*/ 93 h 103"/>
              </a:gdLst>
              <a:ahLst/>
              <a:cxnLst>
                <a:cxn ang="0">
                  <a:pos x="T0" y="T1"/>
                </a:cxn>
                <a:cxn ang="0">
                  <a:pos x="T2" y="T3"/>
                </a:cxn>
                <a:cxn ang="0">
                  <a:pos x="T4" y="T5"/>
                </a:cxn>
                <a:cxn ang="0">
                  <a:pos x="T6" y="T7"/>
                </a:cxn>
                <a:cxn ang="0">
                  <a:pos x="T8" y="T9"/>
                </a:cxn>
                <a:cxn ang="0">
                  <a:pos x="T10" y="T11"/>
                </a:cxn>
                <a:cxn ang="0">
                  <a:pos x="T12" y="T13"/>
                </a:cxn>
              </a:cxnLst>
              <a:rect l="0" t="0" r="r" b="b"/>
              <a:pathLst>
                <a:path w="130" h="103">
                  <a:moveTo>
                    <a:pt x="10" y="93"/>
                  </a:moveTo>
                  <a:cubicBezTo>
                    <a:pt x="10" y="93"/>
                    <a:pt x="0" y="98"/>
                    <a:pt x="1" y="100"/>
                  </a:cubicBezTo>
                  <a:cubicBezTo>
                    <a:pt x="3" y="103"/>
                    <a:pt x="10" y="102"/>
                    <a:pt x="12" y="101"/>
                  </a:cubicBezTo>
                  <a:cubicBezTo>
                    <a:pt x="12" y="101"/>
                    <a:pt x="70" y="78"/>
                    <a:pt x="127" y="10"/>
                  </a:cubicBezTo>
                  <a:cubicBezTo>
                    <a:pt x="129" y="8"/>
                    <a:pt x="130" y="5"/>
                    <a:pt x="127" y="2"/>
                  </a:cubicBezTo>
                  <a:cubicBezTo>
                    <a:pt x="124" y="0"/>
                    <a:pt x="118" y="3"/>
                    <a:pt x="116" y="6"/>
                  </a:cubicBezTo>
                  <a:cubicBezTo>
                    <a:pt x="116" y="6"/>
                    <a:pt x="70" y="67"/>
                    <a:pt x="10" y="9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215"/>
            </a:p>
          </p:txBody>
        </p:sp>
        <p:sp>
          <p:nvSpPr>
            <p:cNvPr id="57" name="Freeform 9">
              <a:extLst>
                <a:ext uri="{FF2B5EF4-FFF2-40B4-BE49-F238E27FC236}">
                  <a16:creationId xmlns:a16="http://schemas.microsoft.com/office/drawing/2014/main" id="{8BDFDD65-8C1A-764E-80B3-1C5CD74B6196}"/>
                </a:ext>
              </a:extLst>
            </p:cNvPr>
            <p:cNvSpPr>
              <a:spLocks/>
            </p:cNvSpPr>
            <p:nvPr userDrawn="1"/>
          </p:nvSpPr>
          <p:spPr bwMode="auto">
            <a:xfrm>
              <a:off x="3749675" y="5954713"/>
              <a:ext cx="274638" cy="390525"/>
            </a:xfrm>
            <a:custGeom>
              <a:avLst/>
              <a:gdLst>
                <a:gd name="T0" fmla="*/ 48 w 59"/>
                <a:gd name="T1" fmla="*/ 3 h 84"/>
                <a:gd name="T2" fmla="*/ 2 w 59"/>
                <a:gd name="T3" fmla="*/ 76 h 84"/>
                <a:gd name="T4" fmla="*/ 2 w 59"/>
                <a:gd name="T5" fmla="*/ 83 h 84"/>
                <a:gd name="T6" fmla="*/ 8 w 59"/>
                <a:gd name="T7" fmla="*/ 80 h 84"/>
                <a:gd name="T8" fmla="*/ 55 w 59"/>
                <a:gd name="T9" fmla="*/ 13 h 84"/>
                <a:gd name="T10" fmla="*/ 57 w 59"/>
                <a:gd name="T11" fmla="*/ 2 h 84"/>
                <a:gd name="T12" fmla="*/ 48 w 59"/>
                <a:gd name="T13" fmla="*/ 3 h 84"/>
              </a:gdLst>
              <a:ahLst/>
              <a:cxnLst>
                <a:cxn ang="0">
                  <a:pos x="T0" y="T1"/>
                </a:cxn>
                <a:cxn ang="0">
                  <a:pos x="T2" y="T3"/>
                </a:cxn>
                <a:cxn ang="0">
                  <a:pos x="T4" y="T5"/>
                </a:cxn>
                <a:cxn ang="0">
                  <a:pos x="T6" y="T7"/>
                </a:cxn>
                <a:cxn ang="0">
                  <a:pos x="T8" y="T9"/>
                </a:cxn>
                <a:cxn ang="0">
                  <a:pos x="T10" y="T11"/>
                </a:cxn>
                <a:cxn ang="0">
                  <a:pos x="T12" y="T13"/>
                </a:cxn>
              </a:cxnLst>
              <a:rect l="0" t="0" r="r" b="b"/>
              <a:pathLst>
                <a:path w="59" h="84">
                  <a:moveTo>
                    <a:pt x="48" y="3"/>
                  </a:moveTo>
                  <a:cubicBezTo>
                    <a:pt x="48" y="3"/>
                    <a:pt x="17" y="43"/>
                    <a:pt x="2" y="76"/>
                  </a:cubicBezTo>
                  <a:cubicBezTo>
                    <a:pt x="1" y="77"/>
                    <a:pt x="0" y="81"/>
                    <a:pt x="2" y="83"/>
                  </a:cubicBezTo>
                  <a:cubicBezTo>
                    <a:pt x="5" y="84"/>
                    <a:pt x="8" y="80"/>
                    <a:pt x="8" y="80"/>
                  </a:cubicBezTo>
                  <a:cubicBezTo>
                    <a:pt x="8" y="80"/>
                    <a:pt x="28" y="40"/>
                    <a:pt x="55" y="13"/>
                  </a:cubicBezTo>
                  <a:cubicBezTo>
                    <a:pt x="58" y="10"/>
                    <a:pt x="59" y="5"/>
                    <a:pt x="57" y="2"/>
                  </a:cubicBezTo>
                  <a:cubicBezTo>
                    <a:pt x="55" y="0"/>
                    <a:pt x="51" y="1"/>
                    <a:pt x="48"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215"/>
            </a:p>
          </p:txBody>
        </p:sp>
        <p:sp>
          <p:nvSpPr>
            <p:cNvPr id="58" name="Freeform 10">
              <a:extLst>
                <a:ext uri="{FF2B5EF4-FFF2-40B4-BE49-F238E27FC236}">
                  <a16:creationId xmlns:a16="http://schemas.microsoft.com/office/drawing/2014/main" id="{D697A423-7D05-6F47-AFE7-17C6C0504AC7}"/>
                </a:ext>
              </a:extLst>
            </p:cNvPr>
            <p:cNvSpPr>
              <a:spLocks/>
            </p:cNvSpPr>
            <p:nvPr userDrawn="1"/>
          </p:nvSpPr>
          <p:spPr bwMode="auto">
            <a:xfrm>
              <a:off x="5205413" y="4022725"/>
              <a:ext cx="515938" cy="242887"/>
            </a:xfrm>
            <a:custGeom>
              <a:avLst/>
              <a:gdLst>
                <a:gd name="T0" fmla="*/ 11 w 111"/>
                <a:gd name="T1" fmla="*/ 51 h 52"/>
                <a:gd name="T2" fmla="*/ 102 w 111"/>
                <a:gd name="T3" fmla="*/ 14 h 52"/>
                <a:gd name="T4" fmla="*/ 92 w 111"/>
                <a:gd name="T5" fmla="*/ 8 h 52"/>
                <a:gd name="T6" fmla="*/ 11 w 111"/>
                <a:gd name="T7" fmla="*/ 45 h 52"/>
                <a:gd name="T8" fmla="*/ 11 w 111"/>
                <a:gd name="T9" fmla="*/ 51 h 52"/>
              </a:gdLst>
              <a:ahLst/>
              <a:cxnLst>
                <a:cxn ang="0">
                  <a:pos x="T0" y="T1"/>
                </a:cxn>
                <a:cxn ang="0">
                  <a:pos x="T2" y="T3"/>
                </a:cxn>
                <a:cxn ang="0">
                  <a:pos x="T4" y="T5"/>
                </a:cxn>
                <a:cxn ang="0">
                  <a:pos x="T6" y="T7"/>
                </a:cxn>
                <a:cxn ang="0">
                  <a:pos x="T8" y="T9"/>
                </a:cxn>
              </a:cxnLst>
              <a:rect l="0" t="0" r="r" b="b"/>
              <a:pathLst>
                <a:path w="111" h="52">
                  <a:moveTo>
                    <a:pt x="11" y="51"/>
                  </a:moveTo>
                  <a:cubicBezTo>
                    <a:pt x="17" y="50"/>
                    <a:pt x="71" y="46"/>
                    <a:pt x="102" y="14"/>
                  </a:cubicBezTo>
                  <a:cubicBezTo>
                    <a:pt x="111" y="4"/>
                    <a:pt x="101" y="0"/>
                    <a:pt x="92" y="8"/>
                  </a:cubicBezTo>
                  <a:cubicBezTo>
                    <a:pt x="92" y="8"/>
                    <a:pt x="66" y="36"/>
                    <a:pt x="11" y="45"/>
                  </a:cubicBezTo>
                  <a:cubicBezTo>
                    <a:pt x="0" y="47"/>
                    <a:pt x="4" y="52"/>
                    <a:pt x="11"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215"/>
            </a:p>
          </p:txBody>
        </p:sp>
        <p:sp>
          <p:nvSpPr>
            <p:cNvPr id="59" name="Freeform 11">
              <a:extLst>
                <a:ext uri="{FF2B5EF4-FFF2-40B4-BE49-F238E27FC236}">
                  <a16:creationId xmlns:a16="http://schemas.microsoft.com/office/drawing/2014/main" id="{4B6868EC-F8DC-3D4B-9EA1-6DF9AD2A93EE}"/>
                </a:ext>
              </a:extLst>
            </p:cNvPr>
            <p:cNvSpPr>
              <a:spLocks/>
            </p:cNvSpPr>
            <p:nvPr userDrawn="1"/>
          </p:nvSpPr>
          <p:spPr bwMode="auto">
            <a:xfrm>
              <a:off x="3121025" y="5964238"/>
              <a:ext cx="652463" cy="423862"/>
            </a:xfrm>
            <a:custGeom>
              <a:avLst/>
              <a:gdLst>
                <a:gd name="T0" fmla="*/ 138 w 140"/>
                <a:gd name="T1" fmla="*/ 6 h 91"/>
                <a:gd name="T2" fmla="*/ 125 w 140"/>
                <a:gd name="T3" fmla="*/ 5 h 91"/>
                <a:gd name="T4" fmla="*/ 5 w 140"/>
                <a:gd name="T5" fmla="*/ 83 h 91"/>
                <a:gd name="T6" fmla="*/ 2 w 140"/>
                <a:gd name="T7" fmla="*/ 90 h 91"/>
                <a:gd name="T8" fmla="*/ 10 w 140"/>
                <a:gd name="T9" fmla="*/ 88 h 91"/>
                <a:gd name="T10" fmla="*/ 131 w 140"/>
                <a:gd name="T11" fmla="*/ 17 h 91"/>
                <a:gd name="T12" fmla="*/ 138 w 140"/>
                <a:gd name="T13" fmla="*/ 6 h 91"/>
              </a:gdLst>
              <a:ahLst/>
              <a:cxnLst>
                <a:cxn ang="0">
                  <a:pos x="T0" y="T1"/>
                </a:cxn>
                <a:cxn ang="0">
                  <a:pos x="T2" y="T3"/>
                </a:cxn>
                <a:cxn ang="0">
                  <a:pos x="T4" y="T5"/>
                </a:cxn>
                <a:cxn ang="0">
                  <a:pos x="T6" y="T7"/>
                </a:cxn>
                <a:cxn ang="0">
                  <a:pos x="T8" y="T9"/>
                </a:cxn>
                <a:cxn ang="0">
                  <a:pos x="T10" y="T11"/>
                </a:cxn>
                <a:cxn ang="0">
                  <a:pos x="T12" y="T13"/>
                </a:cxn>
              </a:cxnLst>
              <a:rect l="0" t="0" r="r" b="b"/>
              <a:pathLst>
                <a:path w="140" h="91">
                  <a:moveTo>
                    <a:pt x="138" y="6"/>
                  </a:moveTo>
                  <a:cubicBezTo>
                    <a:pt x="135" y="0"/>
                    <a:pt x="125" y="5"/>
                    <a:pt x="125" y="5"/>
                  </a:cubicBezTo>
                  <a:cubicBezTo>
                    <a:pt x="125" y="6"/>
                    <a:pt x="33" y="56"/>
                    <a:pt x="5" y="83"/>
                  </a:cubicBezTo>
                  <a:cubicBezTo>
                    <a:pt x="3" y="86"/>
                    <a:pt x="0" y="88"/>
                    <a:pt x="2" y="90"/>
                  </a:cubicBezTo>
                  <a:cubicBezTo>
                    <a:pt x="3" y="91"/>
                    <a:pt x="7" y="91"/>
                    <a:pt x="10" y="88"/>
                  </a:cubicBezTo>
                  <a:cubicBezTo>
                    <a:pt x="13" y="86"/>
                    <a:pt x="86" y="39"/>
                    <a:pt x="131" y="17"/>
                  </a:cubicBezTo>
                  <a:cubicBezTo>
                    <a:pt x="131" y="17"/>
                    <a:pt x="140" y="10"/>
                    <a:pt x="138"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215"/>
            </a:p>
          </p:txBody>
        </p:sp>
        <p:sp>
          <p:nvSpPr>
            <p:cNvPr id="60" name="Freeform 12">
              <a:extLst>
                <a:ext uri="{FF2B5EF4-FFF2-40B4-BE49-F238E27FC236}">
                  <a16:creationId xmlns:a16="http://schemas.microsoft.com/office/drawing/2014/main" id="{B0BCEBA6-39E3-FC45-819D-72EF0C98AFA7}"/>
                </a:ext>
              </a:extLst>
            </p:cNvPr>
            <p:cNvSpPr>
              <a:spLocks/>
            </p:cNvSpPr>
            <p:nvPr userDrawn="1"/>
          </p:nvSpPr>
          <p:spPr bwMode="auto">
            <a:xfrm>
              <a:off x="5559425" y="4171950"/>
              <a:ext cx="473075" cy="568325"/>
            </a:xfrm>
            <a:custGeom>
              <a:avLst/>
              <a:gdLst>
                <a:gd name="T0" fmla="*/ 2 w 102"/>
                <a:gd name="T1" fmla="*/ 120 h 122"/>
                <a:gd name="T2" fmla="*/ 11 w 102"/>
                <a:gd name="T3" fmla="*/ 115 h 122"/>
                <a:gd name="T4" fmla="*/ 97 w 102"/>
                <a:gd name="T5" fmla="*/ 17 h 122"/>
                <a:gd name="T6" fmla="*/ 99 w 102"/>
                <a:gd name="T7" fmla="*/ 4 h 122"/>
                <a:gd name="T8" fmla="*/ 90 w 102"/>
                <a:gd name="T9" fmla="*/ 8 h 122"/>
                <a:gd name="T10" fmla="*/ 5 w 102"/>
                <a:gd name="T11" fmla="*/ 111 h 122"/>
                <a:gd name="T12" fmla="*/ 2 w 102"/>
                <a:gd name="T13" fmla="*/ 120 h 122"/>
              </a:gdLst>
              <a:ahLst/>
              <a:cxnLst>
                <a:cxn ang="0">
                  <a:pos x="T0" y="T1"/>
                </a:cxn>
                <a:cxn ang="0">
                  <a:pos x="T2" y="T3"/>
                </a:cxn>
                <a:cxn ang="0">
                  <a:pos x="T4" y="T5"/>
                </a:cxn>
                <a:cxn ang="0">
                  <a:pos x="T6" y="T7"/>
                </a:cxn>
                <a:cxn ang="0">
                  <a:pos x="T8" y="T9"/>
                </a:cxn>
                <a:cxn ang="0">
                  <a:pos x="T10" y="T11"/>
                </a:cxn>
                <a:cxn ang="0">
                  <a:pos x="T12" y="T13"/>
                </a:cxn>
              </a:cxnLst>
              <a:rect l="0" t="0" r="r" b="b"/>
              <a:pathLst>
                <a:path w="102" h="122">
                  <a:moveTo>
                    <a:pt x="2" y="120"/>
                  </a:moveTo>
                  <a:cubicBezTo>
                    <a:pt x="5" y="122"/>
                    <a:pt x="6" y="120"/>
                    <a:pt x="11" y="115"/>
                  </a:cubicBezTo>
                  <a:cubicBezTo>
                    <a:pt x="12" y="114"/>
                    <a:pt x="61" y="69"/>
                    <a:pt x="97" y="17"/>
                  </a:cubicBezTo>
                  <a:cubicBezTo>
                    <a:pt x="100" y="12"/>
                    <a:pt x="102" y="6"/>
                    <a:pt x="99" y="4"/>
                  </a:cubicBezTo>
                  <a:cubicBezTo>
                    <a:pt x="94" y="0"/>
                    <a:pt x="90" y="7"/>
                    <a:pt x="90" y="8"/>
                  </a:cubicBezTo>
                  <a:cubicBezTo>
                    <a:pt x="90" y="8"/>
                    <a:pt x="39" y="77"/>
                    <a:pt x="5" y="111"/>
                  </a:cubicBezTo>
                  <a:cubicBezTo>
                    <a:pt x="4" y="112"/>
                    <a:pt x="0" y="118"/>
                    <a:pt x="2" y="1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215"/>
            </a:p>
          </p:txBody>
        </p:sp>
        <p:sp>
          <p:nvSpPr>
            <p:cNvPr id="61" name="Freeform 13">
              <a:extLst>
                <a:ext uri="{FF2B5EF4-FFF2-40B4-BE49-F238E27FC236}">
                  <a16:creationId xmlns:a16="http://schemas.microsoft.com/office/drawing/2014/main" id="{AACD62FA-28DE-FB4F-9E49-6B5B7B0D3405}"/>
                </a:ext>
              </a:extLst>
            </p:cNvPr>
            <p:cNvSpPr>
              <a:spLocks noEditPoints="1"/>
            </p:cNvSpPr>
            <p:nvPr userDrawn="1"/>
          </p:nvSpPr>
          <p:spPr bwMode="auto">
            <a:xfrm>
              <a:off x="6545263" y="2365375"/>
              <a:ext cx="487363" cy="317500"/>
            </a:xfrm>
            <a:custGeom>
              <a:avLst/>
              <a:gdLst>
                <a:gd name="T0" fmla="*/ 100 w 105"/>
                <a:gd name="T1" fmla="*/ 31 h 68"/>
                <a:gd name="T2" fmla="*/ 71 w 105"/>
                <a:gd name="T3" fmla="*/ 14 h 68"/>
                <a:gd name="T4" fmla="*/ 51 w 105"/>
                <a:gd name="T5" fmla="*/ 0 h 68"/>
                <a:gd name="T6" fmla="*/ 14 w 105"/>
                <a:gd name="T7" fmla="*/ 24 h 68"/>
                <a:gd name="T8" fmla="*/ 14 w 105"/>
                <a:gd name="T9" fmla="*/ 25 h 68"/>
                <a:gd name="T10" fmla="*/ 1 w 105"/>
                <a:gd name="T11" fmla="*/ 31 h 68"/>
                <a:gd name="T12" fmla="*/ 8 w 105"/>
                <a:gd name="T13" fmla="*/ 37 h 68"/>
                <a:gd name="T14" fmla="*/ 46 w 105"/>
                <a:gd name="T15" fmla="*/ 67 h 68"/>
                <a:gd name="T16" fmla="*/ 79 w 105"/>
                <a:gd name="T17" fmla="*/ 54 h 68"/>
                <a:gd name="T18" fmla="*/ 98 w 105"/>
                <a:gd name="T19" fmla="*/ 42 h 68"/>
                <a:gd name="T20" fmla="*/ 100 w 105"/>
                <a:gd name="T21" fmla="*/ 31 h 68"/>
                <a:gd name="T22" fmla="*/ 77 w 105"/>
                <a:gd name="T23" fmla="*/ 42 h 68"/>
                <a:gd name="T24" fmla="*/ 44 w 105"/>
                <a:gd name="T25" fmla="*/ 57 h 68"/>
                <a:gd name="T26" fmla="*/ 24 w 105"/>
                <a:gd name="T27" fmla="*/ 35 h 68"/>
                <a:gd name="T28" fmla="*/ 43 w 105"/>
                <a:gd name="T29" fmla="*/ 27 h 68"/>
                <a:gd name="T30" fmla="*/ 43 w 105"/>
                <a:gd name="T31" fmla="*/ 39 h 68"/>
                <a:gd name="T32" fmla="*/ 59 w 105"/>
                <a:gd name="T33" fmla="*/ 38 h 68"/>
                <a:gd name="T34" fmla="*/ 54 w 105"/>
                <a:gd name="T35" fmla="*/ 24 h 68"/>
                <a:gd name="T36" fmla="*/ 51 w 105"/>
                <a:gd name="T37" fmla="*/ 16 h 68"/>
                <a:gd name="T38" fmla="*/ 63 w 105"/>
                <a:gd name="T39" fmla="*/ 22 h 68"/>
                <a:gd name="T40" fmla="*/ 79 w 105"/>
                <a:gd name="T41" fmla="*/ 33 h 68"/>
                <a:gd name="T42" fmla="*/ 77 w 105"/>
                <a:gd name="T43" fmla="*/ 42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5" h="68">
                  <a:moveTo>
                    <a:pt x="100" y="31"/>
                  </a:moveTo>
                  <a:cubicBezTo>
                    <a:pt x="97" y="31"/>
                    <a:pt x="82" y="22"/>
                    <a:pt x="71" y="14"/>
                  </a:cubicBezTo>
                  <a:cubicBezTo>
                    <a:pt x="60" y="7"/>
                    <a:pt x="56" y="0"/>
                    <a:pt x="51" y="0"/>
                  </a:cubicBezTo>
                  <a:cubicBezTo>
                    <a:pt x="45" y="1"/>
                    <a:pt x="30" y="18"/>
                    <a:pt x="14" y="24"/>
                  </a:cubicBezTo>
                  <a:cubicBezTo>
                    <a:pt x="14" y="24"/>
                    <a:pt x="14" y="24"/>
                    <a:pt x="14" y="25"/>
                  </a:cubicBezTo>
                  <a:cubicBezTo>
                    <a:pt x="14" y="25"/>
                    <a:pt x="1" y="28"/>
                    <a:pt x="1" y="31"/>
                  </a:cubicBezTo>
                  <a:cubicBezTo>
                    <a:pt x="0" y="34"/>
                    <a:pt x="5" y="34"/>
                    <a:pt x="8" y="37"/>
                  </a:cubicBezTo>
                  <a:cubicBezTo>
                    <a:pt x="13" y="41"/>
                    <a:pt x="32" y="68"/>
                    <a:pt x="46" y="67"/>
                  </a:cubicBezTo>
                  <a:cubicBezTo>
                    <a:pt x="54" y="66"/>
                    <a:pt x="67" y="61"/>
                    <a:pt x="79" y="54"/>
                  </a:cubicBezTo>
                  <a:cubicBezTo>
                    <a:pt x="86" y="50"/>
                    <a:pt x="92" y="47"/>
                    <a:pt x="98" y="42"/>
                  </a:cubicBezTo>
                  <a:cubicBezTo>
                    <a:pt x="104" y="38"/>
                    <a:pt x="105" y="32"/>
                    <a:pt x="100" y="31"/>
                  </a:cubicBezTo>
                  <a:close/>
                  <a:moveTo>
                    <a:pt x="77" y="42"/>
                  </a:moveTo>
                  <a:cubicBezTo>
                    <a:pt x="67" y="49"/>
                    <a:pt x="48" y="57"/>
                    <a:pt x="44" y="57"/>
                  </a:cubicBezTo>
                  <a:cubicBezTo>
                    <a:pt x="38" y="56"/>
                    <a:pt x="22" y="38"/>
                    <a:pt x="24" y="35"/>
                  </a:cubicBezTo>
                  <a:cubicBezTo>
                    <a:pt x="25" y="33"/>
                    <a:pt x="40" y="22"/>
                    <a:pt x="43" y="27"/>
                  </a:cubicBezTo>
                  <a:cubicBezTo>
                    <a:pt x="49" y="33"/>
                    <a:pt x="41" y="35"/>
                    <a:pt x="43" y="39"/>
                  </a:cubicBezTo>
                  <a:cubicBezTo>
                    <a:pt x="46" y="43"/>
                    <a:pt x="52" y="45"/>
                    <a:pt x="59" y="38"/>
                  </a:cubicBezTo>
                  <a:cubicBezTo>
                    <a:pt x="65" y="31"/>
                    <a:pt x="57" y="27"/>
                    <a:pt x="54" y="24"/>
                  </a:cubicBezTo>
                  <a:cubicBezTo>
                    <a:pt x="50" y="20"/>
                    <a:pt x="49" y="19"/>
                    <a:pt x="51" y="16"/>
                  </a:cubicBezTo>
                  <a:cubicBezTo>
                    <a:pt x="54" y="13"/>
                    <a:pt x="57" y="18"/>
                    <a:pt x="63" y="22"/>
                  </a:cubicBezTo>
                  <a:cubicBezTo>
                    <a:pt x="68" y="26"/>
                    <a:pt x="75" y="29"/>
                    <a:pt x="79" y="33"/>
                  </a:cubicBezTo>
                  <a:cubicBezTo>
                    <a:pt x="81" y="34"/>
                    <a:pt x="81" y="39"/>
                    <a:pt x="77"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215"/>
            </a:p>
          </p:txBody>
        </p:sp>
        <p:sp>
          <p:nvSpPr>
            <p:cNvPr id="73" name="Freeform 14">
              <a:extLst>
                <a:ext uri="{FF2B5EF4-FFF2-40B4-BE49-F238E27FC236}">
                  <a16:creationId xmlns:a16="http://schemas.microsoft.com/office/drawing/2014/main" id="{46440E0B-5132-4844-BB77-08FFF6BBD7EB}"/>
                </a:ext>
              </a:extLst>
            </p:cNvPr>
            <p:cNvSpPr>
              <a:spLocks/>
            </p:cNvSpPr>
            <p:nvPr userDrawn="1"/>
          </p:nvSpPr>
          <p:spPr bwMode="auto">
            <a:xfrm>
              <a:off x="6200775" y="2492375"/>
              <a:ext cx="111125" cy="106362"/>
            </a:xfrm>
            <a:custGeom>
              <a:avLst/>
              <a:gdLst>
                <a:gd name="T0" fmla="*/ 17 w 24"/>
                <a:gd name="T1" fmla="*/ 1 h 23"/>
                <a:gd name="T2" fmla="*/ 3 w 24"/>
                <a:gd name="T3" fmla="*/ 4 h 23"/>
                <a:gd name="T4" fmla="*/ 4 w 24"/>
                <a:gd name="T5" fmla="*/ 22 h 23"/>
                <a:gd name="T6" fmla="*/ 23 w 24"/>
                <a:gd name="T7" fmla="*/ 7 h 23"/>
                <a:gd name="T8" fmla="*/ 17 w 24"/>
                <a:gd name="T9" fmla="*/ 1 h 23"/>
              </a:gdLst>
              <a:ahLst/>
              <a:cxnLst>
                <a:cxn ang="0">
                  <a:pos x="T0" y="T1"/>
                </a:cxn>
                <a:cxn ang="0">
                  <a:pos x="T2" y="T3"/>
                </a:cxn>
                <a:cxn ang="0">
                  <a:pos x="T4" y="T5"/>
                </a:cxn>
                <a:cxn ang="0">
                  <a:pos x="T6" y="T7"/>
                </a:cxn>
                <a:cxn ang="0">
                  <a:pos x="T8" y="T9"/>
                </a:cxn>
              </a:cxnLst>
              <a:rect l="0" t="0" r="r" b="b"/>
              <a:pathLst>
                <a:path w="24" h="23">
                  <a:moveTo>
                    <a:pt x="17" y="1"/>
                  </a:moveTo>
                  <a:cubicBezTo>
                    <a:pt x="13" y="3"/>
                    <a:pt x="5" y="1"/>
                    <a:pt x="3" y="4"/>
                  </a:cubicBezTo>
                  <a:cubicBezTo>
                    <a:pt x="0" y="8"/>
                    <a:pt x="0" y="23"/>
                    <a:pt x="4" y="22"/>
                  </a:cubicBezTo>
                  <a:cubicBezTo>
                    <a:pt x="9" y="22"/>
                    <a:pt x="22" y="15"/>
                    <a:pt x="23" y="7"/>
                  </a:cubicBezTo>
                  <a:cubicBezTo>
                    <a:pt x="24" y="0"/>
                    <a:pt x="19" y="0"/>
                    <a:pt x="17"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215"/>
            </a:p>
          </p:txBody>
        </p:sp>
        <p:sp>
          <p:nvSpPr>
            <p:cNvPr id="98" name="Freeform 15">
              <a:extLst>
                <a:ext uri="{FF2B5EF4-FFF2-40B4-BE49-F238E27FC236}">
                  <a16:creationId xmlns:a16="http://schemas.microsoft.com/office/drawing/2014/main" id="{F31387A5-1540-384D-BFE6-92C251F708B8}"/>
                </a:ext>
              </a:extLst>
            </p:cNvPr>
            <p:cNvSpPr>
              <a:spLocks/>
            </p:cNvSpPr>
            <p:nvPr userDrawn="1"/>
          </p:nvSpPr>
          <p:spPr bwMode="auto">
            <a:xfrm>
              <a:off x="4294188" y="2892425"/>
              <a:ext cx="236538" cy="195262"/>
            </a:xfrm>
            <a:custGeom>
              <a:avLst/>
              <a:gdLst>
                <a:gd name="T0" fmla="*/ 8 w 51"/>
                <a:gd name="T1" fmla="*/ 40 h 42"/>
                <a:gd name="T2" fmla="*/ 48 w 51"/>
                <a:gd name="T3" fmla="*/ 8 h 42"/>
                <a:gd name="T4" fmla="*/ 50 w 51"/>
                <a:gd name="T5" fmla="*/ 1 h 42"/>
                <a:gd name="T6" fmla="*/ 43 w 51"/>
                <a:gd name="T7" fmla="*/ 4 h 42"/>
                <a:gd name="T8" fmla="*/ 7 w 51"/>
                <a:gd name="T9" fmla="*/ 31 h 42"/>
                <a:gd name="T10" fmla="*/ 1 w 51"/>
                <a:gd name="T11" fmla="*/ 39 h 42"/>
                <a:gd name="T12" fmla="*/ 8 w 51"/>
                <a:gd name="T13" fmla="*/ 40 h 42"/>
              </a:gdLst>
              <a:ahLst/>
              <a:cxnLst>
                <a:cxn ang="0">
                  <a:pos x="T0" y="T1"/>
                </a:cxn>
                <a:cxn ang="0">
                  <a:pos x="T2" y="T3"/>
                </a:cxn>
                <a:cxn ang="0">
                  <a:pos x="T4" y="T5"/>
                </a:cxn>
                <a:cxn ang="0">
                  <a:pos x="T6" y="T7"/>
                </a:cxn>
                <a:cxn ang="0">
                  <a:pos x="T8" y="T9"/>
                </a:cxn>
                <a:cxn ang="0">
                  <a:pos x="T10" y="T11"/>
                </a:cxn>
                <a:cxn ang="0">
                  <a:pos x="T12" y="T13"/>
                </a:cxn>
              </a:cxnLst>
              <a:rect l="0" t="0" r="r" b="b"/>
              <a:pathLst>
                <a:path w="51" h="42">
                  <a:moveTo>
                    <a:pt x="8" y="40"/>
                  </a:moveTo>
                  <a:cubicBezTo>
                    <a:pt x="22" y="32"/>
                    <a:pt x="46" y="11"/>
                    <a:pt x="48" y="8"/>
                  </a:cubicBezTo>
                  <a:cubicBezTo>
                    <a:pt x="51" y="4"/>
                    <a:pt x="50" y="2"/>
                    <a:pt x="50" y="1"/>
                  </a:cubicBezTo>
                  <a:cubicBezTo>
                    <a:pt x="49" y="0"/>
                    <a:pt x="46" y="1"/>
                    <a:pt x="43" y="4"/>
                  </a:cubicBezTo>
                  <a:cubicBezTo>
                    <a:pt x="41" y="6"/>
                    <a:pt x="34" y="13"/>
                    <a:pt x="7" y="31"/>
                  </a:cubicBezTo>
                  <a:cubicBezTo>
                    <a:pt x="3" y="33"/>
                    <a:pt x="0" y="37"/>
                    <a:pt x="1" y="39"/>
                  </a:cubicBezTo>
                  <a:cubicBezTo>
                    <a:pt x="2" y="40"/>
                    <a:pt x="4" y="42"/>
                    <a:pt x="8"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215"/>
            </a:p>
          </p:txBody>
        </p:sp>
        <p:sp>
          <p:nvSpPr>
            <p:cNvPr id="99" name="Freeform 16">
              <a:extLst>
                <a:ext uri="{FF2B5EF4-FFF2-40B4-BE49-F238E27FC236}">
                  <a16:creationId xmlns:a16="http://schemas.microsoft.com/office/drawing/2014/main" id="{811C416F-B84C-C041-86B8-D08C4B2F651D}"/>
                </a:ext>
              </a:extLst>
            </p:cNvPr>
            <p:cNvSpPr>
              <a:spLocks/>
            </p:cNvSpPr>
            <p:nvPr userDrawn="1"/>
          </p:nvSpPr>
          <p:spPr bwMode="auto">
            <a:xfrm>
              <a:off x="4038600" y="2439988"/>
              <a:ext cx="82550" cy="457200"/>
            </a:xfrm>
            <a:custGeom>
              <a:avLst/>
              <a:gdLst>
                <a:gd name="T0" fmla="*/ 8 w 18"/>
                <a:gd name="T1" fmla="*/ 95 h 98"/>
                <a:gd name="T2" fmla="*/ 16 w 18"/>
                <a:gd name="T3" fmla="*/ 85 h 98"/>
                <a:gd name="T4" fmla="*/ 7 w 18"/>
                <a:gd name="T5" fmla="*/ 5 h 98"/>
                <a:gd name="T6" fmla="*/ 3 w 18"/>
                <a:gd name="T7" fmla="*/ 0 h 98"/>
                <a:gd name="T8" fmla="*/ 1 w 18"/>
                <a:gd name="T9" fmla="*/ 6 h 98"/>
                <a:gd name="T10" fmla="*/ 5 w 18"/>
                <a:gd name="T11" fmla="*/ 80 h 98"/>
                <a:gd name="T12" fmla="*/ 8 w 18"/>
                <a:gd name="T13" fmla="*/ 95 h 98"/>
              </a:gdLst>
              <a:ahLst/>
              <a:cxnLst>
                <a:cxn ang="0">
                  <a:pos x="T0" y="T1"/>
                </a:cxn>
                <a:cxn ang="0">
                  <a:pos x="T2" y="T3"/>
                </a:cxn>
                <a:cxn ang="0">
                  <a:pos x="T4" y="T5"/>
                </a:cxn>
                <a:cxn ang="0">
                  <a:pos x="T6" y="T7"/>
                </a:cxn>
                <a:cxn ang="0">
                  <a:pos x="T8" y="T9"/>
                </a:cxn>
                <a:cxn ang="0">
                  <a:pos x="T10" y="T11"/>
                </a:cxn>
                <a:cxn ang="0">
                  <a:pos x="T12" y="T13"/>
                </a:cxn>
              </a:cxnLst>
              <a:rect l="0" t="0" r="r" b="b"/>
              <a:pathLst>
                <a:path w="18" h="98">
                  <a:moveTo>
                    <a:pt x="8" y="95"/>
                  </a:moveTo>
                  <a:cubicBezTo>
                    <a:pt x="10" y="98"/>
                    <a:pt x="14" y="96"/>
                    <a:pt x="16" y="85"/>
                  </a:cubicBezTo>
                  <a:cubicBezTo>
                    <a:pt x="17" y="77"/>
                    <a:pt x="18" y="36"/>
                    <a:pt x="7" y="5"/>
                  </a:cubicBezTo>
                  <a:cubicBezTo>
                    <a:pt x="7" y="5"/>
                    <a:pt x="6" y="0"/>
                    <a:pt x="3" y="0"/>
                  </a:cubicBezTo>
                  <a:cubicBezTo>
                    <a:pt x="0" y="0"/>
                    <a:pt x="0" y="2"/>
                    <a:pt x="1" y="6"/>
                  </a:cubicBezTo>
                  <a:cubicBezTo>
                    <a:pt x="2" y="10"/>
                    <a:pt x="9" y="42"/>
                    <a:pt x="5" y="80"/>
                  </a:cubicBezTo>
                  <a:cubicBezTo>
                    <a:pt x="5" y="84"/>
                    <a:pt x="6" y="92"/>
                    <a:pt x="8" y="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215"/>
            </a:p>
          </p:txBody>
        </p:sp>
        <p:sp>
          <p:nvSpPr>
            <p:cNvPr id="100" name="Freeform 17">
              <a:extLst>
                <a:ext uri="{FF2B5EF4-FFF2-40B4-BE49-F238E27FC236}">
                  <a16:creationId xmlns:a16="http://schemas.microsoft.com/office/drawing/2014/main" id="{89FCE0C4-F8E6-B849-A010-A24D465D1447}"/>
                </a:ext>
              </a:extLst>
            </p:cNvPr>
            <p:cNvSpPr>
              <a:spLocks/>
            </p:cNvSpPr>
            <p:nvPr userDrawn="1"/>
          </p:nvSpPr>
          <p:spPr bwMode="auto">
            <a:xfrm>
              <a:off x="3494088" y="3297238"/>
              <a:ext cx="320675" cy="120650"/>
            </a:xfrm>
            <a:custGeom>
              <a:avLst/>
              <a:gdLst>
                <a:gd name="T0" fmla="*/ 60 w 69"/>
                <a:gd name="T1" fmla="*/ 2 h 26"/>
                <a:gd name="T2" fmla="*/ 7 w 69"/>
                <a:gd name="T3" fmla="*/ 18 h 26"/>
                <a:gd name="T4" fmla="*/ 0 w 69"/>
                <a:gd name="T5" fmla="*/ 22 h 26"/>
                <a:gd name="T6" fmla="*/ 6 w 69"/>
                <a:gd name="T7" fmla="*/ 25 h 26"/>
                <a:gd name="T8" fmla="*/ 64 w 69"/>
                <a:gd name="T9" fmla="*/ 11 h 26"/>
                <a:gd name="T10" fmla="*/ 67 w 69"/>
                <a:gd name="T11" fmla="*/ 2 h 26"/>
                <a:gd name="T12" fmla="*/ 60 w 69"/>
                <a:gd name="T13" fmla="*/ 2 h 26"/>
              </a:gdLst>
              <a:ahLst/>
              <a:cxnLst>
                <a:cxn ang="0">
                  <a:pos x="T0" y="T1"/>
                </a:cxn>
                <a:cxn ang="0">
                  <a:pos x="T2" y="T3"/>
                </a:cxn>
                <a:cxn ang="0">
                  <a:pos x="T4" y="T5"/>
                </a:cxn>
                <a:cxn ang="0">
                  <a:pos x="T6" y="T7"/>
                </a:cxn>
                <a:cxn ang="0">
                  <a:pos x="T8" y="T9"/>
                </a:cxn>
                <a:cxn ang="0">
                  <a:pos x="T10" y="T11"/>
                </a:cxn>
                <a:cxn ang="0">
                  <a:pos x="T12" y="T13"/>
                </a:cxn>
              </a:cxnLst>
              <a:rect l="0" t="0" r="r" b="b"/>
              <a:pathLst>
                <a:path w="69" h="26">
                  <a:moveTo>
                    <a:pt x="60" y="2"/>
                  </a:moveTo>
                  <a:cubicBezTo>
                    <a:pt x="58" y="3"/>
                    <a:pt x="30" y="16"/>
                    <a:pt x="7" y="18"/>
                  </a:cubicBezTo>
                  <a:cubicBezTo>
                    <a:pt x="0" y="19"/>
                    <a:pt x="0" y="20"/>
                    <a:pt x="0" y="22"/>
                  </a:cubicBezTo>
                  <a:cubicBezTo>
                    <a:pt x="1" y="23"/>
                    <a:pt x="1" y="25"/>
                    <a:pt x="6" y="25"/>
                  </a:cubicBezTo>
                  <a:cubicBezTo>
                    <a:pt x="11" y="26"/>
                    <a:pt x="60" y="13"/>
                    <a:pt x="64" y="11"/>
                  </a:cubicBezTo>
                  <a:cubicBezTo>
                    <a:pt x="67" y="8"/>
                    <a:pt x="69" y="5"/>
                    <a:pt x="67" y="2"/>
                  </a:cubicBezTo>
                  <a:cubicBezTo>
                    <a:pt x="65" y="0"/>
                    <a:pt x="62" y="1"/>
                    <a:pt x="6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215"/>
            </a:p>
          </p:txBody>
        </p:sp>
        <p:sp>
          <p:nvSpPr>
            <p:cNvPr id="101" name="Freeform 18">
              <a:extLst>
                <a:ext uri="{FF2B5EF4-FFF2-40B4-BE49-F238E27FC236}">
                  <a16:creationId xmlns:a16="http://schemas.microsoft.com/office/drawing/2014/main" id="{29A30DF4-5BB1-CE43-89CD-5536B5631918}"/>
                </a:ext>
              </a:extLst>
            </p:cNvPr>
            <p:cNvSpPr>
              <a:spLocks/>
            </p:cNvSpPr>
            <p:nvPr userDrawn="1"/>
          </p:nvSpPr>
          <p:spPr bwMode="auto">
            <a:xfrm>
              <a:off x="3563938" y="2743200"/>
              <a:ext cx="255588" cy="260350"/>
            </a:xfrm>
            <a:custGeom>
              <a:avLst/>
              <a:gdLst>
                <a:gd name="T0" fmla="*/ 31 w 55"/>
                <a:gd name="T1" fmla="*/ 22 h 56"/>
                <a:gd name="T2" fmla="*/ 9 w 55"/>
                <a:gd name="T3" fmla="*/ 3 h 56"/>
                <a:gd name="T4" fmla="*/ 2 w 55"/>
                <a:gd name="T5" fmla="*/ 1 h 56"/>
                <a:gd name="T6" fmla="*/ 8 w 55"/>
                <a:gd name="T7" fmla="*/ 10 h 56"/>
                <a:gd name="T8" fmla="*/ 27 w 55"/>
                <a:gd name="T9" fmla="*/ 30 h 56"/>
                <a:gd name="T10" fmla="*/ 45 w 55"/>
                <a:gd name="T11" fmla="*/ 53 h 56"/>
                <a:gd name="T12" fmla="*/ 53 w 55"/>
                <a:gd name="T13" fmla="*/ 53 h 56"/>
                <a:gd name="T14" fmla="*/ 52 w 55"/>
                <a:gd name="T15" fmla="*/ 44 h 56"/>
                <a:gd name="T16" fmla="*/ 31 w 55"/>
                <a:gd name="T17" fmla="*/ 2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 h="56">
                  <a:moveTo>
                    <a:pt x="31" y="22"/>
                  </a:moveTo>
                  <a:cubicBezTo>
                    <a:pt x="20" y="11"/>
                    <a:pt x="9" y="4"/>
                    <a:pt x="9" y="3"/>
                  </a:cubicBezTo>
                  <a:cubicBezTo>
                    <a:pt x="6" y="1"/>
                    <a:pt x="3" y="0"/>
                    <a:pt x="2" y="1"/>
                  </a:cubicBezTo>
                  <a:cubicBezTo>
                    <a:pt x="0" y="4"/>
                    <a:pt x="6" y="9"/>
                    <a:pt x="8" y="10"/>
                  </a:cubicBezTo>
                  <a:cubicBezTo>
                    <a:pt x="9" y="11"/>
                    <a:pt x="18" y="19"/>
                    <a:pt x="27" y="30"/>
                  </a:cubicBezTo>
                  <a:cubicBezTo>
                    <a:pt x="38" y="43"/>
                    <a:pt x="45" y="52"/>
                    <a:pt x="45" y="53"/>
                  </a:cubicBezTo>
                  <a:cubicBezTo>
                    <a:pt x="47" y="54"/>
                    <a:pt x="51" y="56"/>
                    <a:pt x="53" y="53"/>
                  </a:cubicBezTo>
                  <a:cubicBezTo>
                    <a:pt x="55" y="50"/>
                    <a:pt x="54" y="47"/>
                    <a:pt x="52" y="44"/>
                  </a:cubicBezTo>
                  <a:cubicBezTo>
                    <a:pt x="51" y="42"/>
                    <a:pt x="41" y="32"/>
                    <a:pt x="31"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215"/>
            </a:p>
          </p:txBody>
        </p:sp>
        <p:sp>
          <p:nvSpPr>
            <p:cNvPr id="102" name="Freeform 19">
              <a:extLst>
                <a:ext uri="{FF2B5EF4-FFF2-40B4-BE49-F238E27FC236}">
                  <a16:creationId xmlns:a16="http://schemas.microsoft.com/office/drawing/2014/main" id="{3FF4363C-A580-4441-9D99-E516C6EAF078}"/>
                </a:ext>
              </a:extLst>
            </p:cNvPr>
            <p:cNvSpPr>
              <a:spLocks/>
            </p:cNvSpPr>
            <p:nvPr userDrawn="1"/>
          </p:nvSpPr>
          <p:spPr bwMode="auto">
            <a:xfrm>
              <a:off x="6624638" y="4637088"/>
              <a:ext cx="68263" cy="312737"/>
            </a:xfrm>
            <a:custGeom>
              <a:avLst/>
              <a:gdLst>
                <a:gd name="T0" fmla="*/ 12 w 15"/>
                <a:gd name="T1" fmla="*/ 58 h 67"/>
                <a:gd name="T2" fmla="*/ 13 w 15"/>
                <a:gd name="T3" fmla="*/ 15 h 67"/>
                <a:gd name="T4" fmla="*/ 14 w 15"/>
                <a:gd name="T5" fmla="*/ 13 h 67"/>
                <a:gd name="T6" fmla="*/ 12 w 15"/>
                <a:gd name="T7" fmla="*/ 4 h 67"/>
                <a:gd name="T8" fmla="*/ 4 w 15"/>
                <a:gd name="T9" fmla="*/ 4 h 67"/>
                <a:gd name="T10" fmla="*/ 4 w 15"/>
                <a:gd name="T11" fmla="*/ 11 h 67"/>
                <a:gd name="T12" fmla="*/ 4 w 15"/>
                <a:gd name="T13" fmla="*/ 57 h 67"/>
                <a:gd name="T14" fmla="*/ 12 w 15"/>
                <a:gd name="T15" fmla="*/ 58 h 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67">
                  <a:moveTo>
                    <a:pt x="12" y="58"/>
                  </a:moveTo>
                  <a:cubicBezTo>
                    <a:pt x="12" y="52"/>
                    <a:pt x="9" y="35"/>
                    <a:pt x="13" y="15"/>
                  </a:cubicBezTo>
                  <a:cubicBezTo>
                    <a:pt x="13" y="15"/>
                    <a:pt x="13" y="15"/>
                    <a:pt x="14" y="13"/>
                  </a:cubicBezTo>
                  <a:cubicBezTo>
                    <a:pt x="13" y="15"/>
                    <a:pt x="15" y="8"/>
                    <a:pt x="12" y="4"/>
                  </a:cubicBezTo>
                  <a:cubicBezTo>
                    <a:pt x="8" y="0"/>
                    <a:pt x="5" y="0"/>
                    <a:pt x="4" y="4"/>
                  </a:cubicBezTo>
                  <a:cubicBezTo>
                    <a:pt x="4" y="7"/>
                    <a:pt x="4" y="7"/>
                    <a:pt x="4" y="11"/>
                  </a:cubicBezTo>
                  <a:cubicBezTo>
                    <a:pt x="3" y="15"/>
                    <a:pt x="0" y="43"/>
                    <a:pt x="4" y="57"/>
                  </a:cubicBezTo>
                  <a:cubicBezTo>
                    <a:pt x="6" y="61"/>
                    <a:pt x="11" y="67"/>
                    <a:pt x="12" y="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215"/>
            </a:p>
          </p:txBody>
        </p:sp>
        <p:sp>
          <p:nvSpPr>
            <p:cNvPr id="103" name="Freeform 20">
              <a:extLst>
                <a:ext uri="{FF2B5EF4-FFF2-40B4-BE49-F238E27FC236}">
                  <a16:creationId xmlns:a16="http://schemas.microsoft.com/office/drawing/2014/main" id="{5BA0510E-2CFE-394A-9787-D6AD8FFCCFC8}"/>
                </a:ext>
              </a:extLst>
            </p:cNvPr>
            <p:cNvSpPr>
              <a:spLocks/>
            </p:cNvSpPr>
            <p:nvPr userDrawn="1"/>
          </p:nvSpPr>
          <p:spPr bwMode="auto">
            <a:xfrm>
              <a:off x="8647113" y="5634038"/>
              <a:ext cx="441325" cy="344487"/>
            </a:xfrm>
            <a:custGeom>
              <a:avLst/>
              <a:gdLst>
                <a:gd name="T0" fmla="*/ 12 w 95"/>
                <a:gd name="T1" fmla="*/ 8 h 74"/>
                <a:gd name="T2" fmla="*/ 4 w 95"/>
                <a:gd name="T3" fmla="*/ 9 h 74"/>
                <a:gd name="T4" fmla="*/ 33 w 95"/>
                <a:gd name="T5" fmla="*/ 36 h 74"/>
                <a:gd name="T6" fmla="*/ 88 w 95"/>
                <a:gd name="T7" fmla="*/ 68 h 74"/>
                <a:gd name="T8" fmla="*/ 94 w 95"/>
                <a:gd name="T9" fmla="*/ 66 h 74"/>
                <a:gd name="T10" fmla="*/ 70 w 95"/>
                <a:gd name="T11" fmla="*/ 44 h 74"/>
                <a:gd name="T12" fmla="*/ 12 w 95"/>
                <a:gd name="T13" fmla="*/ 8 h 74"/>
              </a:gdLst>
              <a:ahLst/>
              <a:cxnLst>
                <a:cxn ang="0">
                  <a:pos x="T0" y="T1"/>
                </a:cxn>
                <a:cxn ang="0">
                  <a:pos x="T2" y="T3"/>
                </a:cxn>
                <a:cxn ang="0">
                  <a:pos x="T4" y="T5"/>
                </a:cxn>
                <a:cxn ang="0">
                  <a:pos x="T6" y="T7"/>
                </a:cxn>
                <a:cxn ang="0">
                  <a:pos x="T8" y="T9"/>
                </a:cxn>
                <a:cxn ang="0">
                  <a:pos x="T10" y="T11"/>
                </a:cxn>
                <a:cxn ang="0">
                  <a:pos x="T12" y="T13"/>
                </a:cxn>
              </a:cxnLst>
              <a:rect l="0" t="0" r="r" b="b"/>
              <a:pathLst>
                <a:path w="95" h="74">
                  <a:moveTo>
                    <a:pt x="12" y="8"/>
                  </a:moveTo>
                  <a:cubicBezTo>
                    <a:pt x="6" y="0"/>
                    <a:pt x="0" y="5"/>
                    <a:pt x="4" y="9"/>
                  </a:cubicBezTo>
                  <a:cubicBezTo>
                    <a:pt x="6" y="12"/>
                    <a:pt x="16" y="25"/>
                    <a:pt x="33" y="36"/>
                  </a:cubicBezTo>
                  <a:cubicBezTo>
                    <a:pt x="55" y="50"/>
                    <a:pt x="64" y="43"/>
                    <a:pt x="88" y="68"/>
                  </a:cubicBezTo>
                  <a:cubicBezTo>
                    <a:pt x="95" y="74"/>
                    <a:pt x="94" y="66"/>
                    <a:pt x="94" y="66"/>
                  </a:cubicBezTo>
                  <a:cubicBezTo>
                    <a:pt x="94" y="66"/>
                    <a:pt x="82" y="50"/>
                    <a:pt x="70" y="44"/>
                  </a:cubicBezTo>
                  <a:cubicBezTo>
                    <a:pt x="59" y="38"/>
                    <a:pt x="27" y="26"/>
                    <a:pt x="1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215"/>
            </a:p>
          </p:txBody>
        </p:sp>
        <p:sp>
          <p:nvSpPr>
            <p:cNvPr id="104" name="Freeform 21">
              <a:extLst>
                <a:ext uri="{FF2B5EF4-FFF2-40B4-BE49-F238E27FC236}">
                  <a16:creationId xmlns:a16="http://schemas.microsoft.com/office/drawing/2014/main" id="{8B41C25F-3894-5746-9972-EF55FB8B0022}"/>
                </a:ext>
              </a:extLst>
            </p:cNvPr>
            <p:cNvSpPr>
              <a:spLocks/>
            </p:cNvSpPr>
            <p:nvPr userDrawn="1"/>
          </p:nvSpPr>
          <p:spPr bwMode="auto">
            <a:xfrm>
              <a:off x="8605838" y="5795963"/>
              <a:ext cx="366713" cy="339725"/>
            </a:xfrm>
            <a:custGeom>
              <a:avLst/>
              <a:gdLst>
                <a:gd name="T0" fmla="*/ 30 w 79"/>
                <a:gd name="T1" fmla="*/ 29 h 73"/>
                <a:gd name="T2" fmla="*/ 8 w 79"/>
                <a:gd name="T3" fmla="*/ 5 h 73"/>
                <a:gd name="T4" fmla="*/ 2 w 79"/>
                <a:gd name="T5" fmla="*/ 1 h 73"/>
                <a:gd name="T6" fmla="*/ 1 w 79"/>
                <a:gd name="T7" fmla="*/ 8 h 73"/>
                <a:gd name="T8" fmla="*/ 25 w 79"/>
                <a:gd name="T9" fmla="*/ 41 h 73"/>
                <a:gd name="T10" fmla="*/ 70 w 79"/>
                <a:gd name="T11" fmla="*/ 68 h 73"/>
                <a:gd name="T12" fmla="*/ 76 w 79"/>
                <a:gd name="T13" fmla="*/ 73 h 73"/>
                <a:gd name="T14" fmla="*/ 78 w 79"/>
                <a:gd name="T15" fmla="*/ 67 h 73"/>
                <a:gd name="T16" fmla="*/ 30 w 79"/>
                <a:gd name="T17" fmla="*/ 29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 h="73">
                  <a:moveTo>
                    <a:pt x="30" y="29"/>
                  </a:moveTo>
                  <a:cubicBezTo>
                    <a:pt x="24" y="26"/>
                    <a:pt x="15" y="20"/>
                    <a:pt x="8" y="5"/>
                  </a:cubicBezTo>
                  <a:cubicBezTo>
                    <a:pt x="8" y="5"/>
                    <a:pt x="4" y="0"/>
                    <a:pt x="2" y="1"/>
                  </a:cubicBezTo>
                  <a:cubicBezTo>
                    <a:pt x="0" y="2"/>
                    <a:pt x="1" y="8"/>
                    <a:pt x="1" y="8"/>
                  </a:cubicBezTo>
                  <a:cubicBezTo>
                    <a:pt x="1" y="8"/>
                    <a:pt x="5" y="32"/>
                    <a:pt x="25" y="41"/>
                  </a:cubicBezTo>
                  <a:cubicBezTo>
                    <a:pt x="62" y="56"/>
                    <a:pt x="73" y="71"/>
                    <a:pt x="70" y="68"/>
                  </a:cubicBezTo>
                  <a:cubicBezTo>
                    <a:pt x="70" y="68"/>
                    <a:pt x="75" y="73"/>
                    <a:pt x="76" y="73"/>
                  </a:cubicBezTo>
                  <a:cubicBezTo>
                    <a:pt x="77" y="73"/>
                    <a:pt x="79" y="69"/>
                    <a:pt x="78" y="67"/>
                  </a:cubicBezTo>
                  <a:cubicBezTo>
                    <a:pt x="78" y="65"/>
                    <a:pt x="72" y="48"/>
                    <a:pt x="30"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215"/>
            </a:p>
          </p:txBody>
        </p:sp>
        <p:sp>
          <p:nvSpPr>
            <p:cNvPr id="105" name="Freeform 22">
              <a:extLst>
                <a:ext uri="{FF2B5EF4-FFF2-40B4-BE49-F238E27FC236}">
                  <a16:creationId xmlns:a16="http://schemas.microsoft.com/office/drawing/2014/main" id="{A5C49826-5B93-C644-B1FB-3278BE9DB391}"/>
                </a:ext>
              </a:extLst>
            </p:cNvPr>
            <p:cNvSpPr>
              <a:spLocks/>
            </p:cNvSpPr>
            <p:nvPr userDrawn="1"/>
          </p:nvSpPr>
          <p:spPr bwMode="auto">
            <a:xfrm>
              <a:off x="8786813" y="4335463"/>
              <a:ext cx="209550" cy="679450"/>
            </a:xfrm>
            <a:custGeom>
              <a:avLst/>
              <a:gdLst>
                <a:gd name="T0" fmla="*/ 9 w 45"/>
                <a:gd name="T1" fmla="*/ 141 h 146"/>
                <a:gd name="T2" fmla="*/ 33 w 45"/>
                <a:gd name="T3" fmla="*/ 87 h 146"/>
                <a:gd name="T4" fmla="*/ 39 w 45"/>
                <a:gd name="T5" fmla="*/ 11 h 146"/>
                <a:gd name="T6" fmla="*/ 42 w 45"/>
                <a:gd name="T7" fmla="*/ 3 h 146"/>
                <a:gd name="T8" fmla="*/ 34 w 45"/>
                <a:gd name="T9" fmla="*/ 8 h 146"/>
                <a:gd name="T10" fmla="*/ 22 w 45"/>
                <a:gd name="T11" fmla="*/ 91 h 146"/>
                <a:gd name="T12" fmla="*/ 6 w 45"/>
                <a:gd name="T13" fmla="*/ 135 h 146"/>
                <a:gd name="T14" fmla="*/ 2 w 45"/>
                <a:gd name="T15" fmla="*/ 144 h 146"/>
                <a:gd name="T16" fmla="*/ 9 w 45"/>
                <a:gd name="T17" fmla="*/ 141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146">
                  <a:moveTo>
                    <a:pt x="9" y="141"/>
                  </a:moveTo>
                  <a:cubicBezTo>
                    <a:pt x="9" y="141"/>
                    <a:pt x="32" y="115"/>
                    <a:pt x="33" y="87"/>
                  </a:cubicBezTo>
                  <a:cubicBezTo>
                    <a:pt x="33" y="78"/>
                    <a:pt x="29" y="30"/>
                    <a:pt x="39" y="11"/>
                  </a:cubicBezTo>
                  <a:cubicBezTo>
                    <a:pt x="39" y="11"/>
                    <a:pt x="45" y="6"/>
                    <a:pt x="42" y="3"/>
                  </a:cubicBezTo>
                  <a:cubicBezTo>
                    <a:pt x="39" y="0"/>
                    <a:pt x="35" y="7"/>
                    <a:pt x="34" y="8"/>
                  </a:cubicBezTo>
                  <a:cubicBezTo>
                    <a:pt x="34" y="8"/>
                    <a:pt x="22" y="10"/>
                    <a:pt x="22" y="91"/>
                  </a:cubicBezTo>
                  <a:cubicBezTo>
                    <a:pt x="22" y="109"/>
                    <a:pt x="6" y="135"/>
                    <a:pt x="6" y="135"/>
                  </a:cubicBezTo>
                  <a:cubicBezTo>
                    <a:pt x="6" y="135"/>
                    <a:pt x="0" y="142"/>
                    <a:pt x="2" y="144"/>
                  </a:cubicBezTo>
                  <a:cubicBezTo>
                    <a:pt x="4" y="146"/>
                    <a:pt x="9" y="141"/>
                    <a:pt x="9" y="1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215"/>
            </a:p>
          </p:txBody>
        </p:sp>
        <p:sp>
          <p:nvSpPr>
            <p:cNvPr id="106" name="Freeform 23">
              <a:extLst>
                <a:ext uri="{FF2B5EF4-FFF2-40B4-BE49-F238E27FC236}">
                  <a16:creationId xmlns:a16="http://schemas.microsoft.com/office/drawing/2014/main" id="{9BA44516-EE84-674B-BD0A-C19EB0586D1B}"/>
                </a:ext>
              </a:extLst>
            </p:cNvPr>
            <p:cNvSpPr>
              <a:spLocks/>
            </p:cNvSpPr>
            <p:nvPr userDrawn="1"/>
          </p:nvSpPr>
          <p:spPr bwMode="auto">
            <a:xfrm>
              <a:off x="8502650" y="4627563"/>
              <a:ext cx="107950" cy="471487"/>
            </a:xfrm>
            <a:custGeom>
              <a:avLst/>
              <a:gdLst>
                <a:gd name="T0" fmla="*/ 16 w 23"/>
                <a:gd name="T1" fmla="*/ 9 h 101"/>
                <a:gd name="T2" fmla="*/ 15 w 23"/>
                <a:gd name="T3" fmla="*/ 8 h 101"/>
                <a:gd name="T4" fmla="*/ 11 w 23"/>
                <a:gd name="T5" fmla="*/ 1 h 101"/>
                <a:gd name="T6" fmla="*/ 9 w 23"/>
                <a:gd name="T7" fmla="*/ 8 h 101"/>
                <a:gd name="T8" fmla="*/ 4 w 23"/>
                <a:gd name="T9" fmla="*/ 93 h 101"/>
                <a:gd name="T10" fmla="*/ 2 w 23"/>
                <a:gd name="T11" fmla="*/ 99 h 101"/>
                <a:gd name="T12" fmla="*/ 7 w 23"/>
                <a:gd name="T13" fmla="*/ 98 h 101"/>
                <a:gd name="T14" fmla="*/ 21 w 23"/>
                <a:gd name="T15" fmla="*/ 68 h 101"/>
                <a:gd name="T16" fmla="*/ 16 w 23"/>
                <a:gd name="T17" fmla="*/ 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101">
                  <a:moveTo>
                    <a:pt x="16" y="9"/>
                  </a:moveTo>
                  <a:cubicBezTo>
                    <a:pt x="16" y="9"/>
                    <a:pt x="16" y="9"/>
                    <a:pt x="15" y="8"/>
                  </a:cubicBezTo>
                  <a:cubicBezTo>
                    <a:pt x="15" y="8"/>
                    <a:pt x="14" y="0"/>
                    <a:pt x="11" y="1"/>
                  </a:cubicBezTo>
                  <a:cubicBezTo>
                    <a:pt x="9" y="2"/>
                    <a:pt x="7" y="5"/>
                    <a:pt x="9" y="8"/>
                  </a:cubicBezTo>
                  <a:cubicBezTo>
                    <a:pt x="10" y="12"/>
                    <a:pt x="15" y="70"/>
                    <a:pt x="4" y="93"/>
                  </a:cubicBezTo>
                  <a:cubicBezTo>
                    <a:pt x="2" y="96"/>
                    <a:pt x="0" y="98"/>
                    <a:pt x="2" y="99"/>
                  </a:cubicBezTo>
                  <a:cubicBezTo>
                    <a:pt x="3" y="101"/>
                    <a:pt x="4" y="100"/>
                    <a:pt x="7" y="98"/>
                  </a:cubicBezTo>
                  <a:cubicBezTo>
                    <a:pt x="9" y="96"/>
                    <a:pt x="20" y="78"/>
                    <a:pt x="21" y="68"/>
                  </a:cubicBezTo>
                  <a:cubicBezTo>
                    <a:pt x="23" y="48"/>
                    <a:pt x="15" y="10"/>
                    <a:pt x="16"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215"/>
            </a:p>
          </p:txBody>
        </p:sp>
        <p:sp>
          <p:nvSpPr>
            <p:cNvPr id="107" name="Freeform 24">
              <a:extLst>
                <a:ext uri="{FF2B5EF4-FFF2-40B4-BE49-F238E27FC236}">
                  <a16:creationId xmlns:a16="http://schemas.microsoft.com/office/drawing/2014/main" id="{25D8C044-B76F-2F40-AE3D-F9827F8E444D}"/>
                </a:ext>
              </a:extLst>
            </p:cNvPr>
            <p:cNvSpPr>
              <a:spLocks/>
            </p:cNvSpPr>
            <p:nvPr userDrawn="1"/>
          </p:nvSpPr>
          <p:spPr bwMode="auto">
            <a:xfrm>
              <a:off x="8796338" y="4894263"/>
              <a:ext cx="412750" cy="409575"/>
            </a:xfrm>
            <a:custGeom>
              <a:avLst/>
              <a:gdLst>
                <a:gd name="T0" fmla="*/ 81 w 89"/>
                <a:gd name="T1" fmla="*/ 6 h 88"/>
                <a:gd name="T2" fmla="*/ 11 w 89"/>
                <a:gd name="T3" fmla="*/ 78 h 88"/>
                <a:gd name="T4" fmla="*/ 1 w 89"/>
                <a:gd name="T5" fmla="*/ 86 h 88"/>
                <a:gd name="T6" fmla="*/ 12 w 89"/>
                <a:gd name="T7" fmla="*/ 86 h 88"/>
                <a:gd name="T8" fmla="*/ 86 w 89"/>
                <a:gd name="T9" fmla="*/ 10 h 88"/>
                <a:gd name="T10" fmla="*/ 87 w 89"/>
                <a:gd name="T11" fmla="*/ 2 h 88"/>
                <a:gd name="T12" fmla="*/ 81 w 89"/>
                <a:gd name="T13" fmla="*/ 6 h 88"/>
              </a:gdLst>
              <a:ahLst/>
              <a:cxnLst>
                <a:cxn ang="0">
                  <a:pos x="T0" y="T1"/>
                </a:cxn>
                <a:cxn ang="0">
                  <a:pos x="T2" y="T3"/>
                </a:cxn>
                <a:cxn ang="0">
                  <a:pos x="T4" y="T5"/>
                </a:cxn>
                <a:cxn ang="0">
                  <a:pos x="T6" y="T7"/>
                </a:cxn>
                <a:cxn ang="0">
                  <a:pos x="T8" y="T9"/>
                </a:cxn>
                <a:cxn ang="0">
                  <a:pos x="T10" y="T11"/>
                </a:cxn>
                <a:cxn ang="0">
                  <a:pos x="T12" y="T13"/>
                </a:cxn>
              </a:cxnLst>
              <a:rect l="0" t="0" r="r" b="b"/>
              <a:pathLst>
                <a:path w="89" h="88">
                  <a:moveTo>
                    <a:pt x="81" y="6"/>
                  </a:moveTo>
                  <a:cubicBezTo>
                    <a:pt x="79" y="8"/>
                    <a:pt x="48" y="58"/>
                    <a:pt x="11" y="78"/>
                  </a:cubicBezTo>
                  <a:cubicBezTo>
                    <a:pt x="6" y="80"/>
                    <a:pt x="0" y="85"/>
                    <a:pt x="1" y="86"/>
                  </a:cubicBezTo>
                  <a:cubicBezTo>
                    <a:pt x="2" y="88"/>
                    <a:pt x="5" y="88"/>
                    <a:pt x="12" y="86"/>
                  </a:cubicBezTo>
                  <a:cubicBezTo>
                    <a:pt x="19" y="83"/>
                    <a:pt x="59" y="63"/>
                    <a:pt x="86" y="10"/>
                  </a:cubicBezTo>
                  <a:cubicBezTo>
                    <a:pt x="86" y="10"/>
                    <a:pt x="89" y="4"/>
                    <a:pt x="87" y="2"/>
                  </a:cubicBezTo>
                  <a:cubicBezTo>
                    <a:pt x="85" y="0"/>
                    <a:pt x="83" y="4"/>
                    <a:pt x="81"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215"/>
            </a:p>
          </p:txBody>
        </p:sp>
        <p:sp>
          <p:nvSpPr>
            <p:cNvPr id="108" name="Freeform 25">
              <a:extLst>
                <a:ext uri="{FF2B5EF4-FFF2-40B4-BE49-F238E27FC236}">
                  <a16:creationId xmlns:a16="http://schemas.microsoft.com/office/drawing/2014/main" id="{EEC88A59-F23B-7146-9792-18FA38802853}"/>
                </a:ext>
              </a:extLst>
            </p:cNvPr>
            <p:cNvSpPr>
              <a:spLocks/>
            </p:cNvSpPr>
            <p:nvPr userDrawn="1"/>
          </p:nvSpPr>
          <p:spPr bwMode="auto">
            <a:xfrm>
              <a:off x="8810625" y="5521325"/>
              <a:ext cx="217488" cy="93662"/>
            </a:xfrm>
            <a:custGeom>
              <a:avLst/>
              <a:gdLst>
                <a:gd name="T0" fmla="*/ 2 w 47"/>
                <a:gd name="T1" fmla="*/ 4 h 20"/>
                <a:gd name="T2" fmla="*/ 15 w 47"/>
                <a:gd name="T3" fmla="*/ 14 h 20"/>
                <a:gd name="T4" fmla="*/ 35 w 47"/>
                <a:gd name="T5" fmla="*/ 19 h 20"/>
                <a:gd name="T6" fmla="*/ 42 w 47"/>
                <a:gd name="T7" fmla="*/ 16 h 20"/>
                <a:gd name="T8" fmla="*/ 11 w 47"/>
                <a:gd name="T9" fmla="*/ 5 h 20"/>
                <a:gd name="T10" fmla="*/ 2 w 47"/>
                <a:gd name="T11" fmla="*/ 4 h 20"/>
              </a:gdLst>
              <a:ahLst/>
              <a:cxnLst>
                <a:cxn ang="0">
                  <a:pos x="T0" y="T1"/>
                </a:cxn>
                <a:cxn ang="0">
                  <a:pos x="T2" y="T3"/>
                </a:cxn>
                <a:cxn ang="0">
                  <a:pos x="T4" y="T5"/>
                </a:cxn>
                <a:cxn ang="0">
                  <a:pos x="T6" y="T7"/>
                </a:cxn>
                <a:cxn ang="0">
                  <a:pos x="T8" y="T9"/>
                </a:cxn>
                <a:cxn ang="0">
                  <a:pos x="T10" y="T11"/>
                </a:cxn>
              </a:cxnLst>
              <a:rect l="0" t="0" r="r" b="b"/>
              <a:pathLst>
                <a:path w="47" h="20">
                  <a:moveTo>
                    <a:pt x="2" y="4"/>
                  </a:moveTo>
                  <a:cubicBezTo>
                    <a:pt x="3" y="8"/>
                    <a:pt x="9" y="12"/>
                    <a:pt x="15" y="14"/>
                  </a:cubicBezTo>
                  <a:cubicBezTo>
                    <a:pt x="21" y="16"/>
                    <a:pt x="32" y="17"/>
                    <a:pt x="35" y="19"/>
                  </a:cubicBezTo>
                  <a:cubicBezTo>
                    <a:pt x="39" y="20"/>
                    <a:pt x="47" y="20"/>
                    <a:pt x="42" y="16"/>
                  </a:cubicBezTo>
                  <a:cubicBezTo>
                    <a:pt x="42" y="16"/>
                    <a:pt x="14" y="7"/>
                    <a:pt x="11" y="5"/>
                  </a:cubicBezTo>
                  <a:cubicBezTo>
                    <a:pt x="7" y="4"/>
                    <a:pt x="0" y="0"/>
                    <a:pt x="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215"/>
            </a:p>
          </p:txBody>
        </p:sp>
        <p:sp>
          <p:nvSpPr>
            <p:cNvPr id="109" name="Freeform 26">
              <a:extLst>
                <a:ext uri="{FF2B5EF4-FFF2-40B4-BE49-F238E27FC236}">
                  <a16:creationId xmlns:a16="http://schemas.microsoft.com/office/drawing/2014/main" id="{6F098BAB-404B-0646-AEFC-D4E82DD69C7F}"/>
                </a:ext>
              </a:extLst>
            </p:cNvPr>
            <p:cNvSpPr>
              <a:spLocks/>
            </p:cNvSpPr>
            <p:nvPr userDrawn="1"/>
          </p:nvSpPr>
          <p:spPr bwMode="auto">
            <a:xfrm>
              <a:off x="8210550" y="4865688"/>
              <a:ext cx="115888" cy="223837"/>
            </a:xfrm>
            <a:custGeom>
              <a:avLst/>
              <a:gdLst>
                <a:gd name="T0" fmla="*/ 10 w 25"/>
                <a:gd name="T1" fmla="*/ 5 h 48"/>
                <a:gd name="T2" fmla="*/ 3 w 25"/>
                <a:gd name="T3" fmla="*/ 2 h 48"/>
                <a:gd name="T4" fmla="*/ 4 w 25"/>
                <a:gd name="T5" fmla="*/ 10 h 48"/>
                <a:gd name="T6" fmla="*/ 14 w 25"/>
                <a:gd name="T7" fmla="*/ 40 h 48"/>
                <a:gd name="T8" fmla="*/ 20 w 25"/>
                <a:gd name="T9" fmla="*/ 47 h 48"/>
                <a:gd name="T10" fmla="*/ 25 w 25"/>
                <a:gd name="T11" fmla="*/ 41 h 48"/>
                <a:gd name="T12" fmla="*/ 21 w 25"/>
                <a:gd name="T13" fmla="*/ 22 h 48"/>
                <a:gd name="T14" fmla="*/ 10 w 25"/>
                <a:gd name="T15" fmla="*/ 5 h 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48">
                  <a:moveTo>
                    <a:pt x="10" y="5"/>
                  </a:moveTo>
                  <a:cubicBezTo>
                    <a:pt x="10" y="5"/>
                    <a:pt x="6" y="0"/>
                    <a:pt x="3" y="2"/>
                  </a:cubicBezTo>
                  <a:cubicBezTo>
                    <a:pt x="0" y="5"/>
                    <a:pt x="2" y="6"/>
                    <a:pt x="4" y="10"/>
                  </a:cubicBezTo>
                  <a:cubicBezTo>
                    <a:pt x="6" y="13"/>
                    <a:pt x="14" y="27"/>
                    <a:pt x="14" y="40"/>
                  </a:cubicBezTo>
                  <a:cubicBezTo>
                    <a:pt x="15" y="44"/>
                    <a:pt x="17" y="48"/>
                    <a:pt x="20" y="47"/>
                  </a:cubicBezTo>
                  <a:cubicBezTo>
                    <a:pt x="22" y="46"/>
                    <a:pt x="25" y="44"/>
                    <a:pt x="25" y="41"/>
                  </a:cubicBezTo>
                  <a:cubicBezTo>
                    <a:pt x="24" y="39"/>
                    <a:pt x="24" y="29"/>
                    <a:pt x="21" y="22"/>
                  </a:cubicBezTo>
                  <a:cubicBezTo>
                    <a:pt x="17" y="12"/>
                    <a:pt x="10" y="5"/>
                    <a:pt x="1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215"/>
            </a:p>
          </p:txBody>
        </p:sp>
      </p:grpSp>
      <p:sp>
        <p:nvSpPr>
          <p:cNvPr id="2" name="Title 1"/>
          <p:cNvSpPr>
            <a:spLocks noGrp="1"/>
          </p:cNvSpPr>
          <p:nvPr>
            <p:ph type="title"/>
          </p:nvPr>
        </p:nvSpPr>
        <p:spPr>
          <a:xfrm>
            <a:off x="531692" y="606202"/>
            <a:ext cx="8374154" cy="468000"/>
          </a:xfrm>
        </p:spPr>
        <p:txBody>
          <a:bodyPr anchor="t"/>
          <a:lstStyle>
            <a:lvl1pPr>
              <a:defRPr sz="3939"/>
            </a:lvl1pPr>
          </a:lstStyle>
          <a:p>
            <a:r>
              <a:rPr lang="en-US"/>
              <a:t>Click to edit Master title style</a:t>
            </a:r>
          </a:p>
        </p:txBody>
      </p:sp>
      <p:sp>
        <p:nvSpPr>
          <p:cNvPr id="3" name="Text Placeholder 2"/>
          <p:cNvSpPr>
            <a:spLocks noGrp="1"/>
          </p:cNvSpPr>
          <p:nvPr>
            <p:ph type="body" idx="1"/>
          </p:nvPr>
        </p:nvSpPr>
        <p:spPr>
          <a:xfrm>
            <a:off x="550015" y="1050882"/>
            <a:ext cx="8374154" cy="823168"/>
          </a:xfrm>
        </p:spPr>
        <p:txBody>
          <a:bodyPr>
            <a:normAutofit/>
          </a:bodyPr>
          <a:lstStyle>
            <a:lvl1pPr marL="0" indent="0">
              <a:spcBef>
                <a:spcPts val="0"/>
              </a:spcBef>
              <a:buNone/>
              <a:defRPr sz="2954">
                <a:solidFill>
                  <a:schemeClr val="tx1"/>
                </a:solidFill>
              </a:defRPr>
            </a:lvl1pPr>
            <a:lvl2pPr marL="562722" indent="0">
              <a:buNone/>
              <a:defRPr sz="2462">
                <a:solidFill>
                  <a:schemeClr val="tx1">
                    <a:tint val="75000"/>
                  </a:schemeClr>
                </a:solidFill>
              </a:defRPr>
            </a:lvl2pPr>
            <a:lvl3pPr marL="1125444" indent="0">
              <a:buNone/>
              <a:defRPr sz="2215">
                <a:solidFill>
                  <a:schemeClr val="tx1">
                    <a:tint val="75000"/>
                  </a:schemeClr>
                </a:solidFill>
              </a:defRPr>
            </a:lvl3pPr>
            <a:lvl4pPr marL="1688165" indent="0">
              <a:buNone/>
              <a:defRPr sz="1969">
                <a:solidFill>
                  <a:schemeClr val="tx1">
                    <a:tint val="75000"/>
                  </a:schemeClr>
                </a:solidFill>
              </a:defRPr>
            </a:lvl4pPr>
            <a:lvl5pPr marL="2250887" indent="0">
              <a:buNone/>
              <a:defRPr sz="1969">
                <a:solidFill>
                  <a:schemeClr val="tx1">
                    <a:tint val="75000"/>
                  </a:schemeClr>
                </a:solidFill>
              </a:defRPr>
            </a:lvl5pPr>
            <a:lvl6pPr marL="2813609" indent="0">
              <a:buNone/>
              <a:defRPr sz="1969">
                <a:solidFill>
                  <a:schemeClr val="tx1">
                    <a:tint val="75000"/>
                  </a:schemeClr>
                </a:solidFill>
              </a:defRPr>
            </a:lvl6pPr>
            <a:lvl7pPr marL="3376331" indent="0">
              <a:buNone/>
              <a:defRPr sz="1969">
                <a:solidFill>
                  <a:schemeClr val="tx1">
                    <a:tint val="75000"/>
                  </a:schemeClr>
                </a:solidFill>
              </a:defRPr>
            </a:lvl7pPr>
            <a:lvl8pPr marL="3939052" indent="0">
              <a:buNone/>
              <a:defRPr sz="1969">
                <a:solidFill>
                  <a:schemeClr val="tx1">
                    <a:tint val="75000"/>
                  </a:schemeClr>
                </a:solidFill>
              </a:defRPr>
            </a:lvl8pPr>
            <a:lvl9pPr marL="4501774" indent="0">
              <a:buNone/>
              <a:defRPr sz="1969">
                <a:solidFill>
                  <a:schemeClr val="tx1">
                    <a:tint val="75000"/>
                  </a:schemeClr>
                </a:solidFill>
              </a:defRPr>
            </a:lvl9pPr>
          </a:lstStyle>
          <a:p>
            <a:pPr lvl="0"/>
            <a:r>
              <a:rPr lang="en-US"/>
              <a:t>Click to edit Master text styles</a:t>
            </a:r>
          </a:p>
        </p:txBody>
      </p:sp>
      <p:sp>
        <p:nvSpPr>
          <p:cNvPr id="4" name="Footer Placeholder 3"/>
          <p:cNvSpPr>
            <a:spLocks noGrp="1"/>
          </p:cNvSpPr>
          <p:nvPr>
            <p:ph type="ftr" sz="quarter" idx="10"/>
          </p:nvPr>
        </p:nvSpPr>
        <p:spPr/>
        <p:txBody>
          <a:bodyPr/>
          <a:lstStyle/>
          <a:p>
            <a:r>
              <a:rPr lang="en-GB"/>
              <a:t>Full-year results 2024</a:t>
            </a:r>
          </a:p>
        </p:txBody>
      </p:sp>
      <p:sp>
        <p:nvSpPr>
          <p:cNvPr id="5" name="Slide Number Placeholder 4"/>
          <p:cNvSpPr>
            <a:spLocks noGrp="1"/>
          </p:cNvSpPr>
          <p:nvPr>
            <p:ph type="sldNum" sz="quarter" idx="11"/>
          </p:nvPr>
        </p:nvSpPr>
        <p:spPr/>
        <p:txBody>
          <a:bodyPr/>
          <a:lstStyle/>
          <a:p>
            <a:fld id="{BFCF0D39-BEE8-4D89-987A-40261FE54395}" type="slidenum">
              <a:rPr lang="en-GB" smtClean="0"/>
              <a:pPr/>
              <a:t>‹#›</a:t>
            </a:fld>
            <a:endParaRPr lang="en-GB"/>
          </a:p>
        </p:txBody>
      </p:sp>
      <p:pic>
        <p:nvPicPr>
          <p:cNvPr id="6" name="Picture 5">
            <a:extLst>
              <a:ext uri="{FF2B5EF4-FFF2-40B4-BE49-F238E27FC236}">
                <a16:creationId xmlns:a16="http://schemas.microsoft.com/office/drawing/2014/main" id="{CAC8EB8E-3C29-C270-9DBB-5C0DA92B579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59195" y="351826"/>
            <a:ext cx="1699405" cy="484347"/>
          </a:xfrm>
          <a:prstGeom prst="rect">
            <a:avLst/>
          </a:prstGeom>
        </p:spPr>
      </p:pic>
    </p:spTree>
    <p:extLst>
      <p:ext uri="{BB962C8B-B14F-4D97-AF65-F5344CB8AC3E}">
        <p14:creationId xmlns:p14="http://schemas.microsoft.com/office/powerpoint/2010/main" val="2079094563"/>
      </p:ext>
    </p:extLst>
  </p:cSld>
  <p:clrMapOvr>
    <a:masterClrMapping/>
  </p:clrMapOvr>
  <p:extLst>
    <p:ext uri="{DCECCB84-F9BA-43D5-87BE-67443E8EF086}">
      <p15:sldGuideLst xmlns:p15="http://schemas.microsoft.com/office/powerpoint/2012/main">
        <p15:guide id="1" orient="horz" pos="595"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objTx"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31692" y="360000"/>
            <a:ext cx="8374154" cy="468000"/>
          </a:xfrm>
        </p:spPr>
        <p:txBody>
          <a:bodyPr anchor="b">
            <a:noAutofit/>
          </a:bodyPr>
          <a:lstStyle>
            <a:lvl1pPr>
              <a:defRPr sz="3940">
                <a:solidFill>
                  <a:schemeClr val="tx2"/>
                </a:solidFill>
              </a:defRPr>
            </a:lvl1pPr>
          </a:lstStyle>
          <a:p>
            <a:r>
              <a:rPr lang="en-US"/>
              <a:t>Click to edit Master title style</a:t>
            </a:r>
          </a:p>
        </p:txBody>
      </p:sp>
      <p:sp>
        <p:nvSpPr>
          <p:cNvPr id="3" name="Content Placeholder 2"/>
          <p:cNvSpPr>
            <a:spLocks noGrp="1"/>
          </p:cNvSpPr>
          <p:nvPr>
            <p:ph idx="1"/>
          </p:nvPr>
        </p:nvSpPr>
        <p:spPr>
          <a:xfrm>
            <a:off x="531694" y="1665289"/>
            <a:ext cx="5316923" cy="4500562"/>
          </a:xfrm>
        </p:spPr>
        <p:txBody>
          <a:bodyPr>
            <a:noAutofit/>
          </a:bodyPr>
          <a:lstStyle>
            <a:lvl1pPr>
              <a:defRPr sz="2215"/>
            </a:lvl1pPr>
            <a:lvl2pPr>
              <a:defRPr sz="1969"/>
            </a:lvl2pPr>
            <a:lvl3pPr>
              <a:defRPr sz="1969"/>
            </a:lvl3pPr>
            <a:lvl4pPr>
              <a:defRPr sz="1969"/>
            </a:lvl4pPr>
            <a:lvl5pPr>
              <a:defRPr sz="1969"/>
            </a:lvl5pPr>
            <a:lvl6pPr>
              <a:defRPr sz="2462"/>
            </a:lvl6pPr>
            <a:lvl7pPr>
              <a:defRPr sz="2462"/>
            </a:lvl7pPr>
            <a:lvl8pPr>
              <a:defRPr sz="2462"/>
            </a:lvl8pPr>
            <a:lvl9pPr>
              <a:defRPr sz="2462"/>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31692" y="828000"/>
            <a:ext cx="8374154" cy="324000"/>
          </a:xfrm>
        </p:spPr>
        <p:txBody>
          <a:bodyPr>
            <a:normAutofit/>
          </a:bodyPr>
          <a:lstStyle>
            <a:lvl1pPr marL="0" indent="0">
              <a:buNone/>
              <a:defRPr sz="2215">
                <a:solidFill>
                  <a:schemeClr val="tx1"/>
                </a:solidFill>
              </a:defRPr>
            </a:lvl1pPr>
            <a:lvl2pPr marL="562722" indent="0">
              <a:buNone/>
              <a:defRPr sz="1723"/>
            </a:lvl2pPr>
            <a:lvl3pPr marL="1125444" indent="0">
              <a:buNone/>
              <a:defRPr sz="1477"/>
            </a:lvl3pPr>
            <a:lvl4pPr marL="1688165" indent="0">
              <a:buNone/>
              <a:defRPr sz="1231"/>
            </a:lvl4pPr>
            <a:lvl5pPr marL="2250887" indent="0">
              <a:buNone/>
              <a:defRPr sz="1231"/>
            </a:lvl5pPr>
            <a:lvl6pPr marL="2813609" indent="0">
              <a:buNone/>
              <a:defRPr sz="1231"/>
            </a:lvl6pPr>
            <a:lvl7pPr marL="3376331" indent="0">
              <a:buNone/>
              <a:defRPr sz="1231"/>
            </a:lvl7pPr>
            <a:lvl8pPr marL="3939052" indent="0">
              <a:buNone/>
              <a:defRPr sz="1231"/>
            </a:lvl8pPr>
            <a:lvl9pPr marL="4501774" indent="0">
              <a:buNone/>
              <a:defRPr sz="1231"/>
            </a:lvl9pPr>
          </a:lstStyle>
          <a:p>
            <a:pPr lvl="0"/>
            <a:r>
              <a:rPr lang="en-US"/>
              <a:t>Click to edit Master text styles</a:t>
            </a:r>
          </a:p>
        </p:txBody>
      </p:sp>
      <p:sp>
        <p:nvSpPr>
          <p:cNvPr id="6" name="Footer Placeholder 5"/>
          <p:cNvSpPr>
            <a:spLocks noGrp="1"/>
          </p:cNvSpPr>
          <p:nvPr>
            <p:ph type="ftr" sz="quarter" idx="11"/>
          </p:nvPr>
        </p:nvSpPr>
        <p:spPr/>
        <p:txBody>
          <a:bodyPr/>
          <a:lstStyle/>
          <a:p>
            <a:r>
              <a:rPr lang="en-GB"/>
              <a:t>Full-year results 2024</a:t>
            </a:r>
          </a:p>
        </p:txBody>
      </p:sp>
      <p:sp>
        <p:nvSpPr>
          <p:cNvPr id="7" name="Slide Number Placeholder 6"/>
          <p:cNvSpPr>
            <a:spLocks noGrp="1"/>
          </p:cNvSpPr>
          <p:nvPr>
            <p:ph type="sldNum" sz="quarter" idx="12"/>
          </p:nvPr>
        </p:nvSpPr>
        <p:spPr/>
        <p:txBody>
          <a:bodyPr/>
          <a:lstStyle/>
          <a:p>
            <a:fld id="{BFCF0D39-BEE8-4D89-987A-40261FE54395}" type="slidenum">
              <a:rPr lang="en-GB" smtClean="0"/>
              <a:t>‹#›</a:t>
            </a:fld>
            <a:endParaRPr lang="en-GB"/>
          </a:p>
        </p:txBody>
      </p:sp>
      <p:sp>
        <p:nvSpPr>
          <p:cNvPr id="8" name="Content Placeholder 2"/>
          <p:cNvSpPr>
            <a:spLocks noGrp="1"/>
          </p:cNvSpPr>
          <p:nvPr>
            <p:ph idx="13"/>
          </p:nvPr>
        </p:nvSpPr>
        <p:spPr>
          <a:xfrm>
            <a:off x="6340431" y="1665288"/>
            <a:ext cx="5316923" cy="4500562"/>
          </a:xfrm>
        </p:spPr>
        <p:txBody>
          <a:bodyPr>
            <a:noAutofit/>
          </a:bodyPr>
          <a:lstStyle>
            <a:lvl1pPr>
              <a:defRPr sz="2215"/>
            </a:lvl1pPr>
            <a:lvl2pPr>
              <a:defRPr sz="1969"/>
            </a:lvl2pPr>
            <a:lvl3pPr>
              <a:defRPr sz="1969"/>
            </a:lvl3pPr>
            <a:lvl4pPr>
              <a:defRPr sz="1969"/>
            </a:lvl4pPr>
            <a:lvl5pPr>
              <a:defRPr sz="1969"/>
            </a:lvl5pPr>
            <a:lvl6pPr>
              <a:defRPr sz="2462"/>
            </a:lvl6pPr>
            <a:lvl7pPr>
              <a:defRPr sz="2462"/>
            </a:lvl7pPr>
            <a:lvl8pPr>
              <a:defRPr sz="2462"/>
            </a:lvl8pPr>
            <a:lvl9pPr>
              <a:defRPr sz="2462"/>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631127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Tx" preserve="1">
  <p:cSld name="Two rows">
    <p:spTree>
      <p:nvGrpSpPr>
        <p:cNvPr id="1" name=""/>
        <p:cNvGrpSpPr/>
        <p:nvPr/>
      </p:nvGrpSpPr>
      <p:grpSpPr>
        <a:xfrm>
          <a:off x="0" y="0"/>
          <a:ext cx="0" cy="0"/>
          <a:chOff x="0" y="0"/>
          <a:chExt cx="0" cy="0"/>
        </a:xfrm>
      </p:grpSpPr>
      <p:sp>
        <p:nvSpPr>
          <p:cNvPr id="2" name="Title 1"/>
          <p:cNvSpPr>
            <a:spLocks noGrp="1"/>
          </p:cNvSpPr>
          <p:nvPr>
            <p:ph type="title"/>
          </p:nvPr>
        </p:nvSpPr>
        <p:spPr>
          <a:xfrm>
            <a:off x="531692" y="360000"/>
            <a:ext cx="8374154" cy="468000"/>
          </a:xfrm>
        </p:spPr>
        <p:txBody>
          <a:bodyPr anchor="b">
            <a:noAutofit/>
          </a:bodyPr>
          <a:lstStyle>
            <a:lvl1pPr>
              <a:defRPr sz="3940"/>
            </a:lvl1pPr>
          </a:lstStyle>
          <a:p>
            <a:r>
              <a:rPr lang="en-US"/>
              <a:t>Click to edit Master title style</a:t>
            </a:r>
          </a:p>
        </p:txBody>
      </p:sp>
      <p:sp>
        <p:nvSpPr>
          <p:cNvPr id="3" name="Content Placeholder 2"/>
          <p:cNvSpPr>
            <a:spLocks noGrp="1"/>
          </p:cNvSpPr>
          <p:nvPr>
            <p:ph idx="1"/>
          </p:nvPr>
        </p:nvSpPr>
        <p:spPr>
          <a:xfrm>
            <a:off x="531693" y="1665288"/>
            <a:ext cx="11126908" cy="2088000"/>
          </a:xfrm>
        </p:spPr>
        <p:txBody>
          <a:bodyPr>
            <a:noAutofit/>
          </a:bodyPr>
          <a:lstStyle>
            <a:lvl1pPr>
              <a:defRPr sz="2215"/>
            </a:lvl1pPr>
            <a:lvl2pPr>
              <a:defRPr sz="1969"/>
            </a:lvl2pPr>
            <a:lvl3pPr>
              <a:defRPr sz="1969"/>
            </a:lvl3pPr>
            <a:lvl4pPr>
              <a:defRPr sz="1969"/>
            </a:lvl4pPr>
            <a:lvl5pPr>
              <a:defRPr sz="1969"/>
            </a:lvl5pPr>
            <a:lvl6pPr>
              <a:defRPr sz="2462"/>
            </a:lvl6pPr>
            <a:lvl7pPr>
              <a:defRPr sz="2462"/>
            </a:lvl7pPr>
            <a:lvl8pPr>
              <a:defRPr sz="2462"/>
            </a:lvl8pPr>
            <a:lvl9pPr>
              <a:defRPr sz="2462"/>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31692" y="828000"/>
            <a:ext cx="8374154" cy="324000"/>
          </a:xfrm>
        </p:spPr>
        <p:txBody>
          <a:bodyPr>
            <a:normAutofit/>
          </a:bodyPr>
          <a:lstStyle>
            <a:lvl1pPr marL="0" indent="0">
              <a:buNone/>
              <a:defRPr sz="2215">
                <a:solidFill>
                  <a:schemeClr val="tx1"/>
                </a:solidFill>
              </a:defRPr>
            </a:lvl1pPr>
            <a:lvl2pPr marL="562722" indent="0">
              <a:buNone/>
              <a:defRPr sz="1723"/>
            </a:lvl2pPr>
            <a:lvl3pPr marL="1125444" indent="0">
              <a:buNone/>
              <a:defRPr sz="1477"/>
            </a:lvl3pPr>
            <a:lvl4pPr marL="1688165" indent="0">
              <a:buNone/>
              <a:defRPr sz="1231"/>
            </a:lvl4pPr>
            <a:lvl5pPr marL="2250887" indent="0">
              <a:buNone/>
              <a:defRPr sz="1231"/>
            </a:lvl5pPr>
            <a:lvl6pPr marL="2813609" indent="0">
              <a:buNone/>
              <a:defRPr sz="1231"/>
            </a:lvl6pPr>
            <a:lvl7pPr marL="3376331" indent="0">
              <a:buNone/>
              <a:defRPr sz="1231"/>
            </a:lvl7pPr>
            <a:lvl8pPr marL="3939052" indent="0">
              <a:buNone/>
              <a:defRPr sz="1231"/>
            </a:lvl8pPr>
            <a:lvl9pPr marL="4501774" indent="0">
              <a:buNone/>
              <a:defRPr sz="1231"/>
            </a:lvl9pPr>
          </a:lstStyle>
          <a:p>
            <a:pPr lvl="0"/>
            <a:r>
              <a:rPr lang="en-US"/>
              <a:t>Click to edit Master text styles</a:t>
            </a:r>
          </a:p>
        </p:txBody>
      </p:sp>
      <p:sp>
        <p:nvSpPr>
          <p:cNvPr id="6" name="Footer Placeholder 5"/>
          <p:cNvSpPr>
            <a:spLocks noGrp="1"/>
          </p:cNvSpPr>
          <p:nvPr>
            <p:ph type="ftr" sz="quarter" idx="11"/>
          </p:nvPr>
        </p:nvSpPr>
        <p:spPr/>
        <p:txBody>
          <a:bodyPr/>
          <a:lstStyle/>
          <a:p>
            <a:r>
              <a:rPr lang="en-GB"/>
              <a:t>Full-year results 2024</a:t>
            </a:r>
          </a:p>
        </p:txBody>
      </p:sp>
      <p:sp>
        <p:nvSpPr>
          <p:cNvPr id="7" name="Slide Number Placeholder 6"/>
          <p:cNvSpPr>
            <a:spLocks noGrp="1"/>
          </p:cNvSpPr>
          <p:nvPr>
            <p:ph type="sldNum" sz="quarter" idx="12"/>
          </p:nvPr>
        </p:nvSpPr>
        <p:spPr/>
        <p:txBody>
          <a:bodyPr/>
          <a:lstStyle/>
          <a:p>
            <a:fld id="{BFCF0D39-BEE8-4D89-987A-40261FE54395}" type="slidenum">
              <a:rPr lang="en-GB" smtClean="0"/>
              <a:t>‹#›</a:t>
            </a:fld>
            <a:endParaRPr lang="en-GB"/>
          </a:p>
        </p:txBody>
      </p:sp>
      <p:sp>
        <p:nvSpPr>
          <p:cNvPr id="8" name="Content Placeholder 2"/>
          <p:cNvSpPr>
            <a:spLocks noGrp="1"/>
          </p:cNvSpPr>
          <p:nvPr>
            <p:ph idx="13"/>
          </p:nvPr>
        </p:nvSpPr>
        <p:spPr>
          <a:xfrm>
            <a:off x="531693" y="4077850"/>
            <a:ext cx="11126908" cy="2088000"/>
          </a:xfrm>
        </p:spPr>
        <p:txBody>
          <a:bodyPr>
            <a:noAutofit/>
          </a:bodyPr>
          <a:lstStyle>
            <a:lvl1pPr>
              <a:defRPr sz="2215"/>
            </a:lvl1pPr>
            <a:lvl2pPr>
              <a:defRPr sz="1969"/>
            </a:lvl2pPr>
            <a:lvl3pPr>
              <a:defRPr sz="1969"/>
            </a:lvl3pPr>
            <a:lvl4pPr>
              <a:defRPr sz="1969"/>
            </a:lvl4pPr>
            <a:lvl5pPr>
              <a:defRPr sz="1969"/>
            </a:lvl5pPr>
            <a:lvl6pPr>
              <a:defRPr sz="2462"/>
            </a:lvl6pPr>
            <a:lvl7pPr>
              <a:defRPr sz="2462"/>
            </a:lvl7pPr>
            <a:lvl8pPr>
              <a:defRPr sz="2462"/>
            </a:lvl8pPr>
            <a:lvl9pPr>
              <a:defRPr sz="2462"/>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0117371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Tx" preserve="1">
  <p:cSld name="Three columns">
    <p:spTree>
      <p:nvGrpSpPr>
        <p:cNvPr id="1" name=""/>
        <p:cNvGrpSpPr/>
        <p:nvPr/>
      </p:nvGrpSpPr>
      <p:grpSpPr>
        <a:xfrm>
          <a:off x="0" y="0"/>
          <a:ext cx="0" cy="0"/>
          <a:chOff x="0" y="0"/>
          <a:chExt cx="0" cy="0"/>
        </a:xfrm>
      </p:grpSpPr>
      <p:sp>
        <p:nvSpPr>
          <p:cNvPr id="2" name="Title 1"/>
          <p:cNvSpPr>
            <a:spLocks noGrp="1"/>
          </p:cNvSpPr>
          <p:nvPr>
            <p:ph type="title"/>
          </p:nvPr>
        </p:nvSpPr>
        <p:spPr>
          <a:xfrm>
            <a:off x="531692" y="360000"/>
            <a:ext cx="8374154" cy="468000"/>
          </a:xfrm>
        </p:spPr>
        <p:txBody>
          <a:bodyPr anchor="b">
            <a:noAutofit/>
          </a:bodyPr>
          <a:lstStyle>
            <a:lvl1pPr>
              <a:defRPr sz="3940"/>
            </a:lvl1pPr>
          </a:lstStyle>
          <a:p>
            <a:r>
              <a:rPr lang="en-US"/>
              <a:t>Click to edit Master title style</a:t>
            </a:r>
          </a:p>
        </p:txBody>
      </p:sp>
      <p:sp>
        <p:nvSpPr>
          <p:cNvPr id="3" name="Content Placeholder 2"/>
          <p:cNvSpPr>
            <a:spLocks noGrp="1"/>
          </p:cNvSpPr>
          <p:nvPr>
            <p:ph idx="1"/>
          </p:nvPr>
        </p:nvSpPr>
        <p:spPr>
          <a:xfrm>
            <a:off x="531692" y="1665288"/>
            <a:ext cx="3367385" cy="4500562"/>
          </a:xfrm>
        </p:spPr>
        <p:txBody>
          <a:bodyPr>
            <a:noAutofit/>
          </a:bodyPr>
          <a:lstStyle>
            <a:lvl1pPr>
              <a:defRPr sz="2215"/>
            </a:lvl1pPr>
            <a:lvl2pPr>
              <a:defRPr sz="1969"/>
            </a:lvl2pPr>
            <a:lvl3pPr>
              <a:defRPr sz="1969"/>
            </a:lvl3pPr>
            <a:lvl4pPr>
              <a:defRPr sz="1969"/>
            </a:lvl4pPr>
            <a:lvl5pPr>
              <a:defRPr sz="1969"/>
            </a:lvl5pPr>
            <a:lvl6pPr>
              <a:defRPr sz="2462"/>
            </a:lvl6pPr>
            <a:lvl7pPr>
              <a:defRPr sz="2462"/>
            </a:lvl7pPr>
            <a:lvl8pPr>
              <a:defRPr sz="2462"/>
            </a:lvl8pPr>
            <a:lvl9pPr>
              <a:defRPr sz="2462"/>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31692" y="828000"/>
            <a:ext cx="8374154" cy="324000"/>
          </a:xfrm>
        </p:spPr>
        <p:txBody>
          <a:bodyPr>
            <a:normAutofit/>
          </a:bodyPr>
          <a:lstStyle>
            <a:lvl1pPr marL="0" indent="0">
              <a:buNone/>
              <a:defRPr sz="2215">
                <a:solidFill>
                  <a:schemeClr val="tx1"/>
                </a:solidFill>
              </a:defRPr>
            </a:lvl1pPr>
            <a:lvl2pPr marL="562722" indent="0">
              <a:buNone/>
              <a:defRPr sz="1723"/>
            </a:lvl2pPr>
            <a:lvl3pPr marL="1125444" indent="0">
              <a:buNone/>
              <a:defRPr sz="1477"/>
            </a:lvl3pPr>
            <a:lvl4pPr marL="1688165" indent="0">
              <a:buNone/>
              <a:defRPr sz="1231"/>
            </a:lvl4pPr>
            <a:lvl5pPr marL="2250887" indent="0">
              <a:buNone/>
              <a:defRPr sz="1231"/>
            </a:lvl5pPr>
            <a:lvl6pPr marL="2813609" indent="0">
              <a:buNone/>
              <a:defRPr sz="1231"/>
            </a:lvl6pPr>
            <a:lvl7pPr marL="3376331" indent="0">
              <a:buNone/>
              <a:defRPr sz="1231"/>
            </a:lvl7pPr>
            <a:lvl8pPr marL="3939052" indent="0">
              <a:buNone/>
              <a:defRPr sz="1231"/>
            </a:lvl8pPr>
            <a:lvl9pPr marL="4501774" indent="0">
              <a:buNone/>
              <a:defRPr sz="1231"/>
            </a:lvl9pPr>
          </a:lstStyle>
          <a:p>
            <a:pPr lvl="0"/>
            <a:r>
              <a:rPr lang="en-US"/>
              <a:t>Click to edit Master text styles</a:t>
            </a:r>
          </a:p>
        </p:txBody>
      </p:sp>
      <p:sp>
        <p:nvSpPr>
          <p:cNvPr id="6" name="Footer Placeholder 5"/>
          <p:cNvSpPr>
            <a:spLocks noGrp="1"/>
          </p:cNvSpPr>
          <p:nvPr>
            <p:ph type="ftr" sz="quarter" idx="11"/>
          </p:nvPr>
        </p:nvSpPr>
        <p:spPr/>
        <p:txBody>
          <a:bodyPr/>
          <a:lstStyle/>
          <a:p>
            <a:r>
              <a:rPr lang="en-GB"/>
              <a:t>Full-year results 2024</a:t>
            </a:r>
          </a:p>
        </p:txBody>
      </p:sp>
      <p:sp>
        <p:nvSpPr>
          <p:cNvPr id="7" name="Slide Number Placeholder 6"/>
          <p:cNvSpPr>
            <a:spLocks noGrp="1"/>
          </p:cNvSpPr>
          <p:nvPr>
            <p:ph type="sldNum" sz="quarter" idx="12"/>
          </p:nvPr>
        </p:nvSpPr>
        <p:spPr/>
        <p:txBody>
          <a:bodyPr/>
          <a:lstStyle/>
          <a:p>
            <a:fld id="{BFCF0D39-BEE8-4D89-987A-40261FE54395}" type="slidenum">
              <a:rPr lang="en-GB" smtClean="0"/>
              <a:t>‹#›</a:t>
            </a:fld>
            <a:endParaRPr lang="en-GB"/>
          </a:p>
        </p:txBody>
      </p:sp>
      <p:sp>
        <p:nvSpPr>
          <p:cNvPr id="8" name="Content Placeholder 2"/>
          <p:cNvSpPr>
            <a:spLocks noGrp="1"/>
          </p:cNvSpPr>
          <p:nvPr>
            <p:ph idx="13"/>
          </p:nvPr>
        </p:nvSpPr>
        <p:spPr>
          <a:xfrm>
            <a:off x="4411453" y="1665288"/>
            <a:ext cx="3367385" cy="4500562"/>
          </a:xfrm>
        </p:spPr>
        <p:txBody>
          <a:bodyPr>
            <a:noAutofit/>
          </a:bodyPr>
          <a:lstStyle>
            <a:lvl1pPr>
              <a:defRPr sz="2215"/>
            </a:lvl1pPr>
            <a:lvl2pPr>
              <a:defRPr sz="1969"/>
            </a:lvl2pPr>
            <a:lvl3pPr>
              <a:defRPr sz="1969"/>
            </a:lvl3pPr>
            <a:lvl4pPr>
              <a:defRPr sz="1969"/>
            </a:lvl4pPr>
            <a:lvl5pPr>
              <a:defRPr sz="1969"/>
            </a:lvl5pPr>
            <a:lvl6pPr>
              <a:defRPr sz="2462"/>
            </a:lvl6pPr>
            <a:lvl7pPr>
              <a:defRPr sz="2462"/>
            </a:lvl7pPr>
            <a:lvl8pPr>
              <a:defRPr sz="2462"/>
            </a:lvl8pPr>
            <a:lvl9pPr>
              <a:defRPr sz="2462"/>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p:cNvSpPr>
            <a:spLocks noGrp="1"/>
          </p:cNvSpPr>
          <p:nvPr>
            <p:ph idx="14"/>
          </p:nvPr>
        </p:nvSpPr>
        <p:spPr>
          <a:xfrm>
            <a:off x="8291216" y="1665288"/>
            <a:ext cx="3367385" cy="4500562"/>
          </a:xfrm>
        </p:spPr>
        <p:txBody>
          <a:bodyPr>
            <a:noAutofit/>
          </a:bodyPr>
          <a:lstStyle>
            <a:lvl1pPr>
              <a:defRPr sz="2215"/>
            </a:lvl1pPr>
            <a:lvl2pPr>
              <a:defRPr sz="1969"/>
            </a:lvl2pPr>
            <a:lvl3pPr>
              <a:defRPr sz="1969"/>
            </a:lvl3pPr>
            <a:lvl4pPr>
              <a:defRPr sz="1969"/>
            </a:lvl4pPr>
            <a:lvl5pPr>
              <a:defRPr sz="1969"/>
            </a:lvl5pPr>
            <a:lvl6pPr>
              <a:defRPr sz="2462"/>
            </a:lvl6pPr>
            <a:lvl7pPr>
              <a:defRPr sz="2462"/>
            </a:lvl7pPr>
            <a:lvl8pPr>
              <a:defRPr sz="2462"/>
            </a:lvl8pPr>
            <a:lvl9pPr>
              <a:defRPr sz="2462"/>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3710112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lumn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31692" y="360000"/>
            <a:ext cx="8374154" cy="468000"/>
          </a:xfrm>
        </p:spPr>
        <p:txBody>
          <a:bodyPr anchor="b">
            <a:normAutofit/>
          </a:bodyPr>
          <a:lstStyle>
            <a:lvl1pPr>
              <a:defRPr sz="3939"/>
            </a:lvl1pPr>
          </a:lstStyle>
          <a:p>
            <a:r>
              <a:rPr lang="en-US"/>
              <a:t>Click to edit Master title style</a:t>
            </a:r>
          </a:p>
        </p:txBody>
      </p:sp>
      <p:sp>
        <p:nvSpPr>
          <p:cNvPr id="3" name="Content Placeholder 2"/>
          <p:cNvSpPr>
            <a:spLocks noGrp="1"/>
          </p:cNvSpPr>
          <p:nvPr>
            <p:ph idx="1"/>
          </p:nvPr>
        </p:nvSpPr>
        <p:spPr>
          <a:xfrm>
            <a:off x="531692" y="1665288"/>
            <a:ext cx="3367385" cy="4500562"/>
          </a:xfrm>
        </p:spPr>
        <p:txBody>
          <a:bodyPr>
            <a:noAutofit/>
          </a:bodyPr>
          <a:lstStyle>
            <a:lvl1pPr>
              <a:defRPr sz="2215"/>
            </a:lvl1pPr>
            <a:lvl2pPr>
              <a:defRPr sz="1969"/>
            </a:lvl2pPr>
            <a:lvl3pPr>
              <a:defRPr sz="1969"/>
            </a:lvl3pPr>
            <a:lvl4pPr>
              <a:defRPr sz="1969"/>
            </a:lvl4pPr>
            <a:lvl5pPr>
              <a:defRPr sz="1969"/>
            </a:lvl5pPr>
            <a:lvl6pPr>
              <a:defRPr sz="2462"/>
            </a:lvl6pPr>
            <a:lvl7pPr>
              <a:defRPr sz="2462"/>
            </a:lvl7pPr>
            <a:lvl8pPr>
              <a:defRPr sz="2462"/>
            </a:lvl8pPr>
            <a:lvl9pPr>
              <a:defRPr sz="2462"/>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31692" y="828000"/>
            <a:ext cx="8374154" cy="324000"/>
          </a:xfrm>
        </p:spPr>
        <p:txBody>
          <a:bodyPr>
            <a:normAutofit/>
          </a:bodyPr>
          <a:lstStyle>
            <a:lvl1pPr marL="0" indent="0">
              <a:buNone/>
              <a:defRPr sz="2215">
                <a:solidFill>
                  <a:schemeClr val="tx1"/>
                </a:solidFill>
              </a:defRPr>
            </a:lvl1pPr>
            <a:lvl2pPr marL="562722" indent="0">
              <a:buNone/>
              <a:defRPr sz="1723"/>
            </a:lvl2pPr>
            <a:lvl3pPr marL="1125444" indent="0">
              <a:buNone/>
              <a:defRPr sz="1477"/>
            </a:lvl3pPr>
            <a:lvl4pPr marL="1688165" indent="0">
              <a:buNone/>
              <a:defRPr sz="1231"/>
            </a:lvl4pPr>
            <a:lvl5pPr marL="2250887" indent="0">
              <a:buNone/>
              <a:defRPr sz="1231"/>
            </a:lvl5pPr>
            <a:lvl6pPr marL="2813609" indent="0">
              <a:buNone/>
              <a:defRPr sz="1231"/>
            </a:lvl6pPr>
            <a:lvl7pPr marL="3376331" indent="0">
              <a:buNone/>
              <a:defRPr sz="1231"/>
            </a:lvl7pPr>
            <a:lvl8pPr marL="3939052" indent="0">
              <a:buNone/>
              <a:defRPr sz="1231"/>
            </a:lvl8pPr>
            <a:lvl9pPr marL="4501774" indent="0">
              <a:buNone/>
              <a:defRPr sz="1231"/>
            </a:lvl9pPr>
          </a:lstStyle>
          <a:p>
            <a:pPr lvl="0"/>
            <a:r>
              <a:rPr lang="en-US"/>
              <a:t>Click to edit Master text styles</a:t>
            </a:r>
          </a:p>
        </p:txBody>
      </p:sp>
      <p:sp>
        <p:nvSpPr>
          <p:cNvPr id="6" name="Footer Placeholder 5"/>
          <p:cNvSpPr>
            <a:spLocks noGrp="1"/>
          </p:cNvSpPr>
          <p:nvPr>
            <p:ph type="ftr" sz="quarter" idx="11"/>
          </p:nvPr>
        </p:nvSpPr>
        <p:spPr/>
        <p:txBody>
          <a:bodyPr/>
          <a:lstStyle/>
          <a:p>
            <a:r>
              <a:rPr lang="en-GB"/>
              <a:t>Full-year results 2024</a:t>
            </a:r>
          </a:p>
        </p:txBody>
      </p:sp>
      <p:sp>
        <p:nvSpPr>
          <p:cNvPr id="7" name="Slide Number Placeholder 6"/>
          <p:cNvSpPr>
            <a:spLocks noGrp="1"/>
          </p:cNvSpPr>
          <p:nvPr>
            <p:ph type="sldNum" sz="quarter" idx="12"/>
          </p:nvPr>
        </p:nvSpPr>
        <p:spPr/>
        <p:txBody>
          <a:bodyPr/>
          <a:lstStyle/>
          <a:p>
            <a:fld id="{BFCF0D39-BEE8-4D89-987A-40261FE54395}" type="slidenum">
              <a:rPr lang="en-GB" smtClean="0"/>
              <a:t>‹#›</a:t>
            </a:fld>
            <a:endParaRPr lang="en-GB"/>
          </a:p>
        </p:txBody>
      </p:sp>
      <p:sp>
        <p:nvSpPr>
          <p:cNvPr id="8" name="Content Placeholder 2"/>
          <p:cNvSpPr>
            <a:spLocks noGrp="1"/>
          </p:cNvSpPr>
          <p:nvPr>
            <p:ph idx="13"/>
          </p:nvPr>
        </p:nvSpPr>
        <p:spPr>
          <a:xfrm>
            <a:off x="4411455" y="1665288"/>
            <a:ext cx="7247146" cy="4500562"/>
          </a:xfrm>
        </p:spPr>
        <p:txBody>
          <a:bodyPr>
            <a:noAutofit/>
          </a:bodyPr>
          <a:lstStyle>
            <a:lvl1pPr>
              <a:defRPr sz="2215"/>
            </a:lvl1pPr>
            <a:lvl2pPr>
              <a:defRPr sz="1969"/>
            </a:lvl2pPr>
            <a:lvl3pPr>
              <a:defRPr sz="1969"/>
            </a:lvl3pPr>
            <a:lvl4pPr>
              <a:defRPr sz="1969"/>
            </a:lvl4pPr>
            <a:lvl5pPr>
              <a:defRPr sz="1969"/>
            </a:lvl5pPr>
            <a:lvl6pPr>
              <a:defRPr sz="2462"/>
            </a:lvl6pPr>
            <a:lvl7pPr>
              <a:defRPr sz="2462"/>
            </a:lvl7pPr>
            <a:lvl8pPr>
              <a:defRPr sz="2462"/>
            </a:lvl8pPr>
            <a:lvl9pPr>
              <a:defRPr sz="2462"/>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3640393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ab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31692" y="360000"/>
            <a:ext cx="8374154" cy="468000"/>
          </a:xfrm>
        </p:spPr>
        <p:txBody>
          <a:bodyPr anchor="b">
            <a:normAutofit/>
          </a:bodyPr>
          <a:lstStyle>
            <a:lvl1pPr>
              <a:defRPr sz="3939"/>
            </a:lvl1pPr>
          </a:lstStyle>
          <a:p>
            <a:r>
              <a:rPr lang="en-US"/>
              <a:t>Click to edit Master title style</a:t>
            </a:r>
          </a:p>
        </p:txBody>
      </p:sp>
      <p:sp>
        <p:nvSpPr>
          <p:cNvPr id="4" name="Text Placeholder 3"/>
          <p:cNvSpPr>
            <a:spLocks noGrp="1"/>
          </p:cNvSpPr>
          <p:nvPr>
            <p:ph type="body" sz="half" idx="2"/>
          </p:nvPr>
        </p:nvSpPr>
        <p:spPr>
          <a:xfrm>
            <a:off x="531692" y="828000"/>
            <a:ext cx="8374154" cy="324000"/>
          </a:xfrm>
        </p:spPr>
        <p:txBody>
          <a:bodyPr>
            <a:normAutofit/>
          </a:bodyPr>
          <a:lstStyle>
            <a:lvl1pPr marL="0" indent="0">
              <a:buNone/>
              <a:defRPr sz="2215">
                <a:solidFill>
                  <a:schemeClr val="tx1"/>
                </a:solidFill>
              </a:defRPr>
            </a:lvl1pPr>
            <a:lvl2pPr marL="562722" indent="0">
              <a:buNone/>
              <a:defRPr sz="1723"/>
            </a:lvl2pPr>
            <a:lvl3pPr marL="1125444" indent="0">
              <a:buNone/>
              <a:defRPr sz="1477"/>
            </a:lvl3pPr>
            <a:lvl4pPr marL="1688165" indent="0">
              <a:buNone/>
              <a:defRPr sz="1231"/>
            </a:lvl4pPr>
            <a:lvl5pPr marL="2250887" indent="0">
              <a:buNone/>
              <a:defRPr sz="1231"/>
            </a:lvl5pPr>
            <a:lvl6pPr marL="2813609" indent="0">
              <a:buNone/>
              <a:defRPr sz="1231"/>
            </a:lvl6pPr>
            <a:lvl7pPr marL="3376331" indent="0">
              <a:buNone/>
              <a:defRPr sz="1231"/>
            </a:lvl7pPr>
            <a:lvl8pPr marL="3939052" indent="0">
              <a:buNone/>
              <a:defRPr sz="1231"/>
            </a:lvl8pPr>
            <a:lvl9pPr marL="4501774" indent="0">
              <a:buNone/>
              <a:defRPr sz="1231"/>
            </a:lvl9pPr>
          </a:lstStyle>
          <a:p>
            <a:pPr lvl="0"/>
            <a:r>
              <a:rPr lang="en-US"/>
              <a:t>Click to edit Master text styles</a:t>
            </a:r>
          </a:p>
        </p:txBody>
      </p:sp>
      <p:sp>
        <p:nvSpPr>
          <p:cNvPr id="6" name="Footer Placeholder 5"/>
          <p:cNvSpPr>
            <a:spLocks noGrp="1"/>
          </p:cNvSpPr>
          <p:nvPr>
            <p:ph type="ftr" sz="quarter" idx="11"/>
          </p:nvPr>
        </p:nvSpPr>
        <p:spPr/>
        <p:txBody>
          <a:bodyPr/>
          <a:lstStyle/>
          <a:p>
            <a:r>
              <a:rPr lang="en-GB"/>
              <a:t>Full-year results 2024</a:t>
            </a:r>
          </a:p>
        </p:txBody>
      </p:sp>
      <p:sp>
        <p:nvSpPr>
          <p:cNvPr id="7" name="Slide Number Placeholder 6"/>
          <p:cNvSpPr>
            <a:spLocks noGrp="1"/>
          </p:cNvSpPr>
          <p:nvPr>
            <p:ph type="sldNum" sz="quarter" idx="12"/>
          </p:nvPr>
        </p:nvSpPr>
        <p:spPr/>
        <p:txBody>
          <a:bodyPr/>
          <a:lstStyle/>
          <a:p>
            <a:fld id="{BFCF0D39-BEE8-4D89-987A-40261FE54395}" type="slidenum">
              <a:rPr lang="en-GB" smtClean="0"/>
              <a:t>‹#›</a:t>
            </a:fld>
            <a:endParaRPr lang="en-GB"/>
          </a:p>
        </p:txBody>
      </p:sp>
      <p:sp>
        <p:nvSpPr>
          <p:cNvPr id="8" name="Content Placeholder 2"/>
          <p:cNvSpPr>
            <a:spLocks noGrp="1"/>
          </p:cNvSpPr>
          <p:nvPr>
            <p:ph idx="13"/>
          </p:nvPr>
        </p:nvSpPr>
        <p:spPr>
          <a:xfrm>
            <a:off x="4411455" y="1665288"/>
            <a:ext cx="7247146" cy="4500562"/>
          </a:xfrm>
        </p:spPr>
        <p:txBody>
          <a:bodyPr>
            <a:noAutofit/>
          </a:bodyPr>
          <a:lstStyle>
            <a:lvl1pPr>
              <a:defRPr sz="2215"/>
            </a:lvl1pPr>
            <a:lvl2pPr>
              <a:defRPr sz="1969"/>
            </a:lvl2pPr>
            <a:lvl3pPr>
              <a:defRPr sz="1969"/>
            </a:lvl3pPr>
            <a:lvl4pPr>
              <a:defRPr sz="1969"/>
            </a:lvl4pPr>
            <a:lvl5pPr>
              <a:defRPr sz="1969"/>
            </a:lvl5pPr>
            <a:lvl6pPr>
              <a:defRPr sz="2462"/>
            </a:lvl6pPr>
            <a:lvl7pPr>
              <a:defRPr sz="2462"/>
            </a:lvl7pPr>
            <a:lvl8pPr>
              <a:defRPr sz="2462"/>
            </a:lvl8pPr>
            <a:lvl9pPr>
              <a:defRPr sz="2462"/>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able Placeholder 10"/>
          <p:cNvSpPr>
            <a:spLocks noGrp="1"/>
          </p:cNvSpPr>
          <p:nvPr>
            <p:ph type="tbl" sz="quarter" idx="14"/>
          </p:nvPr>
        </p:nvSpPr>
        <p:spPr>
          <a:xfrm>
            <a:off x="511908" y="1665288"/>
            <a:ext cx="3378201" cy="4500562"/>
          </a:xfrm>
        </p:spPr>
        <p:txBody>
          <a:bodyPr/>
          <a:lstStyle/>
          <a:p>
            <a:r>
              <a:rPr lang="en-US"/>
              <a:t>Click icon to add table</a:t>
            </a:r>
            <a:endParaRPr lang="en-GB"/>
          </a:p>
        </p:txBody>
      </p:sp>
    </p:spTree>
    <p:extLst>
      <p:ext uri="{BB962C8B-B14F-4D97-AF65-F5344CB8AC3E}">
        <p14:creationId xmlns:p14="http://schemas.microsoft.com/office/powerpoint/2010/main" val="1290472642"/>
      </p:ext>
    </p:extLst>
  </p:cSld>
  <p:clrMapOvr>
    <a:masterClrMapping/>
  </p:clrMapOvr>
  <p:extLst>
    <p:ext uri="{DCECCB84-F9BA-43D5-87BE-67443E8EF086}">
      <p15:sldGuideLst xmlns:p15="http://schemas.microsoft.com/office/powerpoint/2012/main">
        <p15:guide id="1" pos="2773" userDrawn="1">
          <p15:clr>
            <a:srgbClr val="FBAE40"/>
          </p15:clr>
        </p15:guide>
        <p15:guide id="2" pos="245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hree tables">
    <p:spTree>
      <p:nvGrpSpPr>
        <p:cNvPr id="1" name=""/>
        <p:cNvGrpSpPr/>
        <p:nvPr/>
      </p:nvGrpSpPr>
      <p:grpSpPr>
        <a:xfrm>
          <a:off x="0" y="0"/>
          <a:ext cx="0" cy="0"/>
          <a:chOff x="0" y="0"/>
          <a:chExt cx="0" cy="0"/>
        </a:xfrm>
      </p:grpSpPr>
      <p:sp>
        <p:nvSpPr>
          <p:cNvPr id="2" name="Title 1"/>
          <p:cNvSpPr>
            <a:spLocks noGrp="1"/>
          </p:cNvSpPr>
          <p:nvPr>
            <p:ph type="title"/>
          </p:nvPr>
        </p:nvSpPr>
        <p:spPr>
          <a:xfrm>
            <a:off x="531692" y="360000"/>
            <a:ext cx="8374154" cy="468000"/>
          </a:xfrm>
        </p:spPr>
        <p:txBody>
          <a:bodyPr anchor="b">
            <a:normAutofit/>
          </a:bodyPr>
          <a:lstStyle>
            <a:lvl1pPr>
              <a:defRPr sz="3939"/>
            </a:lvl1pPr>
          </a:lstStyle>
          <a:p>
            <a:r>
              <a:rPr lang="en-US"/>
              <a:t>Click to edit Master title style</a:t>
            </a:r>
          </a:p>
        </p:txBody>
      </p:sp>
      <p:sp>
        <p:nvSpPr>
          <p:cNvPr id="4" name="Text Placeholder 3"/>
          <p:cNvSpPr>
            <a:spLocks noGrp="1"/>
          </p:cNvSpPr>
          <p:nvPr>
            <p:ph type="body" sz="half" idx="2"/>
          </p:nvPr>
        </p:nvSpPr>
        <p:spPr>
          <a:xfrm>
            <a:off x="531692" y="828000"/>
            <a:ext cx="8374154" cy="324000"/>
          </a:xfrm>
        </p:spPr>
        <p:txBody>
          <a:bodyPr>
            <a:normAutofit/>
          </a:bodyPr>
          <a:lstStyle>
            <a:lvl1pPr marL="0" indent="0">
              <a:buNone/>
              <a:defRPr sz="2215">
                <a:solidFill>
                  <a:schemeClr val="tx1"/>
                </a:solidFill>
              </a:defRPr>
            </a:lvl1pPr>
            <a:lvl2pPr marL="562722" indent="0">
              <a:buNone/>
              <a:defRPr sz="1723"/>
            </a:lvl2pPr>
            <a:lvl3pPr marL="1125444" indent="0">
              <a:buNone/>
              <a:defRPr sz="1477"/>
            </a:lvl3pPr>
            <a:lvl4pPr marL="1688165" indent="0">
              <a:buNone/>
              <a:defRPr sz="1231"/>
            </a:lvl4pPr>
            <a:lvl5pPr marL="2250887" indent="0">
              <a:buNone/>
              <a:defRPr sz="1231"/>
            </a:lvl5pPr>
            <a:lvl6pPr marL="2813609" indent="0">
              <a:buNone/>
              <a:defRPr sz="1231"/>
            </a:lvl6pPr>
            <a:lvl7pPr marL="3376331" indent="0">
              <a:buNone/>
              <a:defRPr sz="1231"/>
            </a:lvl7pPr>
            <a:lvl8pPr marL="3939052" indent="0">
              <a:buNone/>
              <a:defRPr sz="1231"/>
            </a:lvl8pPr>
            <a:lvl9pPr marL="4501774" indent="0">
              <a:buNone/>
              <a:defRPr sz="1231"/>
            </a:lvl9pPr>
          </a:lstStyle>
          <a:p>
            <a:pPr lvl="0"/>
            <a:r>
              <a:rPr lang="en-US"/>
              <a:t>Click to edit Master text styles</a:t>
            </a:r>
          </a:p>
        </p:txBody>
      </p:sp>
      <p:sp>
        <p:nvSpPr>
          <p:cNvPr id="6" name="Footer Placeholder 5"/>
          <p:cNvSpPr>
            <a:spLocks noGrp="1"/>
          </p:cNvSpPr>
          <p:nvPr>
            <p:ph type="ftr" sz="quarter" idx="11"/>
          </p:nvPr>
        </p:nvSpPr>
        <p:spPr/>
        <p:txBody>
          <a:bodyPr/>
          <a:lstStyle/>
          <a:p>
            <a:r>
              <a:rPr lang="en-GB"/>
              <a:t>Full-year results 2024</a:t>
            </a:r>
          </a:p>
        </p:txBody>
      </p:sp>
      <p:sp>
        <p:nvSpPr>
          <p:cNvPr id="7" name="Slide Number Placeholder 6"/>
          <p:cNvSpPr>
            <a:spLocks noGrp="1"/>
          </p:cNvSpPr>
          <p:nvPr>
            <p:ph type="sldNum" sz="quarter" idx="12"/>
          </p:nvPr>
        </p:nvSpPr>
        <p:spPr/>
        <p:txBody>
          <a:bodyPr/>
          <a:lstStyle/>
          <a:p>
            <a:fld id="{BFCF0D39-BEE8-4D89-987A-40261FE54395}" type="slidenum">
              <a:rPr lang="en-GB" smtClean="0"/>
              <a:t>‹#›</a:t>
            </a:fld>
            <a:endParaRPr lang="en-GB"/>
          </a:p>
        </p:txBody>
      </p:sp>
      <p:sp>
        <p:nvSpPr>
          <p:cNvPr id="11" name="Table Placeholder 10"/>
          <p:cNvSpPr>
            <a:spLocks noGrp="1"/>
          </p:cNvSpPr>
          <p:nvPr>
            <p:ph type="tbl" sz="quarter" idx="14"/>
          </p:nvPr>
        </p:nvSpPr>
        <p:spPr>
          <a:xfrm>
            <a:off x="511908" y="1665288"/>
            <a:ext cx="3378201" cy="2038032"/>
          </a:xfrm>
        </p:spPr>
        <p:txBody>
          <a:bodyPr/>
          <a:lstStyle/>
          <a:p>
            <a:r>
              <a:rPr lang="en-US"/>
              <a:t>Click icon to add table</a:t>
            </a:r>
            <a:endParaRPr lang="en-GB"/>
          </a:p>
        </p:txBody>
      </p:sp>
      <p:sp>
        <p:nvSpPr>
          <p:cNvPr id="9" name="Table Placeholder 10"/>
          <p:cNvSpPr>
            <a:spLocks noGrp="1"/>
          </p:cNvSpPr>
          <p:nvPr>
            <p:ph type="tbl" sz="quarter" idx="15"/>
          </p:nvPr>
        </p:nvSpPr>
        <p:spPr>
          <a:xfrm>
            <a:off x="4402016" y="1665288"/>
            <a:ext cx="3378201" cy="4500562"/>
          </a:xfrm>
        </p:spPr>
        <p:txBody>
          <a:bodyPr/>
          <a:lstStyle/>
          <a:p>
            <a:r>
              <a:rPr lang="en-US"/>
              <a:t>Click icon to add table</a:t>
            </a:r>
            <a:endParaRPr lang="en-GB"/>
          </a:p>
        </p:txBody>
      </p:sp>
      <p:sp>
        <p:nvSpPr>
          <p:cNvPr id="10" name="Table Placeholder 10"/>
          <p:cNvSpPr>
            <a:spLocks noGrp="1"/>
          </p:cNvSpPr>
          <p:nvPr>
            <p:ph type="tbl" sz="quarter" idx="16"/>
          </p:nvPr>
        </p:nvSpPr>
        <p:spPr>
          <a:xfrm>
            <a:off x="8292124" y="1665288"/>
            <a:ext cx="3378201" cy="4500562"/>
          </a:xfrm>
        </p:spPr>
        <p:txBody>
          <a:bodyPr/>
          <a:lstStyle/>
          <a:p>
            <a:r>
              <a:rPr lang="en-US"/>
              <a:t>Click icon to add table</a:t>
            </a:r>
            <a:endParaRPr lang="en-GB"/>
          </a:p>
        </p:txBody>
      </p:sp>
      <p:sp>
        <p:nvSpPr>
          <p:cNvPr id="12" name="Table Placeholder 10"/>
          <p:cNvSpPr>
            <a:spLocks noGrp="1"/>
          </p:cNvSpPr>
          <p:nvPr>
            <p:ph type="tbl" sz="quarter" idx="17"/>
          </p:nvPr>
        </p:nvSpPr>
        <p:spPr>
          <a:xfrm>
            <a:off x="511908" y="4127818"/>
            <a:ext cx="3378201" cy="2038032"/>
          </a:xfrm>
        </p:spPr>
        <p:txBody>
          <a:bodyPr/>
          <a:lstStyle/>
          <a:p>
            <a:r>
              <a:rPr lang="en-US"/>
              <a:t>Click icon to add table</a:t>
            </a:r>
            <a:endParaRPr lang="en-GB"/>
          </a:p>
        </p:txBody>
      </p:sp>
    </p:spTree>
    <p:extLst>
      <p:ext uri="{BB962C8B-B14F-4D97-AF65-F5344CB8AC3E}">
        <p14:creationId xmlns:p14="http://schemas.microsoft.com/office/powerpoint/2010/main" val="3498195465"/>
      </p:ext>
    </p:extLst>
  </p:cSld>
  <p:clrMapOvr>
    <a:masterClrMapping/>
  </p:clrMapOvr>
  <p:extLst>
    <p:ext uri="{DCECCB84-F9BA-43D5-87BE-67443E8EF086}">
      <p15:sldGuideLst xmlns:p15="http://schemas.microsoft.com/office/powerpoint/2012/main">
        <p15:guide id="1" pos="2773" userDrawn="1">
          <p15:clr>
            <a:srgbClr val="FBAE40"/>
          </p15:clr>
        </p15:guide>
        <p15:guide id="2" pos="2450"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A31609E-BD3E-1EF7-9F52-53FE779556D5}"/>
              </a:ext>
            </a:extLst>
          </p:cNvPr>
          <p:cNvGraphicFramePr>
            <a:graphicFrameLocks noChangeAspect="1"/>
          </p:cNvGraphicFramePr>
          <p:nvPr userDrawn="1">
            <p:custDataLst>
              <p:tags r:id="rId15"/>
            </p:custDataLst>
            <p:extLst>
              <p:ext uri="{D42A27DB-BD31-4B8C-83A1-F6EECF244321}">
                <p14:modId xmlns:p14="http://schemas.microsoft.com/office/powerpoint/2010/main" val="38506883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754" imgH="754" progId="TCLayout.ActiveDocument.1">
                  <p:embed/>
                </p:oleObj>
              </mc:Choice>
              <mc:Fallback>
                <p:oleObj name="think-cell Slide" r:id="rId16" imgW="754" imgH="754" progId="TCLayout.ActiveDocument.1">
                  <p:embed/>
                  <p:pic>
                    <p:nvPicPr>
                      <p:cNvPr id="7" name="think-cell data - do not delete" hidden="1">
                        <a:extLst>
                          <a:ext uri="{FF2B5EF4-FFF2-40B4-BE49-F238E27FC236}">
                            <a16:creationId xmlns:a16="http://schemas.microsoft.com/office/drawing/2014/main" id="{DA31609E-BD3E-1EF7-9F52-53FE779556D5}"/>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31692" y="360000"/>
            <a:ext cx="8374154" cy="468000"/>
          </a:xfrm>
          <a:prstGeom prst="rect">
            <a:avLst/>
          </a:prstGeom>
        </p:spPr>
        <p:txBody>
          <a:bodyPr vert="horz" lIns="0" tIns="0" rIns="0" bIns="0" rtlCol="0" anchor="b">
            <a:noAutofit/>
          </a:bodyPr>
          <a:lstStyle/>
          <a:p>
            <a:r>
              <a:rPr lang="en-US"/>
              <a:t>Click to edit Master title style</a:t>
            </a:r>
          </a:p>
        </p:txBody>
      </p:sp>
      <p:sp>
        <p:nvSpPr>
          <p:cNvPr id="3" name="Text Placeholder 2"/>
          <p:cNvSpPr>
            <a:spLocks noGrp="1"/>
          </p:cNvSpPr>
          <p:nvPr>
            <p:ph type="body" idx="1"/>
          </p:nvPr>
        </p:nvSpPr>
        <p:spPr>
          <a:xfrm>
            <a:off x="533401" y="1665290"/>
            <a:ext cx="11125200" cy="4504277"/>
          </a:xfrm>
          <a:prstGeom prst="rect">
            <a:avLst/>
          </a:prstGeom>
        </p:spPr>
        <p:txBody>
          <a:bodyPr vert="horz" wrap="square"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3"/>
          </p:nvPr>
        </p:nvSpPr>
        <p:spPr>
          <a:xfrm>
            <a:off x="533400" y="6426015"/>
            <a:ext cx="4430769" cy="153888"/>
          </a:xfrm>
          <a:prstGeom prst="rect">
            <a:avLst/>
          </a:prstGeom>
        </p:spPr>
        <p:txBody>
          <a:bodyPr vert="horz" lIns="0" tIns="0" rIns="0" bIns="0" rtlCol="0" anchor="b">
            <a:spAutoFit/>
          </a:bodyPr>
          <a:lstStyle>
            <a:lvl1pPr algn="l">
              <a:defRPr sz="1000" cap="none" spc="62" baseline="0">
                <a:solidFill>
                  <a:schemeClr val="tx1">
                    <a:lumMod val="60000"/>
                    <a:lumOff val="40000"/>
                  </a:schemeClr>
                </a:solidFill>
              </a:defRPr>
            </a:lvl1pPr>
          </a:lstStyle>
          <a:p>
            <a:r>
              <a:rPr lang="en-GB" dirty="0"/>
              <a:t>Full-year results 2024</a:t>
            </a:r>
          </a:p>
        </p:txBody>
      </p:sp>
      <p:sp>
        <p:nvSpPr>
          <p:cNvPr id="6" name="Slide Number Placeholder 5"/>
          <p:cNvSpPr>
            <a:spLocks noGrp="1"/>
          </p:cNvSpPr>
          <p:nvPr>
            <p:ph type="sldNum" sz="quarter" idx="4"/>
          </p:nvPr>
        </p:nvSpPr>
        <p:spPr>
          <a:xfrm>
            <a:off x="11227890" y="6410310"/>
            <a:ext cx="443077" cy="153888"/>
          </a:xfrm>
          <a:prstGeom prst="rect">
            <a:avLst/>
          </a:prstGeom>
        </p:spPr>
        <p:txBody>
          <a:bodyPr vert="horz" lIns="0" tIns="0" rIns="0" bIns="0" rtlCol="0" anchor="ctr">
            <a:spAutoFit/>
          </a:bodyPr>
          <a:lstStyle>
            <a:lvl1pPr algn="r">
              <a:defRPr sz="1000">
                <a:solidFill>
                  <a:schemeClr val="tx1">
                    <a:lumMod val="60000"/>
                    <a:lumOff val="40000"/>
                  </a:schemeClr>
                </a:solidFill>
              </a:defRPr>
            </a:lvl1pPr>
          </a:lstStyle>
          <a:p>
            <a:fld id="{BFCF0D39-BEE8-4D89-987A-40261FE54395}" type="slidenum">
              <a:rPr lang="en-GB" smtClean="0"/>
              <a:pPr/>
              <a:t>‹#›</a:t>
            </a:fld>
            <a:endParaRPr lang="en-GB"/>
          </a:p>
        </p:txBody>
      </p:sp>
      <p:cxnSp>
        <p:nvCxnSpPr>
          <p:cNvPr id="12" name="Straight Connector 11"/>
          <p:cNvCxnSpPr/>
          <p:nvPr userDrawn="1"/>
        </p:nvCxnSpPr>
        <p:spPr>
          <a:xfrm>
            <a:off x="533400" y="6275679"/>
            <a:ext cx="111252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CD2BDC83-7058-A64D-B4F6-61EDABE0418E}"/>
              </a:ext>
            </a:extLst>
          </p:cNvPr>
          <p:cNvCxnSpPr/>
          <p:nvPr userDrawn="1"/>
        </p:nvCxnSpPr>
        <p:spPr>
          <a:xfrm>
            <a:off x="533401" y="1238874"/>
            <a:ext cx="1329231"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A10FA9B8-6134-3183-9186-0865BACBB9D9}"/>
              </a:ext>
            </a:extLst>
          </p:cNvPr>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9959195" y="351826"/>
            <a:ext cx="1699405" cy="484347"/>
          </a:xfrm>
          <a:prstGeom prst="rect">
            <a:avLst/>
          </a:prstGeom>
        </p:spPr>
      </p:pic>
    </p:spTree>
    <p:extLst>
      <p:ext uri="{BB962C8B-B14F-4D97-AF65-F5344CB8AC3E}">
        <p14:creationId xmlns:p14="http://schemas.microsoft.com/office/powerpoint/2010/main" val="1739424531"/>
      </p:ext>
    </p:extLst>
  </p:cSld>
  <p:clrMap bg1="lt1" tx1="dk1" bg2="lt2" tx2="dk2" accent1="accent1" accent2="accent2" accent3="accent3" accent4="accent4" accent5="accent5" accent6="accent6" hlink="hlink" folHlink="folHlink"/>
  <p:sldLayoutIdLst>
    <p:sldLayoutId id="2147483661" r:id="rId1"/>
    <p:sldLayoutId id="2147483668" r:id="rId2"/>
    <p:sldLayoutId id="2147483663" r:id="rId3"/>
    <p:sldLayoutId id="2147483673" r:id="rId4"/>
    <p:sldLayoutId id="2147483672" r:id="rId5"/>
    <p:sldLayoutId id="2147483670" r:id="rId6"/>
    <p:sldLayoutId id="2147483671" r:id="rId7"/>
    <p:sldLayoutId id="2147483677" r:id="rId8"/>
    <p:sldLayoutId id="2147483678" r:id="rId9"/>
    <p:sldLayoutId id="2147483665" r:id="rId10"/>
    <p:sldLayoutId id="2147483674" r:id="rId11"/>
    <p:sldLayoutId id="2147483676" r:id="rId12"/>
    <p:sldLayoutId id="2147483675" r:id="rId13"/>
  </p:sldLayoutIdLst>
  <p:hf hdr="0" dt="0"/>
  <p:txStyles>
    <p:titleStyle>
      <a:lvl1pPr algn="l" defTabSz="1125444" rtl="0" eaLnBrk="1" latinLnBrk="0" hangingPunct="1">
        <a:lnSpc>
          <a:spcPct val="90000"/>
        </a:lnSpc>
        <a:spcBef>
          <a:spcPct val="0"/>
        </a:spcBef>
        <a:buNone/>
        <a:defRPr sz="3939" kern="1200">
          <a:solidFill>
            <a:schemeClr val="tx2"/>
          </a:solidFill>
          <a:latin typeface="+mj-lt"/>
          <a:ea typeface="+mj-ea"/>
          <a:cs typeface="+mj-cs"/>
        </a:defRPr>
      </a:lvl1pPr>
    </p:titleStyle>
    <p:bodyStyle>
      <a:lvl1pPr marL="0" indent="0" algn="l" defTabSz="1125444" rtl="0" eaLnBrk="1" latinLnBrk="0" hangingPunct="1">
        <a:lnSpc>
          <a:spcPct val="90000"/>
        </a:lnSpc>
        <a:spcBef>
          <a:spcPts val="2215"/>
        </a:spcBef>
        <a:buFont typeface="Arial" panose="020B0604020202020204" pitchFamily="34" charset="0"/>
        <a:buNone/>
        <a:defRPr sz="2215" b="0" kern="1200">
          <a:solidFill>
            <a:schemeClr val="tx2"/>
          </a:solidFill>
          <a:latin typeface="+mj-lt"/>
          <a:ea typeface="+mn-ea"/>
          <a:cs typeface="+mn-cs"/>
        </a:defRPr>
      </a:lvl1pPr>
      <a:lvl2pPr marL="9770" indent="0" algn="l" defTabSz="1125444" rtl="0" eaLnBrk="1" latinLnBrk="0" hangingPunct="1">
        <a:lnSpc>
          <a:spcPct val="90000"/>
        </a:lnSpc>
        <a:spcBef>
          <a:spcPts val="738"/>
        </a:spcBef>
        <a:buFont typeface="Arial" panose="020B0604020202020204" pitchFamily="34" charset="0"/>
        <a:buNone/>
        <a:defRPr sz="1969" kern="1200">
          <a:solidFill>
            <a:schemeClr val="tx1"/>
          </a:solidFill>
          <a:latin typeface="+mn-lt"/>
          <a:ea typeface="+mn-ea"/>
          <a:cs typeface="+mn-cs"/>
        </a:defRPr>
      </a:lvl2pPr>
      <a:lvl3pPr marL="216883" indent="-216883" algn="l" defTabSz="1125444" rtl="0" eaLnBrk="1" latinLnBrk="0" hangingPunct="1">
        <a:lnSpc>
          <a:spcPct val="90000"/>
        </a:lnSpc>
        <a:spcBef>
          <a:spcPts val="1477"/>
        </a:spcBef>
        <a:buClr>
          <a:schemeClr val="tx2"/>
        </a:buClr>
        <a:buFont typeface="Arial" panose="020B0604020202020204" pitchFamily="34" charset="0"/>
        <a:buChar char="•"/>
        <a:defRPr sz="1969" kern="1200">
          <a:solidFill>
            <a:schemeClr val="tx1"/>
          </a:solidFill>
          <a:latin typeface="+mn-lt"/>
          <a:ea typeface="+mn-ea"/>
          <a:cs typeface="+mn-cs"/>
        </a:defRPr>
      </a:lvl3pPr>
      <a:lvl4pPr marL="443535" indent="-240330" algn="l" defTabSz="1125444" rtl="0" eaLnBrk="1" latinLnBrk="0" hangingPunct="1">
        <a:lnSpc>
          <a:spcPct val="90000"/>
        </a:lnSpc>
        <a:spcBef>
          <a:spcPts val="738"/>
        </a:spcBef>
        <a:buFont typeface="Arial" panose="020B0604020202020204" pitchFamily="34" charset="0"/>
        <a:buChar char="‒"/>
        <a:defRPr sz="1969" kern="1200">
          <a:solidFill>
            <a:schemeClr val="tx1"/>
          </a:solidFill>
          <a:latin typeface="+mn-lt"/>
          <a:ea typeface="+mn-ea"/>
          <a:cs typeface="+mn-cs"/>
        </a:defRPr>
      </a:lvl4pPr>
      <a:lvl5pPr marL="740527" indent="-281361" algn="l" defTabSz="1125444" rtl="0" eaLnBrk="1" latinLnBrk="0" hangingPunct="1">
        <a:lnSpc>
          <a:spcPct val="90000"/>
        </a:lnSpc>
        <a:spcBef>
          <a:spcPts val="369"/>
        </a:spcBef>
        <a:buFont typeface="Arial" panose="020B0604020202020204" pitchFamily="34" charset="0"/>
        <a:buChar char="•"/>
        <a:defRPr sz="1969" kern="1200">
          <a:solidFill>
            <a:schemeClr val="tx1"/>
          </a:solidFill>
          <a:latin typeface="+mn-lt"/>
          <a:ea typeface="+mn-ea"/>
          <a:cs typeface="+mn-cs"/>
        </a:defRPr>
      </a:lvl5pPr>
      <a:lvl6pPr marL="3094970" indent="-281361" algn="l" defTabSz="1125444" rtl="0" eaLnBrk="1" latinLnBrk="0" hangingPunct="1">
        <a:lnSpc>
          <a:spcPct val="90000"/>
        </a:lnSpc>
        <a:spcBef>
          <a:spcPts val="615"/>
        </a:spcBef>
        <a:buFont typeface="Arial" panose="020B0604020202020204" pitchFamily="34" charset="0"/>
        <a:buChar char="•"/>
        <a:defRPr sz="2215" kern="1200">
          <a:solidFill>
            <a:schemeClr val="tx1"/>
          </a:solidFill>
          <a:latin typeface="+mn-lt"/>
          <a:ea typeface="+mn-ea"/>
          <a:cs typeface="+mn-cs"/>
        </a:defRPr>
      </a:lvl6pPr>
      <a:lvl7pPr marL="3657691" indent="-281361" algn="l" defTabSz="1125444" rtl="0" eaLnBrk="1" latinLnBrk="0" hangingPunct="1">
        <a:lnSpc>
          <a:spcPct val="90000"/>
        </a:lnSpc>
        <a:spcBef>
          <a:spcPts val="615"/>
        </a:spcBef>
        <a:buFont typeface="Arial" panose="020B0604020202020204" pitchFamily="34" charset="0"/>
        <a:buChar char="•"/>
        <a:defRPr sz="2215" kern="1200">
          <a:solidFill>
            <a:schemeClr val="tx1"/>
          </a:solidFill>
          <a:latin typeface="+mn-lt"/>
          <a:ea typeface="+mn-ea"/>
          <a:cs typeface="+mn-cs"/>
        </a:defRPr>
      </a:lvl7pPr>
      <a:lvl8pPr marL="4220413" indent="-281361" algn="l" defTabSz="1125444" rtl="0" eaLnBrk="1" latinLnBrk="0" hangingPunct="1">
        <a:lnSpc>
          <a:spcPct val="90000"/>
        </a:lnSpc>
        <a:spcBef>
          <a:spcPts val="615"/>
        </a:spcBef>
        <a:buFont typeface="Arial" panose="020B0604020202020204" pitchFamily="34" charset="0"/>
        <a:buChar char="•"/>
        <a:defRPr sz="2215" kern="1200">
          <a:solidFill>
            <a:schemeClr val="tx1"/>
          </a:solidFill>
          <a:latin typeface="+mn-lt"/>
          <a:ea typeface="+mn-ea"/>
          <a:cs typeface="+mn-cs"/>
        </a:defRPr>
      </a:lvl8pPr>
      <a:lvl9pPr marL="4783135" indent="-281361" algn="l" defTabSz="1125444" rtl="0" eaLnBrk="1" latinLnBrk="0" hangingPunct="1">
        <a:lnSpc>
          <a:spcPct val="90000"/>
        </a:lnSpc>
        <a:spcBef>
          <a:spcPts val="615"/>
        </a:spcBef>
        <a:buFont typeface="Arial" panose="020B0604020202020204" pitchFamily="34" charset="0"/>
        <a:buChar char="•"/>
        <a:defRPr sz="2215" kern="1200">
          <a:solidFill>
            <a:schemeClr val="tx1"/>
          </a:solidFill>
          <a:latin typeface="+mn-lt"/>
          <a:ea typeface="+mn-ea"/>
          <a:cs typeface="+mn-cs"/>
        </a:defRPr>
      </a:lvl9pPr>
    </p:bodyStyle>
    <p:otherStyle>
      <a:defPPr>
        <a:defRPr lang="en-US"/>
      </a:defPPr>
      <a:lvl1pPr marL="0" algn="l" defTabSz="1125444" rtl="0" eaLnBrk="1" latinLnBrk="0" hangingPunct="1">
        <a:defRPr sz="2215" kern="1200">
          <a:solidFill>
            <a:schemeClr val="tx1"/>
          </a:solidFill>
          <a:latin typeface="+mn-lt"/>
          <a:ea typeface="+mn-ea"/>
          <a:cs typeface="+mn-cs"/>
        </a:defRPr>
      </a:lvl1pPr>
      <a:lvl2pPr marL="562722" algn="l" defTabSz="1125444" rtl="0" eaLnBrk="1" latinLnBrk="0" hangingPunct="1">
        <a:defRPr sz="2215" kern="1200">
          <a:solidFill>
            <a:schemeClr val="tx1"/>
          </a:solidFill>
          <a:latin typeface="+mn-lt"/>
          <a:ea typeface="+mn-ea"/>
          <a:cs typeface="+mn-cs"/>
        </a:defRPr>
      </a:lvl2pPr>
      <a:lvl3pPr marL="1125444" algn="l" defTabSz="1125444" rtl="0" eaLnBrk="1" latinLnBrk="0" hangingPunct="1">
        <a:defRPr sz="2215" kern="1200">
          <a:solidFill>
            <a:schemeClr val="tx1"/>
          </a:solidFill>
          <a:latin typeface="+mn-lt"/>
          <a:ea typeface="+mn-ea"/>
          <a:cs typeface="+mn-cs"/>
        </a:defRPr>
      </a:lvl3pPr>
      <a:lvl4pPr marL="1688165" algn="l" defTabSz="1125444" rtl="0" eaLnBrk="1" latinLnBrk="0" hangingPunct="1">
        <a:defRPr sz="2215" kern="1200">
          <a:solidFill>
            <a:schemeClr val="tx1"/>
          </a:solidFill>
          <a:latin typeface="+mn-lt"/>
          <a:ea typeface="+mn-ea"/>
          <a:cs typeface="+mn-cs"/>
        </a:defRPr>
      </a:lvl4pPr>
      <a:lvl5pPr marL="2250887" algn="l" defTabSz="1125444" rtl="0" eaLnBrk="1" latinLnBrk="0" hangingPunct="1">
        <a:defRPr sz="2215" kern="1200">
          <a:solidFill>
            <a:schemeClr val="tx1"/>
          </a:solidFill>
          <a:latin typeface="+mn-lt"/>
          <a:ea typeface="+mn-ea"/>
          <a:cs typeface="+mn-cs"/>
        </a:defRPr>
      </a:lvl5pPr>
      <a:lvl6pPr marL="2813609" algn="l" defTabSz="1125444" rtl="0" eaLnBrk="1" latinLnBrk="0" hangingPunct="1">
        <a:defRPr sz="2215" kern="1200">
          <a:solidFill>
            <a:schemeClr val="tx1"/>
          </a:solidFill>
          <a:latin typeface="+mn-lt"/>
          <a:ea typeface="+mn-ea"/>
          <a:cs typeface="+mn-cs"/>
        </a:defRPr>
      </a:lvl6pPr>
      <a:lvl7pPr marL="3376331" algn="l" defTabSz="1125444" rtl="0" eaLnBrk="1" latinLnBrk="0" hangingPunct="1">
        <a:defRPr sz="2215" kern="1200">
          <a:solidFill>
            <a:schemeClr val="tx1"/>
          </a:solidFill>
          <a:latin typeface="+mn-lt"/>
          <a:ea typeface="+mn-ea"/>
          <a:cs typeface="+mn-cs"/>
        </a:defRPr>
      </a:lvl7pPr>
      <a:lvl8pPr marL="3939052" algn="l" defTabSz="1125444" rtl="0" eaLnBrk="1" latinLnBrk="0" hangingPunct="1">
        <a:defRPr sz="2215" kern="1200">
          <a:solidFill>
            <a:schemeClr val="tx1"/>
          </a:solidFill>
          <a:latin typeface="+mn-lt"/>
          <a:ea typeface="+mn-ea"/>
          <a:cs typeface="+mn-cs"/>
        </a:defRPr>
      </a:lvl8pPr>
      <a:lvl9pPr marL="4501774" algn="l" defTabSz="1125444" rtl="0" eaLnBrk="1" latinLnBrk="0" hangingPunct="1">
        <a:defRPr sz="221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32" userDrawn="1">
          <p15:clr>
            <a:srgbClr val="F26B43"/>
          </p15:clr>
        </p15:guide>
        <p15:guide id="2" pos="322" userDrawn="1">
          <p15:clr>
            <a:srgbClr val="F26B43"/>
          </p15:clr>
        </p15:guide>
        <p15:guide id="3" pos="7356" userDrawn="1">
          <p15:clr>
            <a:srgbClr val="F26B43"/>
          </p15:clr>
        </p15:guide>
        <p15:guide id="4" orient="horz" pos="4128" userDrawn="1">
          <p15:clr>
            <a:srgbClr val="F26B43"/>
          </p15:clr>
        </p15:guide>
        <p15:guide id="5" orient="horz" pos="1049" userDrawn="1">
          <p15:clr>
            <a:srgbClr val="F26B43"/>
          </p15:clr>
        </p15:guide>
        <p15:guide id="6" orient="horz" pos="3884"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xml"/><Relationship Id="rId1" Type="http://schemas.openxmlformats.org/officeDocument/2006/relationships/tags" Target="../tags/tag3.xml"/><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image" Target="../media/image26.png"/><Relationship Id="rId2" Type="http://schemas.openxmlformats.org/officeDocument/2006/relationships/slideLayout" Target="../slideLayouts/slideLayout7.xml"/><Relationship Id="rId1" Type="http://schemas.openxmlformats.org/officeDocument/2006/relationships/tags" Target="../tags/tag12.xml"/><Relationship Id="rId6" Type="http://schemas.openxmlformats.org/officeDocument/2006/relationships/image" Target="../media/image21.jpeg"/><Relationship Id="rId5" Type="http://schemas.openxmlformats.org/officeDocument/2006/relationships/image" Target="../media/image18.emf"/><Relationship Id="rId4" Type="http://schemas.openxmlformats.org/officeDocument/2006/relationships/oleObject" Target="../embeddings/oleObject7.bin"/></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27.png"/><Relationship Id="rId5" Type="http://schemas.openxmlformats.org/officeDocument/2006/relationships/image" Target="../media/image18.emf"/><Relationship Id="rId4" Type="http://schemas.openxmlformats.org/officeDocument/2006/relationships/oleObject" Target="../embeddings/oleObject8.bin"/></Relationships>
</file>

<file path=ppt/slides/_rels/slide12.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slideLayout" Target="../slideLayouts/slideLayout5.xml"/><Relationship Id="rId7" Type="http://schemas.openxmlformats.org/officeDocument/2006/relationships/image" Target="../media/image28.png"/><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18.emf"/><Relationship Id="rId11" Type="http://schemas.openxmlformats.org/officeDocument/2006/relationships/image" Target="../media/image31.png"/><Relationship Id="rId5" Type="http://schemas.openxmlformats.org/officeDocument/2006/relationships/oleObject" Target="../embeddings/oleObject8.bin"/><Relationship Id="rId10" Type="http://schemas.openxmlformats.org/officeDocument/2006/relationships/image" Target="../media/image27.png"/><Relationship Id="rId4" Type="http://schemas.openxmlformats.org/officeDocument/2006/relationships/notesSlide" Target="../notesSlides/notesSlide5.xml"/><Relationship Id="rId9" Type="http://schemas.openxmlformats.org/officeDocument/2006/relationships/image" Target="../media/image30.png"/></Relationships>
</file>

<file path=ppt/slides/_rels/slide13.xml.rels><?xml version="1.0" encoding="UTF-8" standalone="yes"?>
<Relationships xmlns="http://schemas.openxmlformats.org/package/2006/relationships"><Relationship Id="rId8" Type="http://schemas.openxmlformats.org/officeDocument/2006/relationships/chart" Target="../charts/chart11.xml"/><Relationship Id="rId3" Type="http://schemas.openxmlformats.org/officeDocument/2006/relationships/chart" Target="../charts/chart8.xml"/><Relationship Id="rId7" Type="http://schemas.openxmlformats.org/officeDocument/2006/relationships/chart" Target="../charts/chart10.xml"/><Relationship Id="rId2" Type="http://schemas.openxmlformats.org/officeDocument/2006/relationships/slideLayout" Target="../slideLayouts/slideLayout5.xml"/><Relationship Id="rId1" Type="http://schemas.openxmlformats.org/officeDocument/2006/relationships/tags" Target="../tags/tag17.xml"/><Relationship Id="rId6" Type="http://schemas.openxmlformats.org/officeDocument/2006/relationships/chart" Target="../charts/chart9.x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14.xml.rels><?xml version="1.0" encoding="UTF-8" standalone="yes"?>
<Relationships xmlns="http://schemas.openxmlformats.org/package/2006/relationships"><Relationship Id="rId3" Type="http://schemas.openxmlformats.org/officeDocument/2006/relationships/image" Target="../media/image33.svg"/><Relationship Id="rId7" Type="http://schemas.openxmlformats.org/officeDocument/2006/relationships/image" Target="../media/image37.svg"/><Relationship Id="rId2" Type="http://schemas.openxmlformats.org/officeDocument/2006/relationships/image" Target="../media/image32.png"/><Relationship Id="rId1" Type="http://schemas.openxmlformats.org/officeDocument/2006/relationships/slideLayout" Target="../slideLayouts/slideLayout5.xml"/><Relationship Id="rId6" Type="http://schemas.openxmlformats.org/officeDocument/2006/relationships/image" Target="../media/image36.png"/><Relationship Id="rId5" Type="http://schemas.openxmlformats.org/officeDocument/2006/relationships/image" Target="../media/image35.svg"/><Relationship Id="rId4" Type="http://schemas.openxmlformats.org/officeDocument/2006/relationships/image" Target="../media/image34.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diagramLayout" Target="../diagrams/layout1.xml"/><Relationship Id="rId13" Type="http://schemas.openxmlformats.org/officeDocument/2006/relationships/chart" Target="../charts/chart2.xml"/><Relationship Id="rId3" Type="http://schemas.openxmlformats.org/officeDocument/2006/relationships/oleObject" Target="../embeddings/oleObject3.bin"/><Relationship Id="rId7" Type="http://schemas.openxmlformats.org/officeDocument/2006/relationships/diagramData" Target="../diagrams/data1.xml"/><Relationship Id="rId12" Type="http://schemas.openxmlformats.org/officeDocument/2006/relationships/image" Target="../media/image6.png"/><Relationship Id="rId2" Type="http://schemas.openxmlformats.org/officeDocument/2006/relationships/slideLayout" Target="../slideLayouts/slideLayout10.xml"/><Relationship Id="rId1" Type="http://schemas.openxmlformats.org/officeDocument/2006/relationships/tags" Target="../tags/tag4.xml"/><Relationship Id="rId6" Type="http://schemas.openxmlformats.org/officeDocument/2006/relationships/image" Target="../media/image5.png"/><Relationship Id="rId11" Type="http://schemas.microsoft.com/office/2007/relationships/diagramDrawing" Target="../diagrams/drawing1.xml"/><Relationship Id="rId5" Type="http://schemas.openxmlformats.org/officeDocument/2006/relationships/chart" Target="../charts/chart1.xml"/><Relationship Id="rId10" Type="http://schemas.openxmlformats.org/officeDocument/2006/relationships/diagramColors" Target="../diagrams/colors1.xml"/><Relationship Id="rId4" Type="http://schemas.openxmlformats.org/officeDocument/2006/relationships/image" Target="../media/image1.emf"/><Relationship Id="rId9" Type="http://schemas.openxmlformats.org/officeDocument/2006/relationships/diagramQuickStyle" Target="../diagrams/quickStyle1.xml"/><Relationship Id="rId14" Type="http://schemas.openxmlformats.org/officeDocument/2006/relationships/image" Target="../media/image7.png"/></Relationships>
</file>

<file path=ppt/slides/_rels/slide4.xml.rels><?xml version="1.0" encoding="UTF-8" standalone="yes"?>
<Relationships xmlns="http://schemas.openxmlformats.org/package/2006/relationships"><Relationship Id="rId8" Type="http://schemas.openxmlformats.org/officeDocument/2006/relationships/image" Target="../media/image13.svg"/><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notesSlide" Target="../notesSlides/notesSlide1.xml"/><Relationship Id="rId1" Type="http://schemas.openxmlformats.org/officeDocument/2006/relationships/slideLayout" Target="../slideLayouts/slideLayout5.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image" Target="../media/image9.svg"/></Relationships>
</file>

<file path=ppt/slides/_rels/slide5.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8" Type="http://schemas.openxmlformats.org/officeDocument/2006/relationships/image" Target="../media/image17.svg"/><Relationship Id="rId3" Type="http://schemas.openxmlformats.org/officeDocument/2006/relationships/image" Target="../media/image14.png"/><Relationship Id="rId7" Type="http://schemas.openxmlformats.org/officeDocument/2006/relationships/image" Target="../media/image16.png"/><Relationship Id="rId2" Type="http://schemas.openxmlformats.org/officeDocument/2006/relationships/notesSlide" Target="../notesSlides/notesSlide2.xml"/><Relationship Id="rId1" Type="http://schemas.openxmlformats.org/officeDocument/2006/relationships/slideLayout" Target="../slideLayouts/slideLayout5.xml"/><Relationship Id="rId6" Type="http://schemas.openxmlformats.org/officeDocument/2006/relationships/image" Target="../media/image9.svg"/><Relationship Id="rId11" Type="http://schemas.openxmlformats.org/officeDocument/2006/relationships/chart" Target="../charts/chart6.xml"/><Relationship Id="rId5" Type="http://schemas.openxmlformats.org/officeDocument/2006/relationships/image" Target="../media/image8.png"/><Relationship Id="rId10" Type="http://schemas.openxmlformats.org/officeDocument/2006/relationships/chart" Target="../charts/chart5.xml"/><Relationship Id="rId4" Type="http://schemas.openxmlformats.org/officeDocument/2006/relationships/image" Target="../media/image15.svg"/><Relationship Id="rId9" Type="http://schemas.openxmlformats.org/officeDocument/2006/relationships/chart" Target="../charts/chart4.xml"/></Relationships>
</file>

<file path=ppt/slides/_rels/slide7.xml.rels><?xml version="1.0" encoding="UTF-8" standalone="yes"?>
<Relationships xmlns="http://schemas.openxmlformats.org/package/2006/relationships"><Relationship Id="rId8" Type="http://schemas.openxmlformats.org/officeDocument/2006/relationships/image" Target="../media/image17.svg"/><Relationship Id="rId3" Type="http://schemas.openxmlformats.org/officeDocument/2006/relationships/oleObject" Target="../embeddings/oleObject4.bin"/><Relationship Id="rId7" Type="http://schemas.openxmlformats.org/officeDocument/2006/relationships/image" Target="../media/image16.png"/><Relationship Id="rId12" Type="http://schemas.openxmlformats.org/officeDocument/2006/relationships/image" Target="../media/image20.png"/><Relationship Id="rId2" Type="http://schemas.openxmlformats.org/officeDocument/2006/relationships/slideLayout" Target="../slideLayouts/slideLayout7.xml"/><Relationship Id="rId1" Type="http://schemas.openxmlformats.org/officeDocument/2006/relationships/tags" Target="../tags/tag5.xml"/><Relationship Id="rId6" Type="http://schemas.openxmlformats.org/officeDocument/2006/relationships/image" Target="../media/image15.svg"/><Relationship Id="rId11" Type="http://schemas.openxmlformats.org/officeDocument/2006/relationships/image" Target="../media/image19.png"/><Relationship Id="rId5" Type="http://schemas.openxmlformats.org/officeDocument/2006/relationships/image" Target="../media/image14.png"/><Relationship Id="rId10" Type="http://schemas.openxmlformats.org/officeDocument/2006/relationships/image" Target="../media/image9.svg"/><Relationship Id="rId4" Type="http://schemas.openxmlformats.org/officeDocument/2006/relationships/image" Target="../media/image18.emf"/><Relationship Id="rId9" Type="http://schemas.openxmlformats.org/officeDocument/2006/relationships/image" Target="../media/image8.png"/></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7.xml"/><Relationship Id="rId1" Type="http://schemas.openxmlformats.org/officeDocument/2006/relationships/tags" Target="../tags/tag6.xml"/><Relationship Id="rId5" Type="http://schemas.openxmlformats.org/officeDocument/2006/relationships/chart" Target="../charts/chart7.xml"/><Relationship Id="rId4" Type="http://schemas.openxmlformats.org/officeDocument/2006/relationships/image" Target="../media/image18.emf"/></Relationships>
</file>

<file path=ppt/slides/_rels/slide9.xml.rels><?xml version="1.0" encoding="UTF-8" standalone="yes"?>
<Relationships xmlns="http://schemas.openxmlformats.org/package/2006/relationships"><Relationship Id="rId8" Type="http://schemas.openxmlformats.org/officeDocument/2006/relationships/oleObject" Target="../embeddings/oleObject6.bin"/><Relationship Id="rId13" Type="http://schemas.openxmlformats.org/officeDocument/2006/relationships/image" Target="../media/image8.png"/><Relationship Id="rId18" Type="http://schemas.openxmlformats.org/officeDocument/2006/relationships/image" Target="../media/image23.png"/><Relationship Id="rId3" Type="http://schemas.openxmlformats.org/officeDocument/2006/relationships/tags" Target="../tags/tag9.xml"/><Relationship Id="rId7" Type="http://schemas.openxmlformats.org/officeDocument/2006/relationships/notesSlide" Target="../notesSlides/notesSlide3.xml"/><Relationship Id="rId12" Type="http://schemas.openxmlformats.org/officeDocument/2006/relationships/image" Target="../media/image15.svg"/><Relationship Id="rId17" Type="http://schemas.openxmlformats.org/officeDocument/2006/relationships/image" Target="../media/image22.png"/><Relationship Id="rId2" Type="http://schemas.openxmlformats.org/officeDocument/2006/relationships/tags" Target="../tags/tag8.xml"/><Relationship Id="rId16" Type="http://schemas.openxmlformats.org/officeDocument/2006/relationships/image" Target="../media/image17.svg"/><Relationship Id="rId20" Type="http://schemas.openxmlformats.org/officeDocument/2006/relationships/image" Target="../media/image25.png"/><Relationship Id="rId1" Type="http://schemas.openxmlformats.org/officeDocument/2006/relationships/tags" Target="../tags/tag7.xml"/><Relationship Id="rId6" Type="http://schemas.openxmlformats.org/officeDocument/2006/relationships/slideLayout" Target="../slideLayouts/slideLayout7.xml"/><Relationship Id="rId11" Type="http://schemas.openxmlformats.org/officeDocument/2006/relationships/image" Target="../media/image14.png"/><Relationship Id="rId5" Type="http://schemas.openxmlformats.org/officeDocument/2006/relationships/tags" Target="../tags/tag11.xml"/><Relationship Id="rId15" Type="http://schemas.openxmlformats.org/officeDocument/2006/relationships/image" Target="../media/image16.png"/><Relationship Id="rId10" Type="http://schemas.openxmlformats.org/officeDocument/2006/relationships/image" Target="../media/image21.jpeg"/><Relationship Id="rId19" Type="http://schemas.openxmlformats.org/officeDocument/2006/relationships/image" Target="../media/image24.png"/><Relationship Id="rId4" Type="http://schemas.openxmlformats.org/officeDocument/2006/relationships/tags" Target="../tags/tag10.xml"/><Relationship Id="rId9" Type="http://schemas.openxmlformats.org/officeDocument/2006/relationships/image" Target="../media/image18.emf"/><Relationship Id="rId14" Type="http://schemas.openxmlformats.org/officeDocument/2006/relationships/image" Target="../media/image9.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8466A9F-A1D3-48B0-A653-92C20D795565}"/>
              </a:ext>
            </a:extLst>
          </p:cNvPr>
          <p:cNvGraphicFramePr>
            <a:graphicFrameLocks noChangeAspect="1"/>
          </p:cNvGraphicFramePr>
          <p:nvPr>
            <p:custDataLst>
              <p:tags r:id="rId1"/>
            </p:custDataLst>
            <p:extLst>
              <p:ext uri="{D42A27DB-BD31-4B8C-83A1-F6EECF244321}">
                <p14:modId xmlns:p14="http://schemas.microsoft.com/office/powerpoint/2010/main" val="22642421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754" imgH="754" progId="TCLayout.ActiveDocument.1">
                  <p:embed/>
                </p:oleObj>
              </mc:Choice>
              <mc:Fallback>
                <p:oleObj name="think-cell Slide" r:id="rId3" imgW="754" imgH="754" progId="TCLayout.ActiveDocument.1">
                  <p:embed/>
                  <p:pic>
                    <p:nvPicPr>
                      <p:cNvPr id="4" name="think-cell data - do not delete" hidden="1">
                        <a:extLst>
                          <a:ext uri="{FF2B5EF4-FFF2-40B4-BE49-F238E27FC236}">
                            <a16:creationId xmlns:a16="http://schemas.microsoft.com/office/drawing/2014/main" id="{C8466A9F-A1D3-48B0-A653-92C20D79556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B6A765DD-A11C-B4D0-4651-40B6EACF55B8}"/>
              </a:ext>
            </a:extLst>
          </p:cNvPr>
          <p:cNvSpPr>
            <a:spLocks noGrp="1"/>
          </p:cNvSpPr>
          <p:nvPr>
            <p:ph type="ctrTitle"/>
          </p:nvPr>
        </p:nvSpPr>
        <p:spPr/>
        <p:txBody>
          <a:bodyPr vert="horz"/>
          <a:lstStyle/>
          <a:p>
            <a:r>
              <a:rPr lang="en-US" dirty="0"/>
              <a:t>Time Well Invested</a:t>
            </a:r>
          </a:p>
        </p:txBody>
      </p:sp>
      <p:sp>
        <p:nvSpPr>
          <p:cNvPr id="2" name="Subtitle 1">
            <a:extLst>
              <a:ext uri="{FF2B5EF4-FFF2-40B4-BE49-F238E27FC236}">
                <a16:creationId xmlns:a16="http://schemas.microsoft.com/office/drawing/2014/main" id="{214B5677-B21B-D066-7E46-16D67FACE8DE}"/>
              </a:ext>
            </a:extLst>
          </p:cNvPr>
          <p:cNvSpPr>
            <a:spLocks noGrp="1"/>
          </p:cNvSpPr>
          <p:nvPr>
            <p:ph type="subTitle" idx="1"/>
          </p:nvPr>
        </p:nvSpPr>
        <p:spPr/>
        <p:txBody>
          <a:bodyPr>
            <a:normAutofit/>
          </a:bodyPr>
          <a:lstStyle/>
          <a:p>
            <a:r>
              <a:rPr lang="en-GB" sz="1800" dirty="0"/>
              <a:t>The power of long-term compounding returns</a:t>
            </a:r>
          </a:p>
        </p:txBody>
      </p:sp>
      <p:sp>
        <p:nvSpPr>
          <p:cNvPr id="7" name="TextBox 6">
            <a:extLst>
              <a:ext uri="{FF2B5EF4-FFF2-40B4-BE49-F238E27FC236}">
                <a16:creationId xmlns:a16="http://schemas.microsoft.com/office/drawing/2014/main" id="{4849ED6D-9FF7-B7B3-ACDA-7E497117D847}"/>
              </a:ext>
            </a:extLst>
          </p:cNvPr>
          <p:cNvSpPr txBox="1"/>
          <p:nvPr/>
        </p:nvSpPr>
        <p:spPr>
          <a:xfrm>
            <a:off x="511175" y="5796518"/>
            <a:ext cx="6148386" cy="369332"/>
          </a:xfrm>
          <a:prstGeom prst="rect">
            <a:avLst/>
          </a:prstGeom>
          <a:noFill/>
        </p:spPr>
        <p:txBody>
          <a:bodyPr wrap="square">
            <a:spAutoFit/>
          </a:bodyPr>
          <a:lstStyle/>
          <a:p>
            <a:r>
              <a:rPr lang="en-GB" sz="1800" dirty="0">
                <a:solidFill>
                  <a:schemeClr val="bg1"/>
                </a:solidFill>
              </a:rPr>
              <a:t>AJ Bell - May 2025</a:t>
            </a:r>
            <a:endParaRPr lang="en-GB" dirty="0">
              <a:solidFill>
                <a:schemeClr val="bg1"/>
              </a:solidFill>
            </a:endParaRPr>
          </a:p>
        </p:txBody>
      </p:sp>
    </p:spTree>
    <p:extLst>
      <p:ext uri="{BB962C8B-B14F-4D97-AF65-F5344CB8AC3E}">
        <p14:creationId xmlns:p14="http://schemas.microsoft.com/office/powerpoint/2010/main" val="117239881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50233034-ACA9-C92B-3727-E70B611983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16" name="think-cell data - do not delete" hidden="1">
                        <a:extLst>
                          <a:ext uri="{FF2B5EF4-FFF2-40B4-BE49-F238E27FC236}">
                            <a16:creationId xmlns:a16="http://schemas.microsoft.com/office/drawing/2014/main" id="{50233034-ACA9-C92B-3727-E70B611983C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533400" y="360000"/>
            <a:ext cx="9257654" cy="468000"/>
          </a:xfrm>
        </p:spPr>
        <p:txBody>
          <a:bodyPr vert="horz">
            <a:noAutofit/>
          </a:bodyPr>
          <a:lstStyle/>
          <a:p>
            <a:r>
              <a:rPr lang="en-GB" sz="3200" dirty="0"/>
              <a:t>Private Capital (cont’d)</a:t>
            </a:r>
          </a:p>
        </p:txBody>
      </p:sp>
      <p:sp>
        <p:nvSpPr>
          <p:cNvPr id="4" name="Text Placeholder 3"/>
          <p:cNvSpPr>
            <a:spLocks noGrp="1"/>
          </p:cNvSpPr>
          <p:nvPr>
            <p:ph type="body" sz="half" idx="2"/>
          </p:nvPr>
        </p:nvSpPr>
        <p:spPr>
          <a:xfrm>
            <a:off x="533400" y="828000"/>
            <a:ext cx="9874250" cy="324000"/>
          </a:xfrm>
        </p:spPr>
        <p:txBody>
          <a:bodyPr>
            <a:normAutofit/>
          </a:bodyPr>
          <a:lstStyle/>
          <a:p>
            <a:r>
              <a:rPr lang="en-GB" sz="1800" b="1" i="0" u="none" strike="noStrike" dirty="0">
                <a:effectLst/>
                <a:latin typeface="Cambria" panose="02040503050406030204" pitchFamily="18" charset="0"/>
              </a:rPr>
              <a:t>AIR-</a:t>
            </a:r>
            <a:r>
              <a:rPr lang="en-GB" sz="1800" b="1" i="0" u="none" strike="noStrike" dirty="0" err="1">
                <a:effectLst/>
                <a:latin typeface="Cambria" panose="02040503050406030204" pitchFamily="18" charset="0"/>
              </a:rPr>
              <a:t>serv</a:t>
            </a:r>
            <a:r>
              <a:rPr lang="en-GB" sz="1800" b="1" i="0" u="none" strike="noStrike" dirty="0">
                <a:effectLst/>
                <a:latin typeface="Cambria" panose="02040503050406030204" pitchFamily="18" charset="0"/>
              </a:rPr>
              <a:t> Europe: </a:t>
            </a:r>
            <a:r>
              <a:rPr lang="en-US" sz="1800" dirty="0">
                <a:latin typeface="Cambria" panose="02040503050406030204" pitchFamily="18" charset="0"/>
              </a:rPr>
              <a:t>continued strong performance since acquisition</a:t>
            </a:r>
          </a:p>
          <a:p>
            <a:endParaRPr lang="en-GB" sz="1800" dirty="0"/>
          </a:p>
        </p:txBody>
      </p:sp>
      <p:grpSp>
        <p:nvGrpSpPr>
          <p:cNvPr id="20" name="Group 19">
            <a:extLst>
              <a:ext uri="{FF2B5EF4-FFF2-40B4-BE49-F238E27FC236}">
                <a16:creationId xmlns:a16="http://schemas.microsoft.com/office/drawing/2014/main" id="{39BD57FF-C4EA-058F-4A6C-B50E832C5FAF}"/>
              </a:ext>
            </a:extLst>
          </p:cNvPr>
          <p:cNvGrpSpPr/>
          <p:nvPr/>
        </p:nvGrpSpPr>
        <p:grpSpPr>
          <a:xfrm>
            <a:off x="5053733" y="3230995"/>
            <a:ext cx="1135198" cy="769723"/>
            <a:chOff x="5085630" y="1877873"/>
            <a:chExt cx="1135198" cy="769723"/>
          </a:xfrm>
          <a:solidFill>
            <a:schemeClr val="tx2"/>
          </a:solidFill>
        </p:grpSpPr>
        <p:sp>
          <p:nvSpPr>
            <p:cNvPr id="18" name="Rectangle 17">
              <a:extLst>
                <a:ext uri="{FF2B5EF4-FFF2-40B4-BE49-F238E27FC236}">
                  <a16:creationId xmlns:a16="http://schemas.microsoft.com/office/drawing/2014/main" id="{7777C2BD-2DFA-CA39-29A3-54ABDF5797E0}"/>
                </a:ext>
              </a:extLst>
            </p:cNvPr>
            <p:cNvSpPr/>
            <p:nvPr/>
          </p:nvSpPr>
          <p:spPr>
            <a:xfrm>
              <a:off x="5114636" y="1921276"/>
              <a:ext cx="1077186" cy="682917"/>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mbria"/>
                <a:ea typeface="+mn-ea"/>
                <a:cs typeface="+mn-cs"/>
              </a:endParaRPr>
            </a:p>
          </p:txBody>
        </p:sp>
        <p:sp>
          <p:nvSpPr>
            <p:cNvPr id="17" name="Rectangle 16">
              <a:extLst>
                <a:ext uri="{FF2B5EF4-FFF2-40B4-BE49-F238E27FC236}">
                  <a16:creationId xmlns:a16="http://schemas.microsoft.com/office/drawing/2014/main" id="{68D7857A-D255-B4C5-35B1-BDB31DBA7652}"/>
                </a:ext>
              </a:extLst>
            </p:cNvPr>
            <p:cNvSpPr/>
            <p:nvPr/>
          </p:nvSpPr>
          <p:spPr>
            <a:xfrm>
              <a:off x="5129304" y="1921276"/>
              <a:ext cx="1077186" cy="682917"/>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mbria"/>
                <a:ea typeface="+mn-ea"/>
                <a:cs typeface="+mn-cs"/>
              </a:endParaRPr>
            </a:p>
          </p:txBody>
        </p:sp>
        <p:sp>
          <p:nvSpPr>
            <p:cNvPr id="60" name="Rectangle 59">
              <a:extLst>
                <a:ext uri="{FF2B5EF4-FFF2-40B4-BE49-F238E27FC236}">
                  <a16:creationId xmlns:a16="http://schemas.microsoft.com/office/drawing/2014/main" id="{CAF957BD-D92D-2BD0-61FE-0A8044C935A4}"/>
                </a:ext>
              </a:extLst>
            </p:cNvPr>
            <p:cNvSpPr/>
            <p:nvPr/>
          </p:nvSpPr>
          <p:spPr>
            <a:xfrm>
              <a:off x="5085630" y="1877873"/>
              <a:ext cx="1135198" cy="769723"/>
            </a:xfrm>
            <a:prstGeom prst="rect">
              <a:avLst/>
            </a:prstGeom>
            <a:grpFill/>
            <a:ln>
              <a:noFill/>
            </a:ln>
          </p:spPr>
          <p:style>
            <a:lnRef idx="2">
              <a:schemeClr val="accent2"/>
            </a:lnRef>
            <a:fillRef idx="1">
              <a:schemeClr val="lt1"/>
            </a:fillRef>
            <a:effectRef idx="0">
              <a:schemeClr val="accent2"/>
            </a:effectRef>
            <a:fontRef idx="minor">
              <a:schemeClr val="dk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Cambria"/>
                  <a:ea typeface="+mn-ea"/>
                  <a:cs typeface="+mn-cs"/>
                </a:rPr>
                <a:t>c. 220 employe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Cambria"/>
                  <a:ea typeface="+mn-ea"/>
                  <a:cs typeface="+mn-cs"/>
                </a:rPr>
                <a:t>nine offices</a:t>
              </a:r>
            </a:p>
          </p:txBody>
        </p:sp>
      </p:grpSp>
      <p:sp>
        <p:nvSpPr>
          <p:cNvPr id="1044" name="TextBox 1043">
            <a:extLst>
              <a:ext uri="{FF2B5EF4-FFF2-40B4-BE49-F238E27FC236}">
                <a16:creationId xmlns:a16="http://schemas.microsoft.com/office/drawing/2014/main" id="{3931063A-7767-F15C-0B5A-C7075452628F}"/>
              </a:ext>
            </a:extLst>
          </p:cNvPr>
          <p:cNvSpPr txBox="1"/>
          <p:nvPr/>
        </p:nvSpPr>
        <p:spPr>
          <a:xfrm>
            <a:off x="533401" y="3237337"/>
            <a:ext cx="3327902" cy="2949686"/>
          </a:xfrm>
          <a:prstGeom prst="rect">
            <a:avLst/>
          </a:prstGeom>
          <a:solidFill>
            <a:schemeClr val="accent2"/>
          </a:solidFill>
        </p:spPr>
        <p:txBody>
          <a:bodyPr wrap="square" lIns="18000" tIns="18000" rIns="18000" bIns="18000" rtlCol="0" anchor="t">
            <a:noAutofit/>
          </a:bodyPr>
          <a:lstStyle/>
          <a:p>
            <a:pPr marL="285750" marR="0" lvl="0" indent="-196850" algn="l" defTabSz="914400" rtl="0" eaLnBrk="1" fontAlgn="auto" latinLnBrk="0" hangingPunct="1">
              <a:lnSpc>
                <a:spcPct val="115000"/>
              </a:lnSpc>
              <a:spcBef>
                <a:spcPts val="0"/>
              </a:spcBef>
              <a:spcAft>
                <a:spcPts val="300"/>
              </a:spcAft>
              <a:buClr>
                <a:srgbClr val="FFFFFF"/>
              </a:buClr>
              <a:buSzTx/>
              <a:buFontTx/>
              <a:buNone/>
              <a:tabLst/>
              <a:defRPr/>
            </a:pPr>
            <a:r>
              <a:rPr kumimoji="0" lang="en-GB" sz="1600" b="1" i="0" u="none" strike="noStrike" kern="1200" cap="none" spc="0" normalizeH="0" baseline="0" noProof="0" dirty="0">
                <a:ln>
                  <a:noFill/>
                </a:ln>
                <a:solidFill>
                  <a:srgbClr val="FFFFFF"/>
                </a:solidFill>
                <a:effectLst/>
                <a:uLnTx/>
                <a:uFillTx/>
                <a:latin typeface="Cambria" panose="02040503050406030204" pitchFamily="18" charset="0"/>
                <a:ea typeface="Cambria" panose="02040503050406030204" pitchFamily="18" charset="0"/>
                <a:cs typeface="Times New Roman" panose="02020603050405020304" pitchFamily="18" charset="0"/>
              </a:rPr>
              <a:t>Performance: </a:t>
            </a:r>
          </a:p>
          <a:p>
            <a:pPr marL="285750" marR="0" lvl="0" indent="-196850" algn="l" defTabSz="914400" rtl="0" eaLnBrk="1" fontAlgn="auto" latinLnBrk="0" hangingPunct="1">
              <a:lnSpc>
                <a:spcPct val="115000"/>
              </a:lnSpc>
              <a:spcBef>
                <a:spcPts val="0"/>
              </a:spcBef>
              <a:spcAft>
                <a:spcPts val="300"/>
              </a:spcAft>
              <a:buClr>
                <a:srgbClr val="FFFFFF"/>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FFFFFF"/>
                </a:solidFill>
                <a:effectLst/>
                <a:uLnTx/>
                <a:uFillTx/>
                <a:latin typeface="Cambria" panose="02040503050406030204" pitchFamily="18" charset="0"/>
                <a:ea typeface="Cambria" panose="02040503050406030204" pitchFamily="18" charset="0"/>
                <a:cs typeface="Times New Roman" panose="02020603050405020304" pitchFamily="18" charset="0"/>
              </a:rPr>
              <a:t>Continued to perform well, reporting good year-on-year growth and trading ahead of expectations</a:t>
            </a:r>
          </a:p>
          <a:p>
            <a:pPr marL="285750" marR="0" lvl="0" indent="-196850" algn="l" defTabSz="914400" rtl="0" eaLnBrk="1" fontAlgn="auto" latinLnBrk="0" hangingPunct="1">
              <a:lnSpc>
                <a:spcPct val="115000"/>
              </a:lnSpc>
              <a:spcBef>
                <a:spcPts val="0"/>
              </a:spcBef>
              <a:spcAft>
                <a:spcPts val="300"/>
              </a:spcAft>
              <a:buClr>
                <a:srgbClr val="FFFFFF"/>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FFFFFF"/>
                </a:solidFill>
                <a:effectLst/>
                <a:uLnTx/>
                <a:uFillTx/>
                <a:latin typeface="Cambria" panose="02040503050406030204" pitchFamily="18" charset="0"/>
                <a:ea typeface="Cambria" panose="02040503050406030204" pitchFamily="18" charset="0"/>
                <a:cs typeface="Times New Roman" panose="02020603050405020304" pitchFamily="18" charset="0"/>
              </a:rPr>
              <a:t>c.60% market share, with c.23,000 machines installed across c.15,000 customer locations</a:t>
            </a:r>
          </a:p>
          <a:p>
            <a:pPr marL="285750" marR="0" lvl="0" indent="-196850" algn="l" defTabSz="914400" rtl="0" eaLnBrk="1" fontAlgn="auto" latinLnBrk="0" hangingPunct="1">
              <a:lnSpc>
                <a:spcPct val="115000"/>
              </a:lnSpc>
              <a:spcBef>
                <a:spcPts val="0"/>
              </a:spcBef>
              <a:spcAft>
                <a:spcPts val="300"/>
              </a:spcAft>
              <a:buClr>
                <a:srgbClr val="FFFFFF"/>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FFFFFF"/>
                </a:solidFill>
                <a:effectLst/>
                <a:uLnTx/>
                <a:uFillTx/>
                <a:latin typeface="Cambria" panose="02040503050406030204" pitchFamily="18" charset="0"/>
                <a:ea typeface="Cambria" panose="02040503050406030204" pitchFamily="18" charset="0"/>
                <a:cs typeface="Times New Roman" panose="02020603050405020304" pitchFamily="18" charset="0"/>
              </a:rPr>
              <a:t>July 2024: Received first dividend of £6.2m</a:t>
            </a:r>
            <a:endParaRPr kumimoji="0" lang="en-GB" sz="1600" b="0" i="0" u="none" strike="noStrike" kern="1200" cap="none" spc="0" normalizeH="0" baseline="0" noProof="0" dirty="0">
              <a:ln>
                <a:noFill/>
              </a:ln>
              <a:solidFill>
                <a:srgbClr val="FFFFFF"/>
              </a:solidFill>
              <a:effectLst/>
              <a:uLnTx/>
              <a:uFillTx/>
              <a:latin typeface="Cambria" panose="02040503050406030204" pitchFamily="18" charset="0"/>
              <a:ea typeface="Cambria" panose="02040503050406030204" pitchFamily="18" charset="0"/>
              <a:cs typeface="Times New Roman" panose="02020603050405020304" pitchFamily="18" charset="0"/>
            </a:endParaRPr>
          </a:p>
        </p:txBody>
      </p:sp>
      <p:sp>
        <p:nvSpPr>
          <p:cNvPr id="1048" name="Rectangle 1047">
            <a:extLst>
              <a:ext uri="{FF2B5EF4-FFF2-40B4-BE49-F238E27FC236}">
                <a16:creationId xmlns:a16="http://schemas.microsoft.com/office/drawing/2014/main" id="{B6CE1E35-8EF1-2D89-7108-797F4BB34F21}"/>
              </a:ext>
            </a:extLst>
          </p:cNvPr>
          <p:cNvSpPr/>
          <p:nvPr/>
        </p:nvSpPr>
        <p:spPr>
          <a:xfrm>
            <a:off x="4838580" y="1306773"/>
            <a:ext cx="6884312" cy="68291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2" indent="0" algn="l" defTabSz="914400" rtl="0" eaLnBrk="1" fontAlgn="auto" latinLnBrk="0" hangingPunct="1">
              <a:lnSpc>
                <a:spcPct val="90000"/>
              </a:lnSpc>
              <a:spcBef>
                <a:spcPts val="600"/>
              </a:spcBef>
              <a:spcAft>
                <a:spcPts val="0"/>
              </a:spcAft>
              <a:buClr>
                <a:srgbClr val="002868"/>
              </a:buClr>
              <a:buSzTx/>
              <a:buFontTx/>
              <a:buNone/>
              <a:tabLst/>
              <a:defRPr/>
            </a:pPr>
            <a:endParaRPr kumimoji="0" lang="en-GB" sz="1400" b="1" i="0" u="none" strike="noStrike" kern="1200" cap="none" spc="0" normalizeH="0" baseline="0" noProof="0">
              <a:ln>
                <a:noFill/>
              </a:ln>
              <a:solidFill>
                <a:srgbClr val="863478"/>
              </a:solidFill>
              <a:effectLst/>
              <a:uLnTx/>
              <a:uFillTx/>
              <a:latin typeface="Cambria"/>
              <a:ea typeface="Cambria"/>
              <a:cs typeface="+mn-cs"/>
            </a:endParaRPr>
          </a:p>
        </p:txBody>
      </p:sp>
      <p:cxnSp>
        <p:nvCxnSpPr>
          <p:cNvPr id="9" name="Straight Connector 8">
            <a:extLst>
              <a:ext uri="{FF2B5EF4-FFF2-40B4-BE49-F238E27FC236}">
                <a16:creationId xmlns:a16="http://schemas.microsoft.com/office/drawing/2014/main" id="{2028B4E5-515C-5BB8-D1B3-BE7C1015E894}"/>
              </a:ext>
            </a:extLst>
          </p:cNvPr>
          <p:cNvCxnSpPr>
            <a:cxnSpLocks/>
          </p:cNvCxnSpPr>
          <p:nvPr/>
        </p:nvCxnSpPr>
        <p:spPr>
          <a:xfrm>
            <a:off x="534988" y="1238874"/>
            <a:ext cx="1324292"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2" name="Slide Number Placeholder 11">
            <a:extLst>
              <a:ext uri="{FF2B5EF4-FFF2-40B4-BE49-F238E27FC236}">
                <a16:creationId xmlns:a16="http://schemas.microsoft.com/office/drawing/2014/main" id="{631349C6-AD68-B7BF-8F3F-93B9302B8A45}"/>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FCF0D39-BEE8-4D89-987A-40261FE54395}" type="slidenum">
              <a:rPr kumimoji="0" lang="en-GB" sz="1000" b="0" i="0" u="none" strike="noStrike" kern="1200" cap="none" spc="0" normalizeH="0" baseline="0" noProof="0" smtClean="0">
                <a:ln>
                  <a:noFill/>
                </a:ln>
                <a:solidFill>
                  <a:srgbClr val="4D4E53">
                    <a:lumMod val="60000"/>
                    <a:lumOff val="40000"/>
                  </a:srgbClr>
                </a:solidFill>
                <a:effectLst/>
                <a:uLnTx/>
                <a:uFillTx/>
                <a:latin typeface="Cambri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GB" sz="1000" b="0" i="0" u="none" strike="noStrike" kern="1200" cap="none" spc="0" normalizeH="0" baseline="0" noProof="0">
              <a:ln>
                <a:noFill/>
              </a:ln>
              <a:solidFill>
                <a:srgbClr val="4D4E53">
                  <a:lumMod val="60000"/>
                  <a:lumOff val="40000"/>
                </a:srgbClr>
              </a:solidFill>
              <a:effectLst/>
              <a:uLnTx/>
              <a:uFillTx/>
              <a:latin typeface="Cambria"/>
              <a:ea typeface="+mn-ea"/>
              <a:cs typeface="+mn-cs"/>
            </a:endParaRPr>
          </a:p>
        </p:txBody>
      </p:sp>
      <p:pic>
        <p:nvPicPr>
          <p:cNvPr id="3" name="Picture 2">
            <a:extLst>
              <a:ext uri="{FF2B5EF4-FFF2-40B4-BE49-F238E27FC236}">
                <a16:creationId xmlns:a16="http://schemas.microsoft.com/office/drawing/2014/main" id="{5E8A96E4-1967-0C76-5642-2FA48AE9E939}"/>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b="18747"/>
          <a:stretch/>
        </p:blipFill>
        <p:spPr bwMode="auto">
          <a:xfrm>
            <a:off x="10407650" y="889046"/>
            <a:ext cx="1352488" cy="699655"/>
          </a:xfrm>
          <a:prstGeom prst="rect">
            <a:avLst/>
          </a:prstGeom>
          <a:noFill/>
          <a:extLst>
            <a:ext uri="{909E8E84-426E-40DD-AFC4-6F175D3DCCD1}">
              <a14:hiddenFill xmlns:a14="http://schemas.microsoft.com/office/drawing/2010/main">
                <a:solidFill>
                  <a:srgbClr val="FFFFFF"/>
                </a:solidFill>
              </a14:hiddenFill>
            </a:ext>
          </a:extLst>
        </p:spPr>
      </p:pic>
      <p:sp>
        <p:nvSpPr>
          <p:cNvPr id="5" name="AutoShape 2">
            <a:extLst>
              <a:ext uri="{FF2B5EF4-FFF2-40B4-BE49-F238E27FC236}">
                <a16:creationId xmlns:a16="http://schemas.microsoft.com/office/drawing/2014/main" id="{F2B56D1E-71C0-5AAE-B31D-98E5CE2DF34F}"/>
              </a:ext>
            </a:extLst>
          </p:cNvPr>
          <p:cNvSpPr>
            <a:spLocks noChangeAspect="1" noChangeArrowheads="1"/>
          </p:cNvSpPr>
          <p:nvPr/>
        </p:nvSpPr>
        <p:spPr bwMode="auto">
          <a:xfrm>
            <a:off x="6206490" y="6751320"/>
            <a:ext cx="121853" cy="12185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D4E53"/>
              </a:solidFill>
              <a:effectLst/>
              <a:uLnTx/>
              <a:uFillTx/>
              <a:latin typeface="Cambria"/>
              <a:ea typeface="+mn-ea"/>
              <a:cs typeface="+mn-cs"/>
            </a:endParaRPr>
          </a:p>
        </p:txBody>
      </p:sp>
      <p:sp>
        <p:nvSpPr>
          <p:cNvPr id="7" name="AutoShape 6">
            <a:extLst>
              <a:ext uri="{FF2B5EF4-FFF2-40B4-BE49-F238E27FC236}">
                <a16:creationId xmlns:a16="http://schemas.microsoft.com/office/drawing/2014/main" id="{EE4808F2-B08A-CA5D-CC17-432580635B86}"/>
              </a:ext>
            </a:extLst>
          </p:cNvPr>
          <p:cNvSpPr>
            <a:spLocks noChangeAspect="1" noChangeArrowheads="1"/>
          </p:cNvSpPr>
          <p:nvPr/>
        </p:nvSpPr>
        <p:spPr bwMode="auto">
          <a:xfrm>
            <a:off x="6096000" y="3429000"/>
            <a:ext cx="3977310" cy="371555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D4E53"/>
              </a:solidFill>
              <a:effectLst/>
              <a:uLnTx/>
              <a:uFillTx/>
              <a:latin typeface="Cambria"/>
              <a:ea typeface="+mn-ea"/>
              <a:cs typeface="+mn-cs"/>
            </a:endParaRPr>
          </a:p>
        </p:txBody>
      </p:sp>
      <p:sp>
        <p:nvSpPr>
          <p:cNvPr id="10" name="AutoShape 8">
            <a:extLst>
              <a:ext uri="{FF2B5EF4-FFF2-40B4-BE49-F238E27FC236}">
                <a16:creationId xmlns:a16="http://schemas.microsoft.com/office/drawing/2014/main" id="{C75102B3-E54F-DD58-C8DC-552F93E543F7}"/>
              </a:ext>
            </a:extLst>
          </p:cNvPr>
          <p:cNvSpPr>
            <a:spLocks noChangeAspect="1" noChangeArrowheads="1"/>
          </p:cNvSpPr>
          <p:nvPr/>
        </p:nvSpPr>
        <p:spPr bwMode="auto">
          <a:xfrm>
            <a:off x="6696637" y="34290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D4E53"/>
              </a:solidFill>
              <a:effectLst/>
              <a:uLnTx/>
              <a:uFillTx/>
              <a:latin typeface="Cambria"/>
              <a:ea typeface="+mn-ea"/>
              <a:cs typeface="+mn-cs"/>
            </a:endParaRPr>
          </a:p>
        </p:txBody>
      </p:sp>
      <p:grpSp>
        <p:nvGrpSpPr>
          <p:cNvPr id="21" name="Group 20">
            <a:extLst>
              <a:ext uri="{FF2B5EF4-FFF2-40B4-BE49-F238E27FC236}">
                <a16:creationId xmlns:a16="http://schemas.microsoft.com/office/drawing/2014/main" id="{AAD83454-0615-34B4-684C-1A8C18CB095C}"/>
              </a:ext>
            </a:extLst>
          </p:cNvPr>
          <p:cNvGrpSpPr/>
          <p:nvPr/>
        </p:nvGrpSpPr>
        <p:grpSpPr>
          <a:xfrm>
            <a:off x="5053733" y="2367871"/>
            <a:ext cx="1135198" cy="769723"/>
            <a:chOff x="5085630" y="1877873"/>
            <a:chExt cx="1135198" cy="769723"/>
          </a:xfrm>
          <a:solidFill>
            <a:schemeClr val="tx2"/>
          </a:solidFill>
        </p:grpSpPr>
        <p:sp>
          <p:nvSpPr>
            <p:cNvPr id="22" name="Rectangle 21">
              <a:extLst>
                <a:ext uri="{FF2B5EF4-FFF2-40B4-BE49-F238E27FC236}">
                  <a16:creationId xmlns:a16="http://schemas.microsoft.com/office/drawing/2014/main" id="{C0694866-C719-F451-4416-8E2A87BD9E8F}"/>
                </a:ext>
              </a:extLst>
            </p:cNvPr>
            <p:cNvSpPr/>
            <p:nvPr/>
          </p:nvSpPr>
          <p:spPr>
            <a:xfrm>
              <a:off x="5114636" y="1921276"/>
              <a:ext cx="1077186" cy="682917"/>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mbria"/>
                <a:ea typeface="+mn-ea"/>
                <a:cs typeface="+mn-cs"/>
              </a:endParaRPr>
            </a:p>
          </p:txBody>
        </p:sp>
        <p:sp>
          <p:nvSpPr>
            <p:cNvPr id="23" name="Rectangle 22">
              <a:extLst>
                <a:ext uri="{FF2B5EF4-FFF2-40B4-BE49-F238E27FC236}">
                  <a16:creationId xmlns:a16="http://schemas.microsoft.com/office/drawing/2014/main" id="{D5960038-1299-BD2D-184F-F8397EADE3AD}"/>
                </a:ext>
              </a:extLst>
            </p:cNvPr>
            <p:cNvSpPr/>
            <p:nvPr/>
          </p:nvSpPr>
          <p:spPr>
            <a:xfrm>
              <a:off x="5129304" y="1921276"/>
              <a:ext cx="1077186" cy="682917"/>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mbria"/>
                <a:ea typeface="+mn-ea"/>
                <a:cs typeface="+mn-cs"/>
              </a:endParaRPr>
            </a:p>
          </p:txBody>
        </p:sp>
        <p:sp>
          <p:nvSpPr>
            <p:cNvPr id="25" name="Rectangle 24">
              <a:extLst>
                <a:ext uri="{FF2B5EF4-FFF2-40B4-BE49-F238E27FC236}">
                  <a16:creationId xmlns:a16="http://schemas.microsoft.com/office/drawing/2014/main" id="{A2C96D40-CDB5-BDCA-36BF-FA8B658453C8}"/>
                </a:ext>
              </a:extLst>
            </p:cNvPr>
            <p:cNvSpPr/>
            <p:nvPr/>
          </p:nvSpPr>
          <p:spPr>
            <a:xfrm>
              <a:off x="5085630" y="1877873"/>
              <a:ext cx="1135198" cy="769723"/>
            </a:xfrm>
            <a:prstGeom prst="rect">
              <a:avLst/>
            </a:prstGeom>
            <a:grpFill/>
            <a:ln>
              <a:noFill/>
            </a:ln>
          </p:spPr>
          <p:style>
            <a:lnRef idx="2">
              <a:schemeClr val="accent2"/>
            </a:lnRef>
            <a:fillRef idx="1">
              <a:schemeClr val="lt1"/>
            </a:fillRef>
            <a:effectRef idx="0">
              <a:schemeClr val="accent2"/>
            </a:effectRef>
            <a:fontRef idx="minor">
              <a:schemeClr val="dk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Cambria"/>
                  <a:ea typeface="+mn-ea"/>
                  <a:cs typeface="+mn-cs"/>
                </a:rPr>
                <a:t>HQ Wigan, Lancashire</a:t>
              </a:r>
            </a:p>
          </p:txBody>
        </p:sp>
      </p:grpSp>
      <p:grpSp>
        <p:nvGrpSpPr>
          <p:cNvPr id="30" name="Group 29">
            <a:extLst>
              <a:ext uri="{FF2B5EF4-FFF2-40B4-BE49-F238E27FC236}">
                <a16:creationId xmlns:a16="http://schemas.microsoft.com/office/drawing/2014/main" id="{2A9FE5A9-4499-E54B-8F2A-737B297EF054}"/>
              </a:ext>
            </a:extLst>
          </p:cNvPr>
          <p:cNvGrpSpPr/>
          <p:nvPr/>
        </p:nvGrpSpPr>
        <p:grpSpPr>
          <a:xfrm>
            <a:off x="5053733" y="4094119"/>
            <a:ext cx="1135198" cy="769723"/>
            <a:chOff x="5085630" y="1877873"/>
            <a:chExt cx="1135198" cy="769723"/>
          </a:xfrm>
          <a:solidFill>
            <a:schemeClr val="tx2"/>
          </a:solidFill>
        </p:grpSpPr>
        <p:sp>
          <p:nvSpPr>
            <p:cNvPr id="31" name="Rectangle 30">
              <a:extLst>
                <a:ext uri="{FF2B5EF4-FFF2-40B4-BE49-F238E27FC236}">
                  <a16:creationId xmlns:a16="http://schemas.microsoft.com/office/drawing/2014/main" id="{8FB5BF76-F3CE-E91A-F01F-7BCDD5A7183F}"/>
                </a:ext>
              </a:extLst>
            </p:cNvPr>
            <p:cNvSpPr/>
            <p:nvPr/>
          </p:nvSpPr>
          <p:spPr>
            <a:xfrm>
              <a:off x="5114636" y="1921276"/>
              <a:ext cx="1077186" cy="682917"/>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mbria"/>
                <a:ea typeface="+mn-ea"/>
                <a:cs typeface="+mn-cs"/>
              </a:endParaRPr>
            </a:p>
          </p:txBody>
        </p:sp>
        <p:sp>
          <p:nvSpPr>
            <p:cNvPr id="32" name="Rectangle 31">
              <a:extLst>
                <a:ext uri="{FF2B5EF4-FFF2-40B4-BE49-F238E27FC236}">
                  <a16:creationId xmlns:a16="http://schemas.microsoft.com/office/drawing/2014/main" id="{83499C89-B6E9-6950-3F3B-9DD99F960454}"/>
                </a:ext>
              </a:extLst>
            </p:cNvPr>
            <p:cNvSpPr/>
            <p:nvPr/>
          </p:nvSpPr>
          <p:spPr>
            <a:xfrm>
              <a:off x="5129304" y="1921276"/>
              <a:ext cx="1077186" cy="682917"/>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mbria"/>
                <a:ea typeface="+mn-ea"/>
                <a:cs typeface="+mn-cs"/>
              </a:endParaRPr>
            </a:p>
          </p:txBody>
        </p:sp>
        <p:sp>
          <p:nvSpPr>
            <p:cNvPr id="33" name="Rectangle 32">
              <a:extLst>
                <a:ext uri="{FF2B5EF4-FFF2-40B4-BE49-F238E27FC236}">
                  <a16:creationId xmlns:a16="http://schemas.microsoft.com/office/drawing/2014/main" id="{DFAF20E0-C0DD-7B39-BA25-7CC58C9A0EA2}"/>
                </a:ext>
              </a:extLst>
            </p:cNvPr>
            <p:cNvSpPr/>
            <p:nvPr/>
          </p:nvSpPr>
          <p:spPr>
            <a:xfrm>
              <a:off x="5085630" y="1877873"/>
              <a:ext cx="1135198" cy="769723"/>
            </a:xfrm>
            <a:prstGeom prst="rect">
              <a:avLst/>
            </a:prstGeom>
            <a:grpFill/>
            <a:ln>
              <a:noFill/>
            </a:ln>
          </p:spPr>
          <p:style>
            <a:lnRef idx="2">
              <a:schemeClr val="accent2"/>
            </a:lnRef>
            <a:fillRef idx="1">
              <a:schemeClr val="lt1"/>
            </a:fillRef>
            <a:effectRef idx="0">
              <a:schemeClr val="accent2"/>
            </a:effectRef>
            <a:fontRef idx="minor">
              <a:schemeClr val="dk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Cambria"/>
                  <a:ea typeface="+mn-ea"/>
                  <a:cs typeface="+mn-cs"/>
                </a:rPr>
                <a:t>Nine</a:t>
              </a:r>
              <a:r>
                <a:rPr kumimoji="0" lang="en-GB" sz="1400" b="1" i="0" u="none" strike="noStrike" kern="1200" cap="none" spc="0" normalizeH="0" baseline="0" noProof="0" dirty="0">
                  <a:ln>
                    <a:noFill/>
                  </a:ln>
                  <a:solidFill>
                    <a:srgbClr val="FF0000"/>
                  </a:solidFill>
                  <a:effectLst/>
                  <a:uLnTx/>
                  <a:uFillTx/>
                  <a:latin typeface="Cambria"/>
                  <a:ea typeface="+mn-ea"/>
                  <a:cs typeface="+mn-cs"/>
                </a:rPr>
                <a:t> </a:t>
              </a:r>
              <a:r>
                <a:rPr kumimoji="0" lang="en-GB" sz="1400" b="1" i="0" u="none" strike="noStrike" kern="1200" cap="none" spc="0" normalizeH="0" baseline="0" noProof="0" dirty="0">
                  <a:ln>
                    <a:noFill/>
                  </a:ln>
                  <a:solidFill>
                    <a:srgbClr val="FFFFFF"/>
                  </a:solidFill>
                  <a:effectLst/>
                  <a:uLnTx/>
                  <a:uFillTx/>
                  <a:latin typeface="Cambria"/>
                  <a:ea typeface="+mn-ea"/>
                  <a:cs typeface="+mn-cs"/>
                </a:rPr>
                <a:t>countries </a:t>
              </a:r>
            </a:p>
          </p:txBody>
        </p:sp>
      </p:grpSp>
      <p:grpSp>
        <p:nvGrpSpPr>
          <p:cNvPr id="34" name="Group 33">
            <a:extLst>
              <a:ext uri="{FF2B5EF4-FFF2-40B4-BE49-F238E27FC236}">
                <a16:creationId xmlns:a16="http://schemas.microsoft.com/office/drawing/2014/main" id="{ABF4C629-7354-1E7E-C663-3653C0237D06}"/>
              </a:ext>
            </a:extLst>
          </p:cNvPr>
          <p:cNvGrpSpPr/>
          <p:nvPr/>
        </p:nvGrpSpPr>
        <p:grpSpPr>
          <a:xfrm>
            <a:off x="5053733" y="4957243"/>
            <a:ext cx="1135198" cy="769723"/>
            <a:chOff x="5085630" y="1877873"/>
            <a:chExt cx="1135198" cy="769723"/>
          </a:xfrm>
          <a:solidFill>
            <a:schemeClr val="tx2"/>
          </a:solidFill>
        </p:grpSpPr>
        <p:sp>
          <p:nvSpPr>
            <p:cNvPr id="35" name="Rectangle 34">
              <a:extLst>
                <a:ext uri="{FF2B5EF4-FFF2-40B4-BE49-F238E27FC236}">
                  <a16:creationId xmlns:a16="http://schemas.microsoft.com/office/drawing/2014/main" id="{5299EEFE-FD00-390D-FA0E-1803D523F21D}"/>
                </a:ext>
              </a:extLst>
            </p:cNvPr>
            <p:cNvSpPr/>
            <p:nvPr/>
          </p:nvSpPr>
          <p:spPr>
            <a:xfrm>
              <a:off x="5114636" y="1921276"/>
              <a:ext cx="1077186" cy="682917"/>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mbria"/>
                <a:ea typeface="+mn-ea"/>
                <a:cs typeface="+mn-cs"/>
              </a:endParaRPr>
            </a:p>
          </p:txBody>
        </p:sp>
        <p:sp>
          <p:nvSpPr>
            <p:cNvPr id="36" name="Rectangle 35">
              <a:extLst>
                <a:ext uri="{FF2B5EF4-FFF2-40B4-BE49-F238E27FC236}">
                  <a16:creationId xmlns:a16="http://schemas.microsoft.com/office/drawing/2014/main" id="{B38F4D00-3F40-0523-3804-8E4C2F5F4C55}"/>
                </a:ext>
              </a:extLst>
            </p:cNvPr>
            <p:cNvSpPr/>
            <p:nvPr/>
          </p:nvSpPr>
          <p:spPr>
            <a:xfrm>
              <a:off x="5129304" y="1921276"/>
              <a:ext cx="1077186" cy="682917"/>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mbria"/>
                <a:ea typeface="+mn-ea"/>
                <a:cs typeface="+mn-cs"/>
              </a:endParaRPr>
            </a:p>
          </p:txBody>
        </p:sp>
        <p:sp>
          <p:nvSpPr>
            <p:cNvPr id="37" name="Rectangle 36">
              <a:extLst>
                <a:ext uri="{FF2B5EF4-FFF2-40B4-BE49-F238E27FC236}">
                  <a16:creationId xmlns:a16="http://schemas.microsoft.com/office/drawing/2014/main" id="{05473156-AB6E-6934-87A0-42E32451A6B6}"/>
                </a:ext>
              </a:extLst>
            </p:cNvPr>
            <p:cNvSpPr/>
            <p:nvPr/>
          </p:nvSpPr>
          <p:spPr>
            <a:xfrm>
              <a:off x="5085630" y="1877873"/>
              <a:ext cx="1135198" cy="769723"/>
            </a:xfrm>
            <a:prstGeom prst="rect">
              <a:avLst/>
            </a:prstGeom>
            <a:grpFill/>
            <a:ln>
              <a:noFill/>
            </a:ln>
          </p:spPr>
          <p:style>
            <a:lnRef idx="2">
              <a:schemeClr val="accent2"/>
            </a:lnRef>
            <a:fillRef idx="1">
              <a:schemeClr val="lt1"/>
            </a:fillRef>
            <a:effectRef idx="0">
              <a:schemeClr val="accent2"/>
            </a:effectRef>
            <a:fontRef idx="minor">
              <a:schemeClr val="dk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Cambria"/>
                  <a:ea typeface="+mn-ea"/>
                  <a:cs typeface="+mn-cs"/>
                </a:rPr>
                <a:t>c. 23,00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Cambria"/>
                  <a:ea typeface="+mn-ea"/>
                  <a:cs typeface="+mn-cs"/>
                </a:rPr>
                <a:t>machines </a:t>
              </a:r>
            </a:p>
          </p:txBody>
        </p:sp>
      </p:grpSp>
      <p:sp>
        <p:nvSpPr>
          <p:cNvPr id="51" name="TextBox 50">
            <a:extLst>
              <a:ext uri="{FF2B5EF4-FFF2-40B4-BE49-F238E27FC236}">
                <a16:creationId xmlns:a16="http://schemas.microsoft.com/office/drawing/2014/main" id="{02D5FA4A-16E7-AE5C-47A9-B8E114FA1446}"/>
              </a:ext>
            </a:extLst>
          </p:cNvPr>
          <p:cNvSpPr txBox="1"/>
          <p:nvPr/>
        </p:nvSpPr>
        <p:spPr>
          <a:xfrm>
            <a:off x="4516776" y="1718155"/>
            <a:ext cx="5934486" cy="386443"/>
          </a:xfrm>
          <a:prstGeom prst="rect">
            <a:avLst/>
          </a:prstGeom>
          <a:noFill/>
        </p:spPr>
        <p:txBody>
          <a:bodyPr wrap="square" lIns="18000" tIns="18000" rIns="18000" bIns="18000" rtlCol="0">
            <a:noAutofit/>
          </a:bodyPr>
          <a:lstStyle/>
          <a:p>
            <a:pPr marL="0" marR="0" lvl="0" indent="0" algn="l" defTabSz="914400" rtl="0" eaLnBrk="1" fontAlgn="auto" latinLnBrk="0" hangingPunct="1">
              <a:lnSpc>
                <a:spcPct val="115000"/>
              </a:lnSpc>
              <a:spcBef>
                <a:spcPts val="0"/>
              </a:spcBef>
              <a:spcAft>
                <a:spcPts val="300"/>
              </a:spcAft>
              <a:buClrTx/>
              <a:buSzTx/>
              <a:buFontTx/>
              <a:buNone/>
              <a:tabLst/>
              <a:defRPr/>
            </a:pPr>
            <a:r>
              <a:rPr kumimoji="0" lang="en-GB" sz="1600" b="1" i="0" u="none" strike="noStrike" kern="1200" cap="none" spc="0" normalizeH="0" baseline="0" noProof="0" dirty="0">
                <a:ln>
                  <a:noFill/>
                </a:ln>
                <a:solidFill>
                  <a:srgbClr val="002868"/>
                </a:solidFill>
                <a:effectLst/>
                <a:uLnTx/>
                <a:uFillTx/>
                <a:latin typeface="Cambria" panose="02040503050406030204" pitchFamily="18" charset="0"/>
                <a:ea typeface="Cambria" panose="02040503050406030204" pitchFamily="18" charset="0"/>
                <a:cs typeface="Times New Roman" panose="02020603050405020304" pitchFamily="18" charset="0"/>
              </a:rPr>
              <a:t>Opportunity for growth in existing and new geographies</a:t>
            </a:r>
          </a:p>
          <a:p>
            <a:pPr marL="0" marR="0" lvl="0" indent="0" algn="l" defTabSz="914400" rtl="0" eaLnBrk="1" fontAlgn="auto" latinLnBrk="0" hangingPunct="1">
              <a:lnSpc>
                <a:spcPct val="115000"/>
              </a:lnSpc>
              <a:spcBef>
                <a:spcPts val="0"/>
              </a:spcBef>
              <a:spcAft>
                <a:spcPts val="300"/>
              </a:spcAft>
              <a:buClrTx/>
              <a:buSzTx/>
              <a:buFontTx/>
              <a:buNone/>
              <a:tabLst/>
              <a:defRPr/>
            </a:pPr>
            <a:endParaRPr kumimoji="0" lang="en-GB" sz="1600" b="1" i="0" u="none" strike="noStrike" kern="1200" cap="none" spc="0" normalizeH="0" baseline="0" noProof="0" dirty="0">
              <a:ln>
                <a:noFill/>
              </a:ln>
              <a:solidFill>
                <a:srgbClr val="002868"/>
              </a:solidFill>
              <a:effectLst/>
              <a:uLnTx/>
              <a:uFillTx/>
              <a:latin typeface="Cambria" panose="02040503050406030204" pitchFamily="18" charset="0"/>
              <a:ea typeface="Cambria" panose="02040503050406030204" pitchFamily="18" charset="0"/>
              <a:cs typeface="Times New Roman" panose="02020603050405020304" pitchFamily="18" charset="0"/>
            </a:endParaRPr>
          </a:p>
        </p:txBody>
      </p:sp>
      <p:sp>
        <p:nvSpPr>
          <p:cNvPr id="8" name="Rectangle 7">
            <a:extLst>
              <a:ext uri="{FF2B5EF4-FFF2-40B4-BE49-F238E27FC236}">
                <a16:creationId xmlns:a16="http://schemas.microsoft.com/office/drawing/2014/main" id="{98885D30-9B4E-CF61-4B46-86DAA3A771E2}"/>
              </a:ext>
            </a:extLst>
          </p:cNvPr>
          <p:cNvSpPr/>
          <p:nvPr/>
        </p:nvSpPr>
        <p:spPr>
          <a:xfrm>
            <a:off x="6357530" y="5942666"/>
            <a:ext cx="213011" cy="153888"/>
          </a:xfrm>
          <a:prstGeom prst="rect">
            <a:avLst/>
          </a:prstGeom>
          <a:solidFill>
            <a:srgbClr val="004A8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mbria"/>
              <a:ea typeface="+mn-ea"/>
              <a:cs typeface="+mn-cs"/>
            </a:endParaRPr>
          </a:p>
        </p:txBody>
      </p:sp>
      <p:sp>
        <p:nvSpPr>
          <p:cNvPr id="13" name="TextBox 12">
            <a:extLst>
              <a:ext uri="{FF2B5EF4-FFF2-40B4-BE49-F238E27FC236}">
                <a16:creationId xmlns:a16="http://schemas.microsoft.com/office/drawing/2014/main" id="{8E7DC8CD-CA7C-15A9-890D-EAB368C1EB8F}"/>
              </a:ext>
            </a:extLst>
          </p:cNvPr>
          <p:cNvSpPr txBox="1"/>
          <p:nvPr/>
        </p:nvSpPr>
        <p:spPr>
          <a:xfrm>
            <a:off x="6531586" y="5827758"/>
            <a:ext cx="726481" cy="43088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4D4E53"/>
                </a:solidFill>
                <a:effectLst/>
                <a:uLnTx/>
                <a:uFillTx/>
                <a:latin typeface="Cambria"/>
                <a:ea typeface="+mn-ea"/>
                <a:cs typeface="+mn-cs"/>
              </a:rPr>
              <a:t>Current </a:t>
            </a:r>
            <a:br>
              <a:rPr kumimoji="0" lang="en-GB" sz="1100" b="0" i="0" u="none" strike="noStrike" kern="1200" cap="none" spc="0" normalizeH="0" baseline="0" noProof="0">
                <a:ln>
                  <a:noFill/>
                </a:ln>
                <a:solidFill>
                  <a:srgbClr val="4D4E53"/>
                </a:solidFill>
                <a:effectLst/>
                <a:uLnTx/>
                <a:uFillTx/>
                <a:latin typeface="Cambria"/>
                <a:ea typeface="+mn-ea"/>
                <a:cs typeface="+mn-cs"/>
              </a:rPr>
            </a:br>
            <a:r>
              <a:rPr kumimoji="0" lang="en-GB" sz="1100" b="0" i="0" u="none" strike="noStrike" kern="1200" cap="none" spc="0" normalizeH="0" baseline="0" noProof="0">
                <a:ln>
                  <a:noFill/>
                </a:ln>
                <a:solidFill>
                  <a:srgbClr val="4D4E53"/>
                </a:solidFill>
                <a:effectLst/>
                <a:uLnTx/>
                <a:uFillTx/>
                <a:latin typeface="Cambria"/>
                <a:ea typeface="+mn-ea"/>
                <a:cs typeface="+mn-cs"/>
              </a:rPr>
              <a:t>coverage</a:t>
            </a:r>
          </a:p>
        </p:txBody>
      </p:sp>
      <p:sp>
        <p:nvSpPr>
          <p:cNvPr id="14" name="Content Placeholder 2">
            <a:extLst>
              <a:ext uri="{FF2B5EF4-FFF2-40B4-BE49-F238E27FC236}">
                <a16:creationId xmlns:a16="http://schemas.microsoft.com/office/drawing/2014/main" id="{6AAC92ED-A32F-6A43-9571-BACB4E389067}"/>
              </a:ext>
            </a:extLst>
          </p:cNvPr>
          <p:cNvSpPr>
            <a:spLocks/>
          </p:cNvSpPr>
          <p:nvPr/>
        </p:nvSpPr>
        <p:spPr>
          <a:xfrm>
            <a:off x="533400" y="1902395"/>
            <a:ext cx="3327902" cy="1084645"/>
          </a:xfrm>
          <a:prstGeom prst="rect">
            <a:avLst/>
          </a:prstGeom>
          <a:solidFill>
            <a:schemeClr val="accent1">
              <a:alpha val="30000"/>
            </a:schemeClr>
          </a:solidFill>
          <a:ln w="12700">
            <a:no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tab pos="2330450" algn="l"/>
              </a:tabLst>
              <a:defRPr/>
            </a:pPr>
            <a:r>
              <a:rPr kumimoji="0" lang="en-GB" sz="1600" b="1" i="0" u="none" strike="noStrike" kern="1200" cap="none" spc="0" normalizeH="0" baseline="0" noProof="0" dirty="0">
                <a:ln>
                  <a:noFill/>
                </a:ln>
                <a:solidFill>
                  <a:srgbClr val="002868"/>
                </a:solidFill>
                <a:effectLst/>
                <a:uLnTx/>
                <a:uFillTx/>
                <a:latin typeface="Cambria"/>
                <a:ea typeface="+mn-ea"/>
                <a:cs typeface="+mn-cs"/>
              </a:rPr>
              <a:t>Cost (August 2023):	£143m</a:t>
            </a:r>
          </a:p>
          <a:p>
            <a:pPr marL="0" marR="0" lvl="0" indent="0" algn="l" defTabSz="914400" rtl="0" eaLnBrk="1" fontAlgn="auto" latinLnBrk="0" hangingPunct="1">
              <a:lnSpc>
                <a:spcPct val="100000"/>
              </a:lnSpc>
              <a:spcBef>
                <a:spcPts val="0"/>
              </a:spcBef>
              <a:spcAft>
                <a:spcPts val="0"/>
              </a:spcAft>
              <a:buClrTx/>
              <a:buSzTx/>
              <a:buFontTx/>
              <a:buNone/>
              <a:tabLst>
                <a:tab pos="2330450" algn="l"/>
              </a:tabLst>
              <a:defRPr/>
            </a:pPr>
            <a:r>
              <a:rPr kumimoji="0" lang="en-GB" sz="1600" b="1" i="0" u="none" strike="noStrike" kern="1200" cap="none" spc="0" normalizeH="0" baseline="0" noProof="0" dirty="0">
                <a:ln>
                  <a:noFill/>
                </a:ln>
                <a:solidFill>
                  <a:srgbClr val="002868"/>
                </a:solidFill>
                <a:effectLst/>
                <a:uLnTx/>
                <a:uFillTx/>
                <a:latin typeface="Cambria"/>
                <a:ea typeface="+mn-ea"/>
                <a:cs typeface="+mn-cs"/>
              </a:rPr>
              <a:t>31 March 2025 Value:	£198m </a:t>
            </a:r>
          </a:p>
          <a:p>
            <a:pPr marL="0" marR="0" lvl="0" indent="0" algn="l" defTabSz="777875"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002868"/>
                </a:solidFill>
                <a:effectLst/>
                <a:uLnTx/>
                <a:uFillTx/>
                <a:latin typeface="Cambria"/>
                <a:ea typeface="+mn-ea"/>
                <a:cs typeface="+mn-cs"/>
              </a:rPr>
              <a:t>(% NAV):		6.7%</a:t>
            </a:r>
          </a:p>
          <a:p>
            <a:pPr marL="0" marR="0" lvl="0" indent="0" algn="l" defTabSz="914400" rtl="0" eaLnBrk="1" fontAlgn="auto" latinLnBrk="0" hangingPunct="1">
              <a:lnSpc>
                <a:spcPct val="100000"/>
              </a:lnSpc>
              <a:spcBef>
                <a:spcPts val="0"/>
              </a:spcBef>
              <a:spcAft>
                <a:spcPts val="0"/>
              </a:spcAft>
              <a:buClrTx/>
              <a:buSzTx/>
              <a:buFontTx/>
              <a:buNone/>
              <a:tabLst>
                <a:tab pos="2330450" algn="l"/>
              </a:tabLst>
              <a:defRPr/>
            </a:pPr>
            <a:r>
              <a:rPr kumimoji="0" lang="en-GB" sz="1600" b="1" i="0" u="none" strike="noStrike" kern="1200" cap="none" spc="0" normalizeH="0" baseline="0" noProof="0" dirty="0">
                <a:ln>
                  <a:noFill/>
                </a:ln>
                <a:solidFill>
                  <a:srgbClr val="002868"/>
                </a:solidFill>
                <a:effectLst/>
                <a:uLnTx/>
                <a:uFillTx/>
                <a:latin typeface="Cambria"/>
                <a:ea typeface="+mn-ea"/>
                <a:cs typeface="+mn-cs"/>
              </a:rPr>
              <a:t>IRR: 	20.3%</a:t>
            </a:r>
          </a:p>
        </p:txBody>
      </p:sp>
      <p:sp>
        <p:nvSpPr>
          <p:cNvPr id="15" name="TextBox 14">
            <a:extLst>
              <a:ext uri="{FF2B5EF4-FFF2-40B4-BE49-F238E27FC236}">
                <a16:creationId xmlns:a16="http://schemas.microsoft.com/office/drawing/2014/main" id="{125D4B5C-034D-BC12-C504-EE393B04A47E}"/>
              </a:ext>
            </a:extLst>
          </p:cNvPr>
          <p:cNvSpPr txBox="1"/>
          <p:nvPr/>
        </p:nvSpPr>
        <p:spPr>
          <a:xfrm>
            <a:off x="445615" y="6379532"/>
            <a:ext cx="2791149" cy="338554"/>
          </a:xfrm>
          <a:prstGeom prst="rect">
            <a:avLst/>
          </a:prstGeom>
          <a:noFill/>
        </p:spPr>
        <p:txBody>
          <a:bodyPr wrap="none" rtlCol="0">
            <a:spAutoFit/>
          </a:bodyPr>
          <a:lstStyle/>
          <a:p>
            <a:r>
              <a:rPr lang="en-US" sz="800" dirty="0">
                <a:solidFill>
                  <a:schemeClr val="tx1"/>
                </a:solidFill>
                <a:latin typeface="Cambria" panose="02040503050406030204" pitchFamily="18" charset="0"/>
                <a:ea typeface="Cambria" panose="02040503050406030204" pitchFamily="18" charset="0"/>
              </a:rPr>
              <a:t>Past performance is not a reliable indicator of future results</a:t>
            </a:r>
            <a:endParaRPr lang="en-GB" sz="800"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sz="800" dirty="0">
                <a:solidFill>
                  <a:srgbClr val="4D4E53"/>
                </a:solidFill>
                <a:latin typeface="Cambria"/>
              </a:rPr>
              <a:t>Caledonia financial information at 31 March 2025</a:t>
            </a:r>
            <a:endParaRPr kumimoji="0" lang="en-GB" sz="800" b="0" i="0" u="none" strike="noStrike" kern="1200" cap="none" spc="0" normalizeH="0" baseline="0" noProof="0" dirty="0">
              <a:ln>
                <a:noFill/>
              </a:ln>
              <a:solidFill>
                <a:srgbClr val="4D4E53"/>
              </a:solidFill>
              <a:effectLst/>
              <a:uLnTx/>
              <a:uFillTx/>
              <a:latin typeface="Cambria"/>
              <a:ea typeface="+mn-ea"/>
              <a:cs typeface="+mn-cs"/>
            </a:endParaRPr>
          </a:p>
        </p:txBody>
      </p:sp>
      <p:pic>
        <p:nvPicPr>
          <p:cNvPr id="11" name="Picture 10">
            <a:extLst>
              <a:ext uri="{FF2B5EF4-FFF2-40B4-BE49-F238E27FC236}">
                <a16:creationId xmlns:a16="http://schemas.microsoft.com/office/drawing/2014/main" id="{D4873804-3208-F053-B732-08F0540DF7A4}"/>
              </a:ext>
            </a:extLst>
          </p:cNvPr>
          <p:cNvPicPr>
            <a:picLocks noChangeAspect="1"/>
          </p:cNvPicPr>
          <p:nvPr/>
        </p:nvPicPr>
        <p:blipFill>
          <a:blip r:embed="rId7"/>
          <a:srcRect t="17601" r="44138"/>
          <a:stretch/>
        </p:blipFill>
        <p:spPr>
          <a:xfrm>
            <a:off x="6868928" y="2014729"/>
            <a:ext cx="4789671" cy="6289822"/>
          </a:xfrm>
          <a:prstGeom prst="rect">
            <a:avLst/>
          </a:prstGeom>
        </p:spPr>
      </p:pic>
    </p:spTree>
    <p:extLst>
      <p:ext uri="{BB962C8B-B14F-4D97-AF65-F5344CB8AC3E}">
        <p14:creationId xmlns:p14="http://schemas.microsoft.com/office/powerpoint/2010/main" val="152345548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7C2FF46-430D-410F-0385-0E44D00B33D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think-cell data - do not delete" hidden="1">
                        <a:extLst>
                          <a:ext uri="{FF2B5EF4-FFF2-40B4-BE49-F238E27FC236}">
                            <a16:creationId xmlns:a16="http://schemas.microsoft.com/office/drawing/2014/main" id="{C7C2FF46-430D-410F-0385-0E44D00B33D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BAB2A31-D07A-342B-F627-953134D20121}"/>
              </a:ext>
            </a:extLst>
          </p:cNvPr>
          <p:cNvSpPr>
            <a:spLocks noGrp="1"/>
          </p:cNvSpPr>
          <p:nvPr>
            <p:ph type="title"/>
          </p:nvPr>
        </p:nvSpPr>
        <p:spPr/>
        <p:txBody>
          <a:bodyPr vert="horz"/>
          <a:lstStyle/>
          <a:p>
            <a:r>
              <a:rPr lang="en-US" sz="3200"/>
              <a:t>KLH Capital</a:t>
            </a:r>
            <a:endParaRPr lang="en-GB" sz="4000"/>
          </a:p>
        </p:txBody>
      </p:sp>
      <p:sp>
        <p:nvSpPr>
          <p:cNvPr id="6" name="Slide Number Placeholder 5">
            <a:extLst>
              <a:ext uri="{FF2B5EF4-FFF2-40B4-BE49-F238E27FC236}">
                <a16:creationId xmlns:a16="http://schemas.microsoft.com/office/drawing/2014/main" id="{FFEF1001-6C13-0E99-4DD1-F38CF720A3B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FCF0D39-BEE8-4D89-987A-40261FE54395}" type="slidenum">
              <a:rPr kumimoji="0" lang="en-GB" sz="1000" b="0" i="0" u="none" strike="noStrike" kern="1200" cap="none" spc="0" normalizeH="0" baseline="0" noProof="0" smtClean="0">
                <a:ln>
                  <a:noFill/>
                </a:ln>
                <a:solidFill>
                  <a:srgbClr val="4D4E53">
                    <a:lumMod val="60000"/>
                    <a:lumOff val="40000"/>
                  </a:srgbClr>
                </a:solidFill>
                <a:effectLst/>
                <a:uLnTx/>
                <a:uFillTx/>
                <a:latin typeface="Cambri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GB" sz="1000" b="0" i="0" u="none" strike="noStrike" kern="1200" cap="none" spc="0" normalizeH="0" baseline="0" noProof="0">
              <a:ln>
                <a:noFill/>
              </a:ln>
              <a:solidFill>
                <a:srgbClr val="4D4E53">
                  <a:lumMod val="60000"/>
                  <a:lumOff val="40000"/>
                </a:srgbClr>
              </a:solidFill>
              <a:effectLst/>
              <a:uLnTx/>
              <a:uFillTx/>
              <a:latin typeface="Cambria"/>
              <a:ea typeface="+mn-ea"/>
              <a:cs typeface="+mn-cs"/>
            </a:endParaRPr>
          </a:p>
        </p:txBody>
      </p:sp>
      <p:sp>
        <p:nvSpPr>
          <p:cNvPr id="12" name="Text Placeholder 11">
            <a:extLst>
              <a:ext uri="{FF2B5EF4-FFF2-40B4-BE49-F238E27FC236}">
                <a16:creationId xmlns:a16="http://schemas.microsoft.com/office/drawing/2014/main" id="{504C7F64-348A-F507-C387-FAB0BC4F41BB}"/>
              </a:ext>
            </a:extLst>
          </p:cNvPr>
          <p:cNvSpPr>
            <a:spLocks noGrp="1"/>
          </p:cNvSpPr>
          <p:nvPr>
            <p:ph type="body" sz="half" idx="2"/>
          </p:nvPr>
        </p:nvSpPr>
        <p:spPr>
          <a:xfrm>
            <a:off x="568308" y="844620"/>
            <a:ext cx="9771399" cy="324000"/>
          </a:xfrm>
        </p:spPr>
        <p:txBody>
          <a:bodyPr vert="horz" wrap="square" lIns="0" tIns="0" rIns="0" bIns="0" rtlCol="0">
            <a:normAutofit/>
          </a:bodyPr>
          <a:lstStyle/>
          <a:p>
            <a:r>
              <a:rPr lang="en-US" sz="1800"/>
              <a:t>Tampa Florida-based, lower mid-market buyout manager</a:t>
            </a:r>
            <a:endParaRPr lang="en-GB" sz="1800"/>
          </a:p>
          <a:p>
            <a:endParaRPr lang="en-GB" sz="2400"/>
          </a:p>
        </p:txBody>
      </p:sp>
      <p:sp>
        <p:nvSpPr>
          <p:cNvPr id="5" name="Rectangle 4">
            <a:extLst>
              <a:ext uri="{FF2B5EF4-FFF2-40B4-BE49-F238E27FC236}">
                <a16:creationId xmlns:a16="http://schemas.microsoft.com/office/drawing/2014/main" id="{4631EDEC-C781-2874-6C88-95CAFA5EB3A8}"/>
              </a:ext>
            </a:extLst>
          </p:cNvPr>
          <p:cNvSpPr/>
          <p:nvPr/>
        </p:nvSpPr>
        <p:spPr>
          <a:xfrm>
            <a:off x="6390394" y="1249352"/>
            <a:ext cx="5262225" cy="4914224"/>
          </a:xfrm>
          <a:prstGeom prst="rect">
            <a:avLst/>
          </a:prstGeom>
          <a:solidFill>
            <a:srgbClr val="C3AC78">
              <a:alpha val="3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742950"/>
            <a:endParaRPr lang="en-GB" sz="1463">
              <a:solidFill>
                <a:srgbClr val="FFFFFF"/>
              </a:solidFill>
              <a:latin typeface="Cambria"/>
            </a:endParaRPr>
          </a:p>
        </p:txBody>
      </p:sp>
      <p:sp>
        <p:nvSpPr>
          <p:cNvPr id="7" name="Content Placeholder 2">
            <a:extLst>
              <a:ext uri="{FF2B5EF4-FFF2-40B4-BE49-F238E27FC236}">
                <a16:creationId xmlns:a16="http://schemas.microsoft.com/office/drawing/2014/main" id="{DD6AB148-61CB-7C55-115B-93DF95AE4900}"/>
              </a:ext>
            </a:extLst>
          </p:cNvPr>
          <p:cNvSpPr txBox="1">
            <a:spLocks/>
          </p:cNvSpPr>
          <p:nvPr/>
        </p:nvSpPr>
        <p:spPr>
          <a:xfrm>
            <a:off x="1617917" y="5486693"/>
            <a:ext cx="4421167" cy="838476"/>
          </a:xfrm>
          <a:prstGeom prst="rect">
            <a:avLst/>
          </a:prstGeom>
        </p:spPr>
        <p:txBody>
          <a:bodyPr lIns="0" tIns="0" rIns="0" bIns="0">
            <a:noAutofit/>
          </a:bodyPr>
          <a:lstStyle>
            <a:lvl1pPr marL="0" indent="0" algn="l" defTabSz="914400" rtl="0" eaLnBrk="1" latinLnBrk="0" hangingPunct="1">
              <a:lnSpc>
                <a:spcPct val="90000"/>
              </a:lnSpc>
              <a:spcBef>
                <a:spcPts val="1800"/>
              </a:spcBef>
              <a:buFont typeface="Arial" panose="020B0604020202020204" pitchFamily="34" charset="0"/>
              <a:buNone/>
              <a:defRPr sz="1800" b="0" kern="1200">
                <a:solidFill>
                  <a:schemeClr val="tx2"/>
                </a:solidFill>
                <a:latin typeface="+mj-lt"/>
                <a:ea typeface="+mn-ea"/>
                <a:cs typeface="+mn-cs"/>
              </a:defRPr>
            </a:lvl1pPr>
            <a:lvl2pPr marL="7938" indent="0" algn="l" defTabSz="914400" rtl="0" eaLnBrk="1" latinLnBrk="0" hangingPunct="1">
              <a:lnSpc>
                <a:spcPct val="90000"/>
              </a:lnSpc>
              <a:spcBef>
                <a:spcPts val="600"/>
              </a:spcBef>
              <a:buFont typeface="Arial" panose="020B0604020202020204" pitchFamily="34" charset="0"/>
              <a:buNone/>
              <a:defRPr sz="1600" kern="1200">
                <a:solidFill>
                  <a:schemeClr val="tx1"/>
                </a:solidFill>
                <a:latin typeface="+mn-lt"/>
                <a:ea typeface="+mn-ea"/>
                <a:cs typeface="+mn-cs"/>
              </a:defRPr>
            </a:lvl2pPr>
            <a:lvl3pPr marL="176213" indent="-176213" algn="l" defTabSz="914400" rtl="0" eaLnBrk="1" latinLnBrk="0" hangingPunct="1">
              <a:lnSpc>
                <a:spcPct val="90000"/>
              </a:lnSpc>
              <a:spcBef>
                <a:spcPts val="1200"/>
              </a:spcBef>
              <a:buClr>
                <a:schemeClr val="tx2"/>
              </a:buClr>
              <a:buFont typeface="Arial" panose="020B0604020202020204" pitchFamily="34" charset="0"/>
              <a:buChar char="•"/>
              <a:defRPr sz="1600" kern="1200">
                <a:solidFill>
                  <a:schemeClr val="tx1"/>
                </a:solidFill>
                <a:latin typeface="+mn-lt"/>
                <a:ea typeface="+mn-ea"/>
                <a:cs typeface="+mn-cs"/>
              </a:defRPr>
            </a:lvl3pPr>
            <a:lvl4pPr marL="360363" indent="-195263" algn="l" defTabSz="914400" rtl="0" eaLnBrk="1" latinLnBrk="0" hangingPunct="1">
              <a:lnSpc>
                <a:spcPct val="90000"/>
              </a:lnSpc>
              <a:spcBef>
                <a:spcPts val="600"/>
              </a:spcBef>
              <a:buFont typeface="Arial" panose="020B0604020202020204" pitchFamily="34" charset="0"/>
              <a:buChar char="‒"/>
              <a:defRPr sz="1600" kern="1200">
                <a:solidFill>
                  <a:schemeClr val="tx1"/>
                </a:solidFill>
                <a:latin typeface="+mn-lt"/>
                <a:ea typeface="+mn-ea"/>
                <a:cs typeface="+mn-cs"/>
              </a:defRPr>
            </a:lvl4pPr>
            <a:lvl5pPr marL="601663" indent="-228600" algn="l" defTabSz="914400" rtl="0" eaLnBrk="1" latinLnBrk="0" hangingPunct="1">
              <a:lnSpc>
                <a:spcPct val="90000"/>
              </a:lnSpc>
              <a:spcBef>
                <a:spcPts val="3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44000" indent="-144000" algn="just">
              <a:spcBef>
                <a:spcPts val="500"/>
              </a:spcBef>
              <a:buClr>
                <a:schemeClr val="accent1"/>
              </a:buClr>
              <a:buFont typeface="Arial" panose="020B0604020202020204" pitchFamily="34" charset="0"/>
              <a:buChar char="•"/>
            </a:pPr>
            <a:endParaRPr lang="en-GB" sz="1000">
              <a:solidFill>
                <a:schemeClr val="tx1"/>
              </a:solidFill>
            </a:endParaRPr>
          </a:p>
        </p:txBody>
      </p:sp>
      <p:sp>
        <p:nvSpPr>
          <p:cNvPr id="8" name="TextBox 7">
            <a:extLst>
              <a:ext uri="{FF2B5EF4-FFF2-40B4-BE49-F238E27FC236}">
                <a16:creationId xmlns:a16="http://schemas.microsoft.com/office/drawing/2014/main" id="{580B8F91-1F8D-E629-9E83-7DF89B145AE0}"/>
              </a:ext>
            </a:extLst>
          </p:cNvPr>
          <p:cNvSpPr txBox="1"/>
          <p:nvPr/>
        </p:nvSpPr>
        <p:spPr bwMode="auto">
          <a:xfrm>
            <a:off x="6384151" y="1294948"/>
            <a:ext cx="5296674" cy="4873129"/>
          </a:xfrm>
          <a:prstGeom prst="rect">
            <a:avLst/>
          </a:prstGeom>
          <a:noFill/>
        </p:spPr>
        <p:txBody>
          <a:bodyPr wrap="square">
            <a:spAutoFit/>
          </a:bodyPr>
          <a:lstStyle>
            <a:defPPr>
              <a:defRPr lang="en-US"/>
            </a:defPPr>
            <a:lvl1pPr>
              <a:defRPr sz="1600" b="1">
                <a:solidFill>
                  <a:schemeClr val="tx2"/>
                </a:solidFill>
              </a:defRPr>
            </a:lvl1pPr>
          </a:lstStyle>
          <a:p>
            <a:pPr>
              <a:spcBef>
                <a:spcPts val="500"/>
              </a:spcBef>
            </a:pPr>
            <a:r>
              <a:rPr lang="en-GB"/>
              <a:t>Target company criteria</a:t>
            </a:r>
          </a:p>
          <a:p>
            <a:pPr marL="285750" indent="-285750" fontAlgn="base">
              <a:spcBef>
                <a:spcPts val="500"/>
              </a:spcBef>
              <a:spcAft>
                <a:spcPts val="600"/>
              </a:spcAft>
              <a:buFont typeface="Arial" panose="020B0604020202020204" pitchFamily="34" charset="0"/>
              <a:buChar char="•"/>
            </a:pPr>
            <a:r>
              <a:rPr lang="en-GB" b="0">
                <a:solidFill>
                  <a:srgbClr val="4D4E53"/>
                </a:solidFill>
                <a:latin typeface="Cambria" panose="02040503050406030204" pitchFamily="18" charset="0"/>
              </a:rPr>
              <a:t>Enterprise Value: $20m to $125m</a:t>
            </a:r>
          </a:p>
          <a:p>
            <a:pPr marL="285750" indent="-285750" fontAlgn="base">
              <a:spcBef>
                <a:spcPts val="500"/>
              </a:spcBef>
              <a:spcAft>
                <a:spcPts val="600"/>
              </a:spcAft>
              <a:buFont typeface="Arial" panose="020B0604020202020204" pitchFamily="34" charset="0"/>
              <a:buChar char="•"/>
            </a:pPr>
            <a:r>
              <a:rPr lang="en-GB" b="0">
                <a:solidFill>
                  <a:srgbClr val="4D4E53"/>
                </a:solidFill>
                <a:latin typeface="Cambria" panose="02040503050406030204" pitchFamily="18" charset="0"/>
              </a:rPr>
              <a:t>Revenue: $20m+ / EBITDA: $5m+</a:t>
            </a:r>
          </a:p>
          <a:p>
            <a:pPr marL="285750" indent="-285750" fontAlgn="base">
              <a:spcBef>
                <a:spcPts val="500"/>
              </a:spcBef>
              <a:spcAft>
                <a:spcPts val="600"/>
              </a:spcAft>
              <a:buFont typeface="Arial" panose="020B0604020202020204" pitchFamily="34" charset="0"/>
              <a:buChar char="•"/>
            </a:pPr>
            <a:r>
              <a:rPr lang="en-GB" b="0">
                <a:solidFill>
                  <a:srgbClr val="4D4E53"/>
                </a:solidFill>
                <a:latin typeface="Cambria" panose="02040503050406030204" pitchFamily="18" charset="0"/>
              </a:rPr>
              <a:t>Total Equity Investment: $10m to $60m</a:t>
            </a:r>
          </a:p>
          <a:p>
            <a:pPr marL="285750" indent="-285750" fontAlgn="base">
              <a:spcBef>
                <a:spcPts val="500"/>
              </a:spcBef>
              <a:spcAft>
                <a:spcPts val="600"/>
              </a:spcAft>
              <a:buFont typeface="Arial" panose="020B0604020202020204" pitchFamily="34" charset="0"/>
              <a:buChar char="•"/>
            </a:pPr>
            <a:r>
              <a:rPr lang="en-GB" b="0">
                <a:solidFill>
                  <a:srgbClr val="4D4E53"/>
                </a:solidFill>
                <a:latin typeface="Cambria" panose="02040503050406030204" pitchFamily="18" charset="0"/>
              </a:rPr>
              <a:t>8 - 12 platform investments per fund</a:t>
            </a:r>
          </a:p>
          <a:p>
            <a:pPr marL="285750" indent="-285750" fontAlgn="base">
              <a:spcBef>
                <a:spcPts val="500"/>
              </a:spcBef>
              <a:spcAft>
                <a:spcPts val="600"/>
              </a:spcAft>
              <a:buFont typeface="Arial" panose="020B0604020202020204" pitchFamily="34" charset="0"/>
              <a:buChar char="•"/>
            </a:pPr>
            <a:r>
              <a:rPr lang="en-GB" b="0">
                <a:solidFill>
                  <a:srgbClr val="4D4E53"/>
                </a:solidFill>
                <a:latin typeface="Cambria" panose="02040503050406030204" pitchFamily="18" charset="0"/>
              </a:rPr>
              <a:t>1 - 3 platform investments per annum</a:t>
            </a:r>
          </a:p>
          <a:p>
            <a:pPr fontAlgn="base">
              <a:spcBef>
                <a:spcPts val="500"/>
              </a:spcBef>
              <a:spcAft>
                <a:spcPts val="600"/>
              </a:spcAft>
            </a:pPr>
            <a:r>
              <a:rPr lang="en-GB" sz="1600" b="1">
                <a:solidFill>
                  <a:schemeClr val="tx2"/>
                </a:solidFill>
              </a:rPr>
              <a:t>Target investments</a:t>
            </a:r>
          </a:p>
          <a:p>
            <a:pPr marL="285750" indent="-285750" fontAlgn="base">
              <a:spcBef>
                <a:spcPts val="500"/>
              </a:spcBef>
              <a:spcAft>
                <a:spcPts val="600"/>
              </a:spcAft>
              <a:buClr>
                <a:schemeClr val="tx1"/>
              </a:buClr>
              <a:buFont typeface="Arial" panose="020B0604020202020204" pitchFamily="34" charset="0"/>
              <a:buChar char="•"/>
            </a:pPr>
            <a:r>
              <a:rPr lang="en-US" b="0">
                <a:solidFill>
                  <a:srgbClr val="4D4E53"/>
                </a:solidFill>
                <a:latin typeface="Cambria" panose="02040503050406030204" pitchFamily="18" charset="0"/>
              </a:rPr>
              <a:t>Typically first institutional capital into closely-held or family-owned business, who roll meaningful equity</a:t>
            </a:r>
          </a:p>
          <a:p>
            <a:pPr marL="285750" indent="-285750" fontAlgn="base">
              <a:spcBef>
                <a:spcPts val="500"/>
              </a:spcBef>
              <a:spcAft>
                <a:spcPts val="600"/>
              </a:spcAft>
              <a:buClr>
                <a:schemeClr val="tx1"/>
              </a:buClr>
              <a:buFont typeface="Arial" panose="020B0604020202020204" pitchFamily="34" charset="0"/>
              <a:buChar char="•"/>
            </a:pPr>
            <a:r>
              <a:rPr lang="en-GB" b="0">
                <a:solidFill>
                  <a:srgbClr val="4D4E53"/>
                </a:solidFill>
                <a:latin typeface="Cambria" panose="02040503050406030204" pitchFamily="18" charset="0"/>
              </a:rPr>
              <a:t>Businesses with stable earnings, consistent profitability, a sustainable competitive advantage</a:t>
            </a:r>
            <a:endParaRPr lang="en-US" b="0">
              <a:solidFill>
                <a:srgbClr val="4D4E53"/>
              </a:solidFill>
              <a:latin typeface="Cambria" panose="02040503050406030204" pitchFamily="18" charset="0"/>
            </a:endParaRPr>
          </a:p>
          <a:p>
            <a:pPr marL="285750" indent="-285750" fontAlgn="base">
              <a:spcBef>
                <a:spcPts val="500"/>
              </a:spcBef>
              <a:spcAft>
                <a:spcPts val="600"/>
              </a:spcAft>
              <a:buClr>
                <a:schemeClr val="tx1"/>
              </a:buClr>
              <a:buFont typeface="Arial" panose="020B0604020202020204" pitchFamily="34" charset="0"/>
              <a:buChar char="•"/>
            </a:pPr>
            <a:r>
              <a:rPr lang="en-GB" b="0">
                <a:solidFill>
                  <a:srgbClr val="4D4E53"/>
                </a:solidFill>
                <a:latin typeface="Cambria" panose="02040503050406030204" pitchFamily="18" charset="0"/>
              </a:rPr>
              <a:t>Companies where KLH can improve operations post-transaction</a:t>
            </a:r>
          </a:p>
          <a:p>
            <a:pPr marL="285750" indent="-285750" fontAlgn="base">
              <a:spcBef>
                <a:spcPts val="500"/>
              </a:spcBef>
              <a:spcAft>
                <a:spcPts val="600"/>
              </a:spcAft>
              <a:buClr>
                <a:schemeClr val="tx1"/>
              </a:buClr>
              <a:buFont typeface="Arial" panose="020B0604020202020204" pitchFamily="34" charset="0"/>
              <a:buChar char="•"/>
            </a:pPr>
            <a:r>
              <a:rPr lang="en-GB" b="0">
                <a:solidFill>
                  <a:srgbClr val="4D4E53"/>
                </a:solidFill>
                <a:latin typeface="Cambria" panose="02040503050406030204" pitchFamily="18" charset="0"/>
              </a:rPr>
              <a:t>Attractive valuations relative to investment risk</a:t>
            </a:r>
          </a:p>
        </p:txBody>
      </p:sp>
      <p:sp>
        <p:nvSpPr>
          <p:cNvPr id="9" name="TextBox 8">
            <a:extLst>
              <a:ext uri="{FF2B5EF4-FFF2-40B4-BE49-F238E27FC236}">
                <a16:creationId xmlns:a16="http://schemas.microsoft.com/office/drawing/2014/main" id="{13EC8F6E-50F9-89D0-5746-C9569B8F6707}"/>
              </a:ext>
            </a:extLst>
          </p:cNvPr>
          <p:cNvSpPr txBox="1"/>
          <p:nvPr/>
        </p:nvSpPr>
        <p:spPr>
          <a:xfrm>
            <a:off x="447270" y="2515426"/>
            <a:ext cx="5754353" cy="1880002"/>
          </a:xfrm>
          <a:prstGeom prst="rect">
            <a:avLst/>
          </a:prstGeom>
          <a:noFill/>
        </p:spPr>
        <p:txBody>
          <a:bodyPr wrap="square">
            <a:spAutoFit/>
          </a:bodyPr>
          <a:lstStyle>
            <a:defPPr>
              <a:defRPr lang="en-US"/>
            </a:defPPr>
            <a:lvl1pPr marL="146250" indent="-146250" defTabSz="742950">
              <a:spcBef>
                <a:spcPts val="406"/>
              </a:spcBef>
              <a:buClr>
                <a:srgbClr val="002868"/>
              </a:buClr>
              <a:buFont typeface="Arial" panose="020B0604020202020204" pitchFamily="34" charset="0"/>
              <a:buChar char="•"/>
              <a:defRPr sz="1300">
                <a:solidFill>
                  <a:srgbClr val="4D4E53"/>
                </a:solidFill>
                <a:latin typeface="Cambria"/>
              </a:defRPr>
            </a:lvl1pPr>
          </a:lstStyle>
          <a:p>
            <a:pPr>
              <a:spcBef>
                <a:spcPts val="500"/>
              </a:spcBef>
            </a:pPr>
            <a:r>
              <a:rPr lang="en-GB" sz="1600"/>
              <a:t>Founded in 2005, KLH Capital pursue value-oriented control investments in small companies in the specialty services, value-added distribution and niche manufacturing sectors across the US</a:t>
            </a:r>
          </a:p>
          <a:p>
            <a:pPr>
              <a:spcBef>
                <a:spcPts val="500"/>
              </a:spcBef>
            </a:pPr>
            <a:r>
              <a:rPr lang="en-GB" sz="1600"/>
              <a:t>We committed to KLH IV in 2019 and made a follow-on commitment to Fund V in 2022. We sit on the Advisory board for KLH IV and KLH V</a:t>
            </a:r>
          </a:p>
        </p:txBody>
      </p:sp>
      <p:sp>
        <p:nvSpPr>
          <p:cNvPr id="11" name="TextBox 10">
            <a:extLst>
              <a:ext uri="{FF2B5EF4-FFF2-40B4-BE49-F238E27FC236}">
                <a16:creationId xmlns:a16="http://schemas.microsoft.com/office/drawing/2014/main" id="{9A86C5DE-C251-6524-36F2-A2EB025E6588}"/>
              </a:ext>
            </a:extLst>
          </p:cNvPr>
          <p:cNvSpPr txBox="1"/>
          <p:nvPr/>
        </p:nvSpPr>
        <p:spPr>
          <a:xfrm>
            <a:off x="454131" y="2186169"/>
            <a:ext cx="6096000" cy="329257"/>
          </a:xfrm>
          <a:prstGeom prst="rect">
            <a:avLst/>
          </a:prstGeom>
          <a:noFill/>
        </p:spPr>
        <p:txBody>
          <a:bodyPr wrap="square">
            <a:spAutoFit/>
          </a:bodyPr>
          <a:lstStyle/>
          <a:p>
            <a:pPr marL="0" lvl="2" indent="0">
              <a:lnSpc>
                <a:spcPct val="103000"/>
              </a:lnSpc>
              <a:spcBef>
                <a:spcPts val="600"/>
              </a:spcBef>
              <a:buNone/>
            </a:pPr>
            <a:r>
              <a:rPr lang="en-GB" sz="1600" b="1">
                <a:solidFill>
                  <a:schemeClr val="tx2"/>
                </a:solidFill>
              </a:rPr>
              <a:t>Overview</a:t>
            </a:r>
          </a:p>
        </p:txBody>
      </p:sp>
      <p:graphicFrame>
        <p:nvGraphicFramePr>
          <p:cNvPr id="13" name="Table 12">
            <a:extLst>
              <a:ext uri="{FF2B5EF4-FFF2-40B4-BE49-F238E27FC236}">
                <a16:creationId xmlns:a16="http://schemas.microsoft.com/office/drawing/2014/main" id="{0C712A8D-41CE-5ABD-BFA6-242B244254AC}"/>
              </a:ext>
            </a:extLst>
          </p:cNvPr>
          <p:cNvGraphicFramePr>
            <a:graphicFrameLocks noGrp="1"/>
          </p:cNvGraphicFramePr>
          <p:nvPr>
            <p:custDataLst>
              <p:tags r:id="rId2"/>
            </p:custDataLst>
          </p:nvPr>
        </p:nvGraphicFramePr>
        <p:xfrm>
          <a:off x="539381" y="4726479"/>
          <a:ext cx="5409107" cy="1152423"/>
        </p:xfrm>
        <a:graphic>
          <a:graphicData uri="http://schemas.openxmlformats.org/drawingml/2006/table">
            <a:tbl>
              <a:tblPr bandRow="1">
                <a:tableStyleId>{5C22544A-7EE6-4342-B048-85BDC9FD1C3A}</a:tableStyleId>
              </a:tblPr>
              <a:tblGrid>
                <a:gridCol w="2514765">
                  <a:extLst>
                    <a:ext uri="{9D8B030D-6E8A-4147-A177-3AD203B41FA5}">
                      <a16:colId xmlns:a16="http://schemas.microsoft.com/office/drawing/2014/main" val="20000"/>
                    </a:ext>
                  </a:extLst>
                </a:gridCol>
                <a:gridCol w="1501481">
                  <a:extLst>
                    <a:ext uri="{9D8B030D-6E8A-4147-A177-3AD203B41FA5}">
                      <a16:colId xmlns:a16="http://schemas.microsoft.com/office/drawing/2014/main" val="624623813"/>
                    </a:ext>
                  </a:extLst>
                </a:gridCol>
                <a:gridCol w="1392861">
                  <a:extLst>
                    <a:ext uri="{9D8B030D-6E8A-4147-A177-3AD203B41FA5}">
                      <a16:colId xmlns:a16="http://schemas.microsoft.com/office/drawing/2014/main" val="20001"/>
                    </a:ext>
                  </a:extLst>
                </a:gridCol>
              </a:tblGrid>
              <a:tr h="282983">
                <a:tc>
                  <a:txBody>
                    <a:bodyPr/>
                    <a:lstStyle/>
                    <a:p>
                      <a:r>
                        <a:rPr lang="en-GB" sz="1200" b="1"/>
                        <a:t>Fund Name</a:t>
                      </a:r>
                    </a:p>
                  </a:txBody>
                  <a:tcPr marT="0" marB="0" anchor="ctr">
                    <a:lnB w="12700" cap="flat" cmpd="sng" algn="ctr">
                      <a:solidFill>
                        <a:schemeClr val="tx1">
                          <a:lumMod val="20000"/>
                          <a:lumOff val="80000"/>
                        </a:schemeClr>
                      </a:solidFill>
                      <a:prstDash val="solid"/>
                      <a:round/>
                      <a:headEnd type="none" w="med" len="med"/>
                      <a:tailEnd type="none" w="med" len="med"/>
                    </a:lnB>
                    <a:noFill/>
                  </a:tcPr>
                </a:tc>
                <a:tc>
                  <a:txBody>
                    <a:bodyPr/>
                    <a:lstStyle/>
                    <a:p>
                      <a:pPr algn="ctr"/>
                      <a:r>
                        <a:rPr lang="en-GB" sz="1200"/>
                        <a:t>KLH IV</a:t>
                      </a:r>
                    </a:p>
                  </a:txBody>
                  <a:tcPr marT="0" marB="0" anchor="ctr">
                    <a:lnB w="12700" cap="flat" cmpd="sng" algn="ctr">
                      <a:solidFill>
                        <a:schemeClr val="tx1">
                          <a:lumMod val="20000"/>
                          <a:lumOff val="8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t>KLH V</a:t>
                      </a:r>
                    </a:p>
                  </a:txBody>
                  <a:tcPr marT="0" marB="0" anchor="ctr">
                    <a:lnB w="12700" cap="flat" cmpd="sng" algn="ctr">
                      <a:solidFill>
                        <a:schemeClr val="tx1">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672777928"/>
                  </a:ext>
                </a:extLst>
              </a:tr>
              <a:tr h="293927">
                <a:tc>
                  <a:txBody>
                    <a:bodyPr/>
                    <a:lstStyle/>
                    <a:p>
                      <a:r>
                        <a:rPr lang="en-GB" sz="1200" b="1"/>
                        <a:t>Vintage Year</a:t>
                      </a:r>
                    </a:p>
                  </a:txBody>
                  <a:tcPr marT="0" marB="0" anchor="ct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noFill/>
                  </a:tcPr>
                </a:tc>
                <a:tc>
                  <a:txBody>
                    <a:bodyPr/>
                    <a:lstStyle/>
                    <a:p>
                      <a:pPr algn="ctr"/>
                      <a:r>
                        <a:rPr lang="en-GB" sz="1200"/>
                        <a:t>2019</a:t>
                      </a:r>
                    </a:p>
                  </a:txBody>
                  <a:tcPr marT="0" marB="0" anchor="ct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noFill/>
                  </a:tcPr>
                </a:tc>
                <a:tc>
                  <a:txBody>
                    <a:bodyPr/>
                    <a:lstStyle/>
                    <a:p>
                      <a:pPr algn="ctr"/>
                      <a:r>
                        <a:rPr lang="en-GB" sz="1200"/>
                        <a:t>2023</a:t>
                      </a:r>
                    </a:p>
                  </a:txBody>
                  <a:tcPr marT="0" marB="0" anchor="ct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2246284065"/>
                  </a:ext>
                </a:extLst>
              </a:tr>
              <a:tr h="2879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a:t>Fund Size</a:t>
                      </a:r>
                    </a:p>
                  </a:txBody>
                  <a:tcPr marT="0" marB="0" anchor="ct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t>$209m</a:t>
                      </a:r>
                      <a:endParaRPr lang="en-GB" sz="1200" strike="sngStrike"/>
                    </a:p>
                  </a:txBody>
                  <a:tcPr marT="0" marB="0" anchor="ct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t>$412m</a:t>
                      </a:r>
                      <a:endParaRPr lang="en-GB" sz="1200" strike="sngStrike"/>
                    </a:p>
                  </a:txBody>
                  <a:tcPr marT="0" marB="0" anchor="ct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2751488324"/>
                  </a:ext>
                </a:extLst>
              </a:tr>
              <a:tr h="287576">
                <a:tc>
                  <a:txBody>
                    <a:bodyPr/>
                    <a:lstStyle/>
                    <a:p>
                      <a:r>
                        <a:rPr lang="en-GB" sz="1200" b="1"/>
                        <a:t>Caledonia’s Commitment</a:t>
                      </a:r>
                    </a:p>
                  </a:txBody>
                  <a:tcP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noFill/>
                  </a:tcPr>
                </a:tc>
                <a:tc>
                  <a:txBody>
                    <a:bodyPr/>
                    <a:lstStyle/>
                    <a:p>
                      <a:pPr algn="ctr"/>
                      <a:r>
                        <a:rPr lang="en-GB" sz="1200"/>
                        <a:t>$</a:t>
                      </a:r>
                      <a:r>
                        <a:rPr lang="en-GB" sz="1200" kern="1200">
                          <a:solidFill>
                            <a:schemeClr val="dk1"/>
                          </a:solidFill>
                          <a:latin typeface="+mn-lt"/>
                          <a:ea typeface="+mn-ea"/>
                          <a:cs typeface="+mn-cs"/>
                        </a:rPr>
                        <a:t>27.5m</a:t>
                      </a:r>
                    </a:p>
                  </a:txBody>
                  <a:tcPr marT="0" marB="0" anchor="ct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noFill/>
                  </a:tcPr>
                </a:tc>
                <a:tc>
                  <a:txBody>
                    <a:bodyPr/>
                    <a:lstStyle/>
                    <a:p>
                      <a:pPr algn="ctr"/>
                      <a:r>
                        <a:rPr lang="en-GB" sz="1200"/>
                        <a:t>$30m</a:t>
                      </a:r>
                    </a:p>
                  </a:txBody>
                  <a:tcPr marT="0" marB="0" anchor="ct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3682280369"/>
                  </a:ext>
                </a:extLst>
              </a:tr>
            </a:tbl>
          </a:graphicData>
        </a:graphic>
      </p:graphicFrame>
      <p:sp>
        <p:nvSpPr>
          <p:cNvPr id="14" name="TextBox 13">
            <a:extLst>
              <a:ext uri="{FF2B5EF4-FFF2-40B4-BE49-F238E27FC236}">
                <a16:creationId xmlns:a16="http://schemas.microsoft.com/office/drawing/2014/main" id="{DB9EF0BE-52D6-DD39-6687-A37FE2E4ABA9}"/>
              </a:ext>
            </a:extLst>
          </p:cNvPr>
          <p:cNvSpPr txBox="1"/>
          <p:nvPr/>
        </p:nvSpPr>
        <p:spPr>
          <a:xfrm>
            <a:off x="447270" y="4473124"/>
            <a:ext cx="6096000" cy="329257"/>
          </a:xfrm>
          <a:prstGeom prst="rect">
            <a:avLst/>
          </a:prstGeom>
          <a:noFill/>
        </p:spPr>
        <p:txBody>
          <a:bodyPr wrap="square">
            <a:spAutoFit/>
          </a:bodyPr>
          <a:lstStyle/>
          <a:p>
            <a:pPr marL="0" lvl="2" indent="0">
              <a:lnSpc>
                <a:spcPct val="103000"/>
              </a:lnSpc>
              <a:spcBef>
                <a:spcPts val="600"/>
              </a:spcBef>
              <a:buNone/>
            </a:pPr>
            <a:r>
              <a:rPr lang="en-GB" sz="1600" b="1">
                <a:solidFill>
                  <a:schemeClr val="tx2"/>
                </a:solidFill>
              </a:rPr>
              <a:t>Caledonia’s commitment</a:t>
            </a:r>
          </a:p>
        </p:txBody>
      </p:sp>
      <p:sp>
        <p:nvSpPr>
          <p:cNvPr id="15" name="TextBox 14">
            <a:extLst>
              <a:ext uri="{FF2B5EF4-FFF2-40B4-BE49-F238E27FC236}">
                <a16:creationId xmlns:a16="http://schemas.microsoft.com/office/drawing/2014/main" id="{BF5E2942-017F-B390-4CD1-DE5B9AEFE089}"/>
              </a:ext>
            </a:extLst>
          </p:cNvPr>
          <p:cNvSpPr txBox="1"/>
          <p:nvPr/>
        </p:nvSpPr>
        <p:spPr>
          <a:xfrm>
            <a:off x="511175" y="1323462"/>
            <a:ext cx="5754353" cy="830997"/>
          </a:xfrm>
          <a:prstGeom prst="rect">
            <a:avLst/>
          </a:prstGeom>
          <a:noFill/>
        </p:spPr>
        <p:txBody>
          <a:bodyPr wrap="square">
            <a:spAutoFit/>
          </a:bodyPr>
          <a:lstStyle>
            <a:defPPr>
              <a:defRPr lang="en-US"/>
            </a:defPPr>
            <a:lvl1pPr marL="146250" indent="-146250" defTabSz="742950">
              <a:spcBef>
                <a:spcPts val="406"/>
              </a:spcBef>
              <a:buClr>
                <a:srgbClr val="002868"/>
              </a:buClr>
              <a:buFont typeface="Arial" panose="020B0604020202020204" pitchFamily="34" charset="0"/>
              <a:buChar char="•"/>
              <a:defRPr sz="1300">
                <a:solidFill>
                  <a:srgbClr val="4D4E53"/>
                </a:solidFill>
                <a:latin typeface="Cambria"/>
              </a:defRPr>
            </a:lvl1pPr>
          </a:lstStyle>
          <a:p>
            <a:pPr marL="0" indent="0">
              <a:spcBef>
                <a:spcPts val="500"/>
              </a:spcBef>
              <a:buNone/>
            </a:pPr>
            <a:r>
              <a:rPr lang="en-GB" sz="1600"/>
              <a:t>The US lower mid-market has been a core part of our investment strategy for the last 15 years and we have built a strong network of relationships over this time</a:t>
            </a:r>
          </a:p>
        </p:txBody>
      </p:sp>
      <p:pic>
        <p:nvPicPr>
          <p:cNvPr id="17" name="Picture 16">
            <a:extLst>
              <a:ext uri="{FF2B5EF4-FFF2-40B4-BE49-F238E27FC236}">
                <a16:creationId xmlns:a16="http://schemas.microsoft.com/office/drawing/2014/main" id="{E3ED8DEF-2779-66B5-EE16-5BE25A3EB141}"/>
              </a:ext>
            </a:extLst>
          </p:cNvPr>
          <p:cNvPicPr>
            <a:picLocks noChangeAspect="1"/>
          </p:cNvPicPr>
          <p:nvPr/>
        </p:nvPicPr>
        <p:blipFill>
          <a:blip r:embed="rId6"/>
          <a:srcRect b="9090"/>
          <a:stretch/>
        </p:blipFill>
        <p:spPr>
          <a:xfrm>
            <a:off x="7325783" y="35919"/>
            <a:ext cx="2373255" cy="1132701"/>
          </a:xfrm>
          <a:prstGeom prst="rect">
            <a:avLst/>
          </a:prstGeom>
        </p:spPr>
      </p:pic>
      <p:sp>
        <p:nvSpPr>
          <p:cNvPr id="3" name="TextBox 2">
            <a:extLst>
              <a:ext uri="{FF2B5EF4-FFF2-40B4-BE49-F238E27FC236}">
                <a16:creationId xmlns:a16="http://schemas.microsoft.com/office/drawing/2014/main" id="{0E772B8A-580D-1010-65E2-00E13D5F097B}"/>
              </a:ext>
            </a:extLst>
          </p:cNvPr>
          <p:cNvSpPr txBox="1"/>
          <p:nvPr/>
        </p:nvSpPr>
        <p:spPr>
          <a:xfrm>
            <a:off x="457609" y="6368534"/>
            <a:ext cx="6122894" cy="338554"/>
          </a:xfrm>
          <a:prstGeom prst="rect">
            <a:avLst/>
          </a:prstGeom>
          <a:noFill/>
        </p:spPr>
        <p:txBody>
          <a:bodyPr wrap="square">
            <a:spAutoFit/>
          </a:bodyPr>
          <a:lstStyle/>
          <a:p>
            <a:r>
              <a:rPr lang="en-US" sz="800" dirty="0">
                <a:solidFill>
                  <a:schemeClr val="tx1"/>
                </a:solidFill>
                <a:latin typeface="Cambria" panose="02040503050406030204" pitchFamily="18" charset="0"/>
                <a:ea typeface="Cambria" panose="02040503050406030204" pitchFamily="18" charset="0"/>
              </a:rPr>
              <a:t>Past performance is not a reliable indicator of future results</a:t>
            </a:r>
          </a:p>
          <a:p>
            <a:r>
              <a:rPr lang="en-US" sz="800" dirty="0">
                <a:latin typeface="Cambria" panose="02040503050406030204" pitchFamily="18" charset="0"/>
                <a:ea typeface="Cambria" panose="02040503050406030204" pitchFamily="18" charset="0"/>
              </a:rPr>
              <a:t>Caledonia financial information at 31 March 2025</a:t>
            </a:r>
            <a:endParaRPr lang="en-GB" sz="800" dirty="0"/>
          </a:p>
        </p:txBody>
      </p:sp>
    </p:spTree>
    <p:extLst>
      <p:ext uri="{BB962C8B-B14F-4D97-AF65-F5344CB8AC3E}">
        <p14:creationId xmlns:p14="http://schemas.microsoft.com/office/powerpoint/2010/main" val="140881829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79C530-2403-1978-E67A-03E347371C86}"/>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8D52FFD-5DCA-4118-2712-08966F0437B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4" name="think-cell data - do not delete" hidden="1">
                        <a:extLst>
                          <a:ext uri="{FF2B5EF4-FFF2-40B4-BE49-F238E27FC236}">
                            <a16:creationId xmlns:a16="http://schemas.microsoft.com/office/drawing/2014/main" id="{F8D52FFD-5DCA-4118-2712-08966F0437B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AF953CB-AB34-CEAA-6798-5BB343434F32}"/>
              </a:ext>
            </a:extLst>
          </p:cNvPr>
          <p:cNvSpPr>
            <a:spLocks noGrp="1"/>
          </p:cNvSpPr>
          <p:nvPr>
            <p:ph type="title"/>
          </p:nvPr>
        </p:nvSpPr>
        <p:spPr/>
        <p:txBody>
          <a:bodyPr vert="horz"/>
          <a:lstStyle/>
          <a:p>
            <a:r>
              <a:rPr lang="en-US" sz="3200"/>
              <a:t>KLH Capital</a:t>
            </a:r>
            <a:endParaRPr lang="en-GB" sz="4000"/>
          </a:p>
        </p:txBody>
      </p:sp>
      <p:sp>
        <p:nvSpPr>
          <p:cNvPr id="6" name="Slide Number Placeholder 5">
            <a:extLst>
              <a:ext uri="{FF2B5EF4-FFF2-40B4-BE49-F238E27FC236}">
                <a16:creationId xmlns:a16="http://schemas.microsoft.com/office/drawing/2014/main" id="{5E6DD169-8B33-DE34-7CB3-05E937BE43D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FCF0D39-BEE8-4D89-987A-40261FE54395}" type="slidenum">
              <a:rPr kumimoji="0" lang="en-GB" sz="1000" b="0" i="0" u="none" strike="noStrike" kern="1200" cap="none" spc="0" normalizeH="0" baseline="0" noProof="0" smtClean="0">
                <a:ln>
                  <a:noFill/>
                </a:ln>
                <a:solidFill>
                  <a:srgbClr val="4D4E53">
                    <a:lumMod val="60000"/>
                    <a:lumOff val="40000"/>
                  </a:srgbClr>
                </a:solidFill>
                <a:effectLst/>
                <a:uLnTx/>
                <a:uFillTx/>
                <a:latin typeface="Cambri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000" b="0" i="0" u="none" strike="noStrike" kern="1200" cap="none" spc="0" normalizeH="0" baseline="0" noProof="0">
              <a:ln>
                <a:noFill/>
              </a:ln>
              <a:solidFill>
                <a:srgbClr val="4D4E53">
                  <a:lumMod val="60000"/>
                  <a:lumOff val="40000"/>
                </a:srgbClr>
              </a:solidFill>
              <a:effectLst/>
              <a:uLnTx/>
              <a:uFillTx/>
              <a:latin typeface="Cambria"/>
              <a:ea typeface="+mn-ea"/>
              <a:cs typeface="+mn-cs"/>
            </a:endParaRPr>
          </a:p>
        </p:txBody>
      </p:sp>
      <p:sp>
        <p:nvSpPr>
          <p:cNvPr id="12" name="Text Placeholder 11">
            <a:extLst>
              <a:ext uri="{FF2B5EF4-FFF2-40B4-BE49-F238E27FC236}">
                <a16:creationId xmlns:a16="http://schemas.microsoft.com/office/drawing/2014/main" id="{5B35B08C-042B-6FB2-C1A7-BBDB65F17447}"/>
              </a:ext>
            </a:extLst>
          </p:cNvPr>
          <p:cNvSpPr>
            <a:spLocks noGrp="1"/>
          </p:cNvSpPr>
          <p:nvPr>
            <p:ph type="body" sz="half" idx="2"/>
          </p:nvPr>
        </p:nvSpPr>
        <p:spPr>
          <a:xfrm>
            <a:off x="568308" y="844620"/>
            <a:ext cx="9771399" cy="324000"/>
          </a:xfrm>
        </p:spPr>
        <p:txBody>
          <a:bodyPr vert="horz" wrap="square" lIns="0" tIns="0" rIns="0" bIns="0" rtlCol="0">
            <a:normAutofit/>
          </a:bodyPr>
          <a:lstStyle/>
          <a:p>
            <a:r>
              <a:rPr lang="en-US" sz="1800"/>
              <a:t>Tampa Florida-based, lower mid-market buyout manager</a:t>
            </a:r>
            <a:endParaRPr lang="en-GB" sz="1800"/>
          </a:p>
          <a:p>
            <a:endParaRPr lang="en-GB" sz="2400"/>
          </a:p>
        </p:txBody>
      </p:sp>
      <p:sp>
        <p:nvSpPr>
          <p:cNvPr id="7" name="Content Placeholder 2">
            <a:extLst>
              <a:ext uri="{FF2B5EF4-FFF2-40B4-BE49-F238E27FC236}">
                <a16:creationId xmlns:a16="http://schemas.microsoft.com/office/drawing/2014/main" id="{34274B96-BF74-EECC-6485-63D40C818A95}"/>
              </a:ext>
            </a:extLst>
          </p:cNvPr>
          <p:cNvSpPr txBox="1">
            <a:spLocks/>
          </p:cNvSpPr>
          <p:nvPr/>
        </p:nvSpPr>
        <p:spPr>
          <a:xfrm>
            <a:off x="1617917" y="5486693"/>
            <a:ext cx="4421167" cy="838476"/>
          </a:xfrm>
          <a:prstGeom prst="rect">
            <a:avLst/>
          </a:prstGeom>
        </p:spPr>
        <p:txBody>
          <a:bodyPr lIns="0" tIns="0" rIns="0" bIns="0">
            <a:noAutofit/>
          </a:bodyPr>
          <a:lstStyle>
            <a:lvl1pPr marL="0" indent="0" algn="l" defTabSz="914400" rtl="0" eaLnBrk="1" latinLnBrk="0" hangingPunct="1">
              <a:lnSpc>
                <a:spcPct val="90000"/>
              </a:lnSpc>
              <a:spcBef>
                <a:spcPts val="1800"/>
              </a:spcBef>
              <a:buFont typeface="Arial" panose="020B0604020202020204" pitchFamily="34" charset="0"/>
              <a:buNone/>
              <a:defRPr sz="1800" b="0" kern="1200">
                <a:solidFill>
                  <a:schemeClr val="tx2"/>
                </a:solidFill>
                <a:latin typeface="+mj-lt"/>
                <a:ea typeface="+mn-ea"/>
                <a:cs typeface="+mn-cs"/>
              </a:defRPr>
            </a:lvl1pPr>
            <a:lvl2pPr marL="7938" indent="0" algn="l" defTabSz="914400" rtl="0" eaLnBrk="1" latinLnBrk="0" hangingPunct="1">
              <a:lnSpc>
                <a:spcPct val="90000"/>
              </a:lnSpc>
              <a:spcBef>
                <a:spcPts val="600"/>
              </a:spcBef>
              <a:buFont typeface="Arial" panose="020B0604020202020204" pitchFamily="34" charset="0"/>
              <a:buNone/>
              <a:defRPr sz="1600" kern="1200">
                <a:solidFill>
                  <a:schemeClr val="tx1"/>
                </a:solidFill>
                <a:latin typeface="+mn-lt"/>
                <a:ea typeface="+mn-ea"/>
                <a:cs typeface="+mn-cs"/>
              </a:defRPr>
            </a:lvl2pPr>
            <a:lvl3pPr marL="176213" indent="-176213" algn="l" defTabSz="914400" rtl="0" eaLnBrk="1" latinLnBrk="0" hangingPunct="1">
              <a:lnSpc>
                <a:spcPct val="90000"/>
              </a:lnSpc>
              <a:spcBef>
                <a:spcPts val="1200"/>
              </a:spcBef>
              <a:buClr>
                <a:schemeClr val="tx2"/>
              </a:buClr>
              <a:buFont typeface="Arial" panose="020B0604020202020204" pitchFamily="34" charset="0"/>
              <a:buChar char="•"/>
              <a:defRPr sz="1600" kern="1200">
                <a:solidFill>
                  <a:schemeClr val="tx1"/>
                </a:solidFill>
                <a:latin typeface="+mn-lt"/>
                <a:ea typeface="+mn-ea"/>
                <a:cs typeface="+mn-cs"/>
              </a:defRPr>
            </a:lvl3pPr>
            <a:lvl4pPr marL="360363" indent="-195263" algn="l" defTabSz="914400" rtl="0" eaLnBrk="1" latinLnBrk="0" hangingPunct="1">
              <a:lnSpc>
                <a:spcPct val="90000"/>
              </a:lnSpc>
              <a:spcBef>
                <a:spcPts val="600"/>
              </a:spcBef>
              <a:buFont typeface="Arial" panose="020B0604020202020204" pitchFamily="34" charset="0"/>
              <a:buChar char="‒"/>
              <a:defRPr sz="1600" kern="1200">
                <a:solidFill>
                  <a:schemeClr val="tx1"/>
                </a:solidFill>
                <a:latin typeface="+mn-lt"/>
                <a:ea typeface="+mn-ea"/>
                <a:cs typeface="+mn-cs"/>
              </a:defRPr>
            </a:lvl4pPr>
            <a:lvl5pPr marL="601663" indent="-228600" algn="l" defTabSz="914400" rtl="0" eaLnBrk="1" latinLnBrk="0" hangingPunct="1">
              <a:lnSpc>
                <a:spcPct val="90000"/>
              </a:lnSpc>
              <a:spcBef>
                <a:spcPts val="3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44000" indent="-144000" algn="just">
              <a:spcBef>
                <a:spcPts val="500"/>
              </a:spcBef>
              <a:buClr>
                <a:schemeClr val="accent1"/>
              </a:buClr>
              <a:buFont typeface="Arial" panose="020B0604020202020204" pitchFamily="34" charset="0"/>
              <a:buChar char="•"/>
            </a:pPr>
            <a:endParaRPr lang="en-GB" sz="1000">
              <a:solidFill>
                <a:schemeClr val="tx1"/>
              </a:solidFill>
            </a:endParaRPr>
          </a:p>
        </p:txBody>
      </p:sp>
      <p:sp>
        <p:nvSpPr>
          <p:cNvPr id="10" name="Slide Number Placeholder 14">
            <a:extLst>
              <a:ext uri="{FF2B5EF4-FFF2-40B4-BE49-F238E27FC236}">
                <a16:creationId xmlns:a16="http://schemas.microsoft.com/office/drawing/2014/main" id="{B68BB4EA-DEBE-40C8-00BD-735C30A74D86}"/>
              </a:ext>
            </a:extLst>
          </p:cNvPr>
          <p:cNvSpPr txBox="1">
            <a:spLocks/>
          </p:cNvSpPr>
          <p:nvPr/>
        </p:nvSpPr>
        <p:spPr>
          <a:xfrm>
            <a:off x="11227890" y="6425698"/>
            <a:ext cx="443077" cy="123111"/>
          </a:xfrm>
          <a:prstGeom prst="rect">
            <a:avLst/>
          </a:prstGeom>
        </p:spPr>
        <p:txBody>
          <a:bodyPr vert="horz" lIns="0" tIns="0" rIns="0" bIns="0" rtlCol="0" anchor="ctr">
            <a:spAutoFit/>
          </a:bodyPr>
          <a:lstStyle>
            <a:defPPr>
              <a:defRPr lang="en-US"/>
            </a:defPPr>
            <a:lvl1pPr marL="0" algn="r" defTabSz="914400" rtl="0" eaLnBrk="1" latinLnBrk="0" hangingPunct="1">
              <a:defRPr sz="1000" kern="1200">
                <a:solidFill>
                  <a:schemeClr val="tx1">
                    <a:lumMod val="60000"/>
                    <a:lumOff val="4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a:t>1</a:t>
            </a:r>
          </a:p>
        </p:txBody>
      </p:sp>
      <p:graphicFrame>
        <p:nvGraphicFramePr>
          <p:cNvPr id="18" name="Table 17">
            <a:extLst>
              <a:ext uri="{FF2B5EF4-FFF2-40B4-BE49-F238E27FC236}">
                <a16:creationId xmlns:a16="http://schemas.microsoft.com/office/drawing/2014/main" id="{1A7B405D-19C0-1A87-811F-509C25CEDF99}"/>
              </a:ext>
            </a:extLst>
          </p:cNvPr>
          <p:cNvGraphicFramePr>
            <a:graphicFrameLocks noGrp="1"/>
          </p:cNvGraphicFramePr>
          <p:nvPr>
            <p:custDataLst>
              <p:tags r:id="rId2"/>
            </p:custDataLst>
          </p:nvPr>
        </p:nvGraphicFramePr>
        <p:xfrm>
          <a:off x="526362" y="1541230"/>
          <a:ext cx="11139275" cy="4783939"/>
        </p:xfrm>
        <a:graphic>
          <a:graphicData uri="http://schemas.openxmlformats.org/drawingml/2006/table">
            <a:tbl>
              <a:tblPr bandRow="1">
                <a:tableStyleId>{69012ECD-51FC-41F1-AA8D-1B2483CD663E}</a:tableStyleId>
              </a:tblPr>
              <a:tblGrid>
                <a:gridCol w="2415007">
                  <a:extLst>
                    <a:ext uri="{9D8B030D-6E8A-4147-A177-3AD203B41FA5}">
                      <a16:colId xmlns:a16="http://schemas.microsoft.com/office/drawing/2014/main" val="20000"/>
                    </a:ext>
                  </a:extLst>
                </a:gridCol>
                <a:gridCol w="2135650">
                  <a:extLst>
                    <a:ext uri="{9D8B030D-6E8A-4147-A177-3AD203B41FA5}">
                      <a16:colId xmlns:a16="http://schemas.microsoft.com/office/drawing/2014/main" val="624623813"/>
                    </a:ext>
                  </a:extLst>
                </a:gridCol>
                <a:gridCol w="2196206">
                  <a:extLst>
                    <a:ext uri="{9D8B030D-6E8A-4147-A177-3AD203B41FA5}">
                      <a16:colId xmlns:a16="http://schemas.microsoft.com/office/drawing/2014/main" val="20001"/>
                    </a:ext>
                  </a:extLst>
                </a:gridCol>
                <a:gridCol w="2196206">
                  <a:extLst>
                    <a:ext uri="{9D8B030D-6E8A-4147-A177-3AD203B41FA5}">
                      <a16:colId xmlns:a16="http://schemas.microsoft.com/office/drawing/2014/main" val="808816837"/>
                    </a:ext>
                  </a:extLst>
                </a:gridCol>
                <a:gridCol w="2196206">
                  <a:extLst>
                    <a:ext uri="{9D8B030D-6E8A-4147-A177-3AD203B41FA5}">
                      <a16:colId xmlns:a16="http://schemas.microsoft.com/office/drawing/2014/main" val="3799855123"/>
                    </a:ext>
                  </a:extLst>
                </a:gridCol>
              </a:tblGrid>
              <a:tr h="589288">
                <a:tc>
                  <a:txBody>
                    <a:bodyPr/>
                    <a:lstStyle/>
                    <a:p>
                      <a:r>
                        <a:rPr lang="en-GB" sz="1200" b="1"/>
                        <a:t>Sub-sector Categories</a:t>
                      </a:r>
                    </a:p>
                  </a:txBody>
                  <a:tcPr marL="88184" marR="88184" marT="0" marB="0" anchor="ctr">
                    <a:lnL w="6350" cap="flat" cmpd="sng" algn="ctr">
                      <a:noFill/>
                      <a:prstDash val="solid"/>
                      <a:miter lim="800000"/>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200" b="1"/>
                        <a:t>Specialty Services &amp; Value-Added Distribution</a:t>
                      </a:r>
                    </a:p>
                  </a:txBody>
                  <a:tcPr marL="88184" marR="88184"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200" b="1"/>
                        <a:t>Specialty Services</a:t>
                      </a:r>
                    </a:p>
                  </a:txBody>
                  <a:tcPr marL="88184" marR="88184"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200" b="1"/>
                        <a:t>Specialty Services</a:t>
                      </a:r>
                    </a:p>
                  </a:txBody>
                  <a:tcPr marL="88184" marR="88184"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200" b="1"/>
                        <a:t>Specialty Services</a:t>
                      </a:r>
                    </a:p>
                  </a:txBody>
                  <a:tcPr marL="88184" marR="88184" marT="0" marB="0" anchor="ctr">
                    <a:lnL w="12700" cap="flat" cmpd="sng" algn="ctr">
                      <a:noFill/>
                      <a:prstDash val="solid"/>
                      <a:round/>
                      <a:headEnd type="none" w="med" len="med"/>
                      <a:tailEnd type="none" w="med" len="med"/>
                    </a:lnL>
                    <a:lnR w="6350" cap="flat" cmpd="sng" algn="ctr">
                      <a:noFill/>
                      <a:prstDash val="solid"/>
                      <a:miter lim="800000"/>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72777928"/>
                  </a:ext>
                </a:extLst>
              </a:tr>
              <a:tr h="621744">
                <a:tc>
                  <a:txBody>
                    <a:bodyPr/>
                    <a:lstStyle/>
                    <a:p>
                      <a:r>
                        <a:rPr lang="en-GB" sz="1200" b="1"/>
                        <a:t>Portfolio Company</a:t>
                      </a:r>
                    </a:p>
                  </a:txBody>
                  <a:tcPr marL="88184" marR="88184" marT="0" marB="0" anchor="ctr">
                    <a:lnL w="6350" cap="flat" cmpd="sng" algn="ctr">
                      <a:noFill/>
                      <a:prstDash val="solid"/>
                      <a:miter lim="800000"/>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GB" sz="1200"/>
                    </a:p>
                  </a:txBody>
                  <a:tcPr marL="88184" marR="88184"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GB" sz="1200"/>
                    </a:p>
                  </a:txBody>
                  <a:tcPr marL="88184" marR="88184"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GB" sz="1200"/>
                    </a:p>
                  </a:txBody>
                  <a:tcPr marL="88184" marR="88184"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GB" sz="1200"/>
                    </a:p>
                  </a:txBody>
                  <a:tcPr marL="88184" marR="88184" marT="0" marB="0" anchor="ctr">
                    <a:lnL w="12700" cap="flat" cmpd="sng" algn="ctr">
                      <a:noFill/>
                      <a:prstDash val="solid"/>
                      <a:round/>
                      <a:headEnd type="none" w="med" len="med"/>
                      <a:tailEnd type="none" w="med" len="med"/>
                    </a:lnL>
                    <a:lnR w="6350" cap="flat" cmpd="sng" algn="ctr">
                      <a:noFill/>
                      <a:prstDash val="solid"/>
                      <a:miter lim="800000"/>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1361445"/>
                  </a:ext>
                </a:extLst>
              </a:tr>
              <a:tr h="1464446">
                <a:tc>
                  <a:txBody>
                    <a:bodyPr/>
                    <a:lstStyle/>
                    <a:p>
                      <a:r>
                        <a:rPr lang="en-GB" sz="1200" b="1"/>
                        <a:t>Description</a:t>
                      </a:r>
                    </a:p>
                  </a:txBody>
                  <a:tcPr marL="88184" marR="88184" marT="0" marB="0" anchor="ctr">
                    <a:lnL w="6350" cap="flat" cmpd="sng" algn="ctr">
                      <a:noFill/>
                      <a:prstDash val="solid"/>
                      <a:miter lim="800000"/>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200"/>
                        <a:t>Leading supplier of petroleum fuelling and EV charging equipment, installation, and service across the US</a:t>
                      </a:r>
                    </a:p>
                  </a:txBody>
                  <a:tcPr marL="88184" marR="88184"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200"/>
                        <a:t>Leading utility and infrastructure service provider to the telecom, power, gas, and other infrastructure markets</a:t>
                      </a:r>
                    </a:p>
                  </a:txBody>
                  <a:tcPr marL="88184" marR="88184"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200"/>
                        <a:t>Specialty industrial services provider of recurring and re-occurring refractory, corrosion and scaffolding insulation and maintenance on mission critical equipment and piping</a:t>
                      </a:r>
                    </a:p>
                  </a:txBody>
                  <a:tcPr marL="88184" marR="88184"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200"/>
                        <a:t>Leading field services provider of sawing, drilling, demolition, and concrete placement for the maintenance and retrofit of critical assets and infrastructure</a:t>
                      </a:r>
                    </a:p>
                  </a:txBody>
                  <a:tcPr marL="88184" marR="88184" marT="0" marB="0" anchor="ctr">
                    <a:lnL w="12700" cap="flat" cmpd="sng" algn="ctr">
                      <a:noFill/>
                      <a:prstDash val="solid"/>
                      <a:round/>
                      <a:headEnd type="none" w="med" len="med"/>
                      <a:tailEnd type="none" w="med" len="med"/>
                    </a:lnL>
                    <a:lnR w="6350" cap="flat" cmpd="sng" algn="ctr">
                      <a:noFill/>
                      <a:prstDash val="solid"/>
                      <a:miter lim="800000"/>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11640132"/>
                  </a:ext>
                </a:extLst>
              </a:tr>
              <a:tr h="469891">
                <a:tc>
                  <a:txBody>
                    <a:bodyPr/>
                    <a:lstStyle/>
                    <a:p>
                      <a:r>
                        <a:rPr lang="en-GB" sz="1200" b="1"/>
                        <a:t>Investment Date</a:t>
                      </a:r>
                    </a:p>
                  </a:txBody>
                  <a:tcPr marL="88184" marR="88184" marT="0" marB="0" anchor="ctr">
                    <a:lnL w="6350" cap="flat" cmpd="sng" algn="ctr">
                      <a:noFill/>
                      <a:prstDash val="solid"/>
                      <a:miter lim="800000"/>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t>February 2020</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i="1">
                          <a:solidFill>
                            <a:schemeClr val="accent6"/>
                          </a:solidFill>
                        </a:rPr>
                        <a:t>Sold in September 2022</a:t>
                      </a:r>
                      <a:endParaRPr lang="en-GB" sz="1200" b="1">
                        <a:solidFill>
                          <a:schemeClr val="accent6"/>
                        </a:solidFill>
                      </a:endParaRPr>
                    </a:p>
                  </a:txBody>
                  <a:tcPr marL="88184" marR="88184"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200"/>
                        <a:t>December 2020</a:t>
                      </a:r>
                    </a:p>
                  </a:txBody>
                  <a:tcPr marL="88184" marR="88184"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200"/>
                        <a:t>August 2022</a:t>
                      </a:r>
                    </a:p>
                  </a:txBody>
                  <a:tcPr marL="88184" marR="88184"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200"/>
                        <a:t>August 2023</a:t>
                      </a:r>
                    </a:p>
                  </a:txBody>
                  <a:tcPr marL="88184" marR="88184" marT="0" marB="0" anchor="ctr">
                    <a:lnL w="12700" cap="flat" cmpd="sng" algn="ctr">
                      <a:noFill/>
                      <a:prstDash val="solid"/>
                      <a:round/>
                      <a:headEnd type="none" w="med" len="med"/>
                      <a:tailEnd type="none" w="med" len="med"/>
                    </a:lnL>
                    <a:lnR w="6350" cap="flat" cmpd="sng" algn="ctr">
                      <a:noFill/>
                      <a:prstDash val="solid"/>
                      <a:miter lim="800000"/>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71712422"/>
                  </a:ext>
                </a:extLst>
              </a:tr>
              <a:tr h="31217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a:t>No. of Add-Ons</a:t>
                      </a:r>
                    </a:p>
                  </a:txBody>
                  <a:tcPr marL="88184" marR="88184" marT="0" marB="0" anchor="ctr">
                    <a:lnL w="6350" cap="flat" cmpd="sng" algn="ctr">
                      <a:noFill/>
                      <a:prstDash val="solid"/>
                      <a:miter lim="800000"/>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t>4</a:t>
                      </a:r>
                    </a:p>
                  </a:txBody>
                  <a:tcPr marL="88184" marR="88184"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t>2</a:t>
                      </a:r>
                    </a:p>
                  </a:txBody>
                  <a:tcPr marL="88184" marR="88184"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t>2</a:t>
                      </a:r>
                    </a:p>
                  </a:txBody>
                  <a:tcPr marL="88184" marR="88184"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t>0</a:t>
                      </a:r>
                    </a:p>
                  </a:txBody>
                  <a:tcPr marL="88184" marR="88184" marT="0" marB="0" anchor="ctr">
                    <a:lnL w="12700" cap="flat" cmpd="sng" algn="ctr">
                      <a:noFill/>
                      <a:prstDash val="solid"/>
                      <a:round/>
                      <a:headEnd type="none" w="med" len="med"/>
                      <a:tailEnd type="none" w="med" len="med"/>
                    </a:lnL>
                    <a:lnR w="6350" cap="flat" cmpd="sng" algn="ctr">
                      <a:noFill/>
                      <a:prstDash val="solid"/>
                      <a:miter lim="800000"/>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751488324"/>
                  </a:ext>
                </a:extLst>
              </a:tr>
              <a:tr h="1326398">
                <a:tc>
                  <a:txBody>
                    <a:bodyPr/>
                    <a:lstStyle/>
                    <a:p>
                      <a:r>
                        <a:rPr lang="en-GB" sz="1200" b="1" dirty="0"/>
                        <a:t>Value Creation</a:t>
                      </a:r>
                    </a:p>
                  </a:txBody>
                  <a:tcPr marL="88184" marR="88184" marT="44978" marB="44978">
                    <a:lnL w="6350" cap="flat" cmpd="sng" algn="ctr">
                      <a:noFill/>
                      <a:prstDash val="solid"/>
                      <a:miter lim="800000"/>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6350" cap="flat" cmpd="sng" algn="ctr">
                      <a:noFill/>
                      <a:prstDash val="solid"/>
                      <a:miter lim="800000"/>
                    </a:lnB>
                    <a:lnTlToBr w="12700" cmpd="sng">
                      <a:noFill/>
                      <a:prstDash val="solid"/>
                    </a:lnTlToBr>
                    <a:lnBlToTr w="12700" cmpd="sng">
                      <a:noFill/>
                      <a:prstDash val="solid"/>
                    </a:lnBlToTr>
                  </a:tcPr>
                </a:tc>
                <a:tc gridSpan="4">
                  <a:txBody>
                    <a:bodyPr/>
                    <a:lstStyle/>
                    <a:p>
                      <a:pPr marL="285750" indent="-285750" algn="just" defTabSz="1125444" rtl="0" eaLnBrk="1" latinLnBrk="0" hangingPunct="1">
                        <a:spcBef>
                          <a:spcPts val="500"/>
                        </a:spcBef>
                        <a:buClr>
                          <a:schemeClr val="accent1"/>
                        </a:buClr>
                        <a:buFont typeface="Arial" panose="020B0604020202020204" pitchFamily="34" charset="0"/>
                        <a:buChar char="•"/>
                      </a:pPr>
                      <a:r>
                        <a:rPr lang="en-GB" sz="1400" kern="1200" dirty="0">
                          <a:solidFill>
                            <a:schemeClr val="dk1"/>
                          </a:solidFill>
                          <a:latin typeface="+mn-lt"/>
                          <a:ea typeface="+mn-ea"/>
                          <a:cs typeface="+mn-cs"/>
                        </a:rPr>
                        <a:t>Develop and build out executive teams and middle management to support business scaling</a:t>
                      </a:r>
                    </a:p>
                    <a:p>
                      <a:pPr marL="285750" indent="-285750" algn="just" defTabSz="1125444" rtl="0" eaLnBrk="1" latinLnBrk="0" hangingPunct="1">
                        <a:spcBef>
                          <a:spcPts val="500"/>
                        </a:spcBef>
                        <a:buClr>
                          <a:schemeClr val="accent1"/>
                        </a:buClr>
                        <a:buFont typeface="Arial" panose="020B0604020202020204" pitchFamily="34" charset="0"/>
                        <a:buChar char="•"/>
                      </a:pPr>
                      <a:r>
                        <a:rPr lang="en-GB" sz="1400" kern="1200" dirty="0">
                          <a:solidFill>
                            <a:schemeClr val="dk1"/>
                          </a:solidFill>
                          <a:latin typeface="+mn-lt"/>
                          <a:ea typeface="+mn-ea"/>
                          <a:cs typeface="+mn-cs"/>
                        </a:rPr>
                        <a:t>Enhance corporate infrastructure including IT, ERP systems and financial reporting</a:t>
                      </a:r>
                    </a:p>
                    <a:p>
                      <a:pPr marL="285750" indent="-285750" algn="just" defTabSz="1125444" rtl="0" eaLnBrk="1" latinLnBrk="0" hangingPunct="1">
                        <a:spcBef>
                          <a:spcPts val="500"/>
                        </a:spcBef>
                        <a:buClr>
                          <a:schemeClr val="accent1"/>
                        </a:buClr>
                        <a:buFont typeface="Arial" panose="020B0604020202020204" pitchFamily="34" charset="0"/>
                        <a:buChar char="•"/>
                      </a:pPr>
                      <a:r>
                        <a:rPr lang="en-US" sz="1400" kern="1200" dirty="0" err="1">
                          <a:solidFill>
                            <a:schemeClr val="dk1"/>
                          </a:solidFill>
                          <a:latin typeface="+mn-lt"/>
                          <a:ea typeface="+mn-ea"/>
                          <a:cs typeface="+mn-cs"/>
                        </a:rPr>
                        <a:t>Professionalise</a:t>
                      </a:r>
                      <a:r>
                        <a:rPr lang="en-US" sz="1400" kern="1200" dirty="0">
                          <a:solidFill>
                            <a:schemeClr val="dk1"/>
                          </a:solidFill>
                          <a:latin typeface="+mn-lt"/>
                          <a:ea typeface="+mn-ea"/>
                          <a:cs typeface="+mn-cs"/>
                        </a:rPr>
                        <a:t> day-to-day operations and strategic planning</a:t>
                      </a:r>
                    </a:p>
                    <a:p>
                      <a:pPr marL="285750" indent="-285750" algn="just" defTabSz="1125444" rtl="0" eaLnBrk="1" latinLnBrk="0" hangingPunct="1">
                        <a:spcBef>
                          <a:spcPts val="500"/>
                        </a:spcBef>
                        <a:buClr>
                          <a:schemeClr val="accent1"/>
                        </a:buClr>
                        <a:buFont typeface="Arial" panose="020B0604020202020204" pitchFamily="34" charset="0"/>
                        <a:buChar char="•"/>
                      </a:pPr>
                      <a:r>
                        <a:rPr lang="en-US" sz="1400" kern="1200" dirty="0">
                          <a:solidFill>
                            <a:schemeClr val="dk1"/>
                          </a:solidFill>
                          <a:latin typeface="+mn-lt"/>
                          <a:ea typeface="+mn-ea"/>
                          <a:cs typeface="+mn-cs"/>
                        </a:rPr>
                        <a:t>Identify and execute strategic add-ons</a:t>
                      </a:r>
                    </a:p>
                  </a:txBody>
                  <a:tcPr marL="88184" marR="88184" marT="0" marB="0">
                    <a:lnL w="12700" cap="flat" cmpd="sng" algn="ctr">
                      <a:noFill/>
                      <a:prstDash val="solid"/>
                      <a:round/>
                      <a:headEnd type="none" w="med" len="med"/>
                      <a:tailEnd type="none" w="med" len="med"/>
                    </a:lnL>
                    <a:lnR w="6350" cap="flat" cmpd="sng" algn="ctr">
                      <a:noFill/>
                      <a:prstDash val="solid"/>
                      <a:miter lim="800000"/>
                    </a:lnR>
                    <a:lnT w="12700" cap="flat" cmpd="sng" algn="ctr">
                      <a:solidFill>
                        <a:schemeClr val="accent1"/>
                      </a:solidFill>
                      <a:prstDash val="solid"/>
                      <a:round/>
                      <a:headEnd type="none" w="med" len="med"/>
                      <a:tailEnd type="none" w="med" len="med"/>
                    </a:lnT>
                    <a:lnB w="6350" cap="flat" cmpd="sng" algn="ctr">
                      <a:noFill/>
                      <a:prstDash val="solid"/>
                      <a:miter lim="800000"/>
                    </a:lnB>
                    <a:lnTlToBr w="12700" cmpd="sng">
                      <a:noFill/>
                      <a:prstDash val="solid"/>
                    </a:lnTlToBr>
                    <a:lnBlToTr w="12700" cmpd="sng">
                      <a:noFill/>
                      <a:prstDash val="solid"/>
                    </a:lnBlToTr>
                  </a:tcPr>
                </a:tc>
                <a:tc hMerge="1">
                  <a:txBody>
                    <a:bodyPr/>
                    <a:lstStyle/>
                    <a:p>
                      <a:pPr algn="ctr"/>
                      <a:endParaRPr lang="en-GB" sz="900"/>
                    </a:p>
                  </a:txBody>
                  <a:tcPr marT="0" marB="0" anchor="ctr"/>
                </a:tc>
                <a:tc hMerge="1">
                  <a:txBody>
                    <a:bodyPr/>
                    <a:lstStyle/>
                    <a:p>
                      <a:pPr algn="ctr"/>
                      <a:endParaRPr lang="en-GB" sz="900"/>
                    </a:p>
                  </a:txBody>
                  <a:tcPr marT="0" marB="0" anchor="ctr"/>
                </a:tc>
                <a:tc hMerge="1">
                  <a:txBody>
                    <a:bodyPr/>
                    <a:lstStyle/>
                    <a:p>
                      <a:pPr algn="ctr"/>
                      <a:endParaRPr lang="en-GB" sz="900"/>
                    </a:p>
                  </a:txBody>
                  <a:tcPr marT="0" marB="0" anchor="ctr"/>
                </a:tc>
                <a:extLst>
                  <a:ext uri="{0D108BD9-81ED-4DB2-BD59-A6C34878D82A}">
                    <a16:rowId xmlns:a16="http://schemas.microsoft.com/office/drawing/2014/main" val="2139949405"/>
                  </a:ext>
                </a:extLst>
              </a:tr>
            </a:tbl>
          </a:graphicData>
        </a:graphic>
      </p:graphicFrame>
      <p:pic>
        <p:nvPicPr>
          <p:cNvPr id="21" name="Picture 20">
            <a:extLst>
              <a:ext uri="{FF2B5EF4-FFF2-40B4-BE49-F238E27FC236}">
                <a16:creationId xmlns:a16="http://schemas.microsoft.com/office/drawing/2014/main" id="{90A12103-7A2F-CAB4-EA2F-17E5250950F6}"/>
              </a:ext>
            </a:extLst>
          </p:cNvPr>
          <p:cNvPicPr>
            <a:picLocks noChangeAspect="1"/>
          </p:cNvPicPr>
          <p:nvPr/>
        </p:nvPicPr>
        <p:blipFill>
          <a:blip r:embed="rId7"/>
          <a:stretch>
            <a:fillRect/>
          </a:stretch>
        </p:blipFill>
        <p:spPr>
          <a:xfrm>
            <a:off x="3222966" y="2189297"/>
            <a:ext cx="1428250" cy="494394"/>
          </a:xfrm>
          <a:prstGeom prst="rect">
            <a:avLst/>
          </a:prstGeom>
        </p:spPr>
      </p:pic>
      <p:pic>
        <p:nvPicPr>
          <p:cNvPr id="22" name="Picture 21">
            <a:extLst>
              <a:ext uri="{FF2B5EF4-FFF2-40B4-BE49-F238E27FC236}">
                <a16:creationId xmlns:a16="http://schemas.microsoft.com/office/drawing/2014/main" id="{2BB41B2F-AF3A-FD14-BC37-C933660D69F6}"/>
              </a:ext>
            </a:extLst>
          </p:cNvPr>
          <p:cNvPicPr>
            <a:picLocks noChangeAspect="1"/>
          </p:cNvPicPr>
          <p:nvPr/>
        </p:nvPicPr>
        <p:blipFill>
          <a:blip r:embed="rId8"/>
          <a:stretch>
            <a:fillRect/>
          </a:stretch>
        </p:blipFill>
        <p:spPr>
          <a:xfrm>
            <a:off x="5328893" y="2232118"/>
            <a:ext cx="1655140" cy="441263"/>
          </a:xfrm>
          <a:prstGeom prst="rect">
            <a:avLst/>
          </a:prstGeom>
        </p:spPr>
      </p:pic>
      <p:pic>
        <p:nvPicPr>
          <p:cNvPr id="23" name="Picture 22">
            <a:extLst>
              <a:ext uri="{FF2B5EF4-FFF2-40B4-BE49-F238E27FC236}">
                <a16:creationId xmlns:a16="http://schemas.microsoft.com/office/drawing/2014/main" id="{006C7F42-A254-0B5C-ACB5-74F91C7E807D}"/>
              </a:ext>
            </a:extLst>
          </p:cNvPr>
          <p:cNvPicPr>
            <a:picLocks noChangeAspect="1"/>
          </p:cNvPicPr>
          <p:nvPr/>
        </p:nvPicPr>
        <p:blipFill>
          <a:blip r:embed="rId9"/>
          <a:stretch>
            <a:fillRect/>
          </a:stretch>
        </p:blipFill>
        <p:spPr>
          <a:xfrm>
            <a:off x="9736340" y="2189297"/>
            <a:ext cx="1843368" cy="560384"/>
          </a:xfrm>
          <a:prstGeom prst="rect">
            <a:avLst/>
          </a:prstGeom>
        </p:spPr>
      </p:pic>
      <p:sp>
        <p:nvSpPr>
          <p:cNvPr id="24" name="TextBox 23">
            <a:extLst>
              <a:ext uri="{FF2B5EF4-FFF2-40B4-BE49-F238E27FC236}">
                <a16:creationId xmlns:a16="http://schemas.microsoft.com/office/drawing/2014/main" id="{FA0C9E16-F400-7DA9-D279-135B3658BDB6}"/>
              </a:ext>
            </a:extLst>
          </p:cNvPr>
          <p:cNvSpPr txBox="1"/>
          <p:nvPr/>
        </p:nvSpPr>
        <p:spPr>
          <a:xfrm>
            <a:off x="4651216" y="1227065"/>
            <a:ext cx="3284749" cy="358881"/>
          </a:xfrm>
          <a:prstGeom prst="rect">
            <a:avLst/>
          </a:prstGeom>
          <a:noFill/>
        </p:spPr>
        <p:txBody>
          <a:bodyPr wrap="square">
            <a:spAutoFit/>
          </a:bodyPr>
          <a:lstStyle/>
          <a:p>
            <a:pPr marL="0" lvl="2" indent="0">
              <a:lnSpc>
                <a:spcPct val="103000"/>
              </a:lnSpc>
              <a:spcBef>
                <a:spcPts val="600"/>
              </a:spcBef>
              <a:buNone/>
            </a:pPr>
            <a:r>
              <a:rPr lang="en-GB" sz="1800" b="1">
                <a:solidFill>
                  <a:schemeClr val="tx2"/>
                </a:solidFill>
              </a:rPr>
              <a:t>Portfolio Company Snapshots</a:t>
            </a:r>
          </a:p>
        </p:txBody>
      </p:sp>
      <p:pic>
        <p:nvPicPr>
          <p:cNvPr id="25" name="Picture 24">
            <a:extLst>
              <a:ext uri="{FF2B5EF4-FFF2-40B4-BE49-F238E27FC236}">
                <a16:creationId xmlns:a16="http://schemas.microsoft.com/office/drawing/2014/main" id="{2A1F69B6-6138-3263-09FB-1D673C325867}"/>
              </a:ext>
            </a:extLst>
          </p:cNvPr>
          <p:cNvPicPr>
            <a:picLocks noChangeAspect="1"/>
          </p:cNvPicPr>
          <p:nvPr/>
        </p:nvPicPr>
        <p:blipFill>
          <a:blip r:embed="rId10"/>
          <a:stretch>
            <a:fillRect/>
          </a:stretch>
        </p:blipFill>
        <p:spPr>
          <a:xfrm>
            <a:off x="7325185" y="31601"/>
            <a:ext cx="2373255" cy="1245959"/>
          </a:xfrm>
          <a:prstGeom prst="rect">
            <a:avLst/>
          </a:prstGeom>
        </p:spPr>
      </p:pic>
      <p:pic>
        <p:nvPicPr>
          <p:cNvPr id="1026" name="Picture 2" descr="Thorpe Plant Maintenance and Engineering">
            <a:extLst>
              <a:ext uri="{FF2B5EF4-FFF2-40B4-BE49-F238E27FC236}">
                <a16:creationId xmlns:a16="http://schemas.microsoft.com/office/drawing/2014/main" id="{431C1745-8BD4-5CA3-7BF9-416C119B601C}"/>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7731468" y="2207189"/>
            <a:ext cx="1379455" cy="484083"/>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A7D8DF88-AED3-D1EF-B441-95436A4F78AA}"/>
              </a:ext>
            </a:extLst>
          </p:cNvPr>
          <p:cNvSpPr txBox="1"/>
          <p:nvPr/>
        </p:nvSpPr>
        <p:spPr>
          <a:xfrm>
            <a:off x="457609" y="6368534"/>
            <a:ext cx="6122894" cy="338554"/>
          </a:xfrm>
          <a:prstGeom prst="rect">
            <a:avLst/>
          </a:prstGeom>
          <a:noFill/>
        </p:spPr>
        <p:txBody>
          <a:bodyPr wrap="square">
            <a:spAutoFit/>
          </a:bodyPr>
          <a:lstStyle/>
          <a:p>
            <a:r>
              <a:rPr lang="en-US" sz="800" dirty="0">
                <a:solidFill>
                  <a:schemeClr val="tx1"/>
                </a:solidFill>
                <a:latin typeface="Cambria" panose="02040503050406030204" pitchFamily="18" charset="0"/>
                <a:ea typeface="Cambria" panose="02040503050406030204" pitchFamily="18" charset="0"/>
              </a:rPr>
              <a:t>Past performance is not a reliable indicator of future results</a:t>
            </a:r>
          </a:p>
          <a:p>
            <a:r>
              <a:rPr lang="en-US" sz="800" dirty="0">
                <a:latin typeface="Cambria" panose="02040503050406030204" pitchFamily="18" charset="0"/>
                <a:ea typeface="Cambria" panose="02040503050406030204" pitchFamily="18" charset="0"/>
              </a:rPr>
              <a:t>Caledonia financial information at 31 March 2025</a:t>
            </a:r>
            <a:endParaRPr lang="en-GB" sz="800" dirty="0"/>
          </a:p>
        </p:txBody>
      </p:sp>
    </p:spTree>
    <p:extLst>
      <p:ext uri="{BB962C8B-B14F-4D97-AF65-F5344CB8AC3E}">
        <p14:creationId xmlns:p14="http://schemas.microsoft.com/office/powerpoint/2010/main" val="413448163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9" name="Group 58">
            <a:extLst>
              <a:ext uri="{FF2B5EF4-FFF2-40B4-BE49-F238E27FC236}">
                <a16:creationId xmlns:a16="http://schemas.microsoft.com/office/drawing/2014/main" id="{987B3EEF-946F-B46C-485A-81A64CF38608}"/>
              </a:ext>
            </a:extLst>
          </p:cNvPr>
          <p:cNvGrpSpPr/>
          <p:nvPr/>
        </p:nvGrpSpPr>
        <p:grpSpPr>
          <a:xfrm rot="5400000">
            <a:off x="4703746" y="-3031297"/>
            <a:ext cx="2794029" cy="11553826"/>
            <a:chOff x="531690" y="1985962"/>
            <a:chExt cx="6900649" cy="4333135"/>
          </a:xfrm>
          <a:solidFill>
            <a:srgbClr val="C3AC78">
              <a:alpha val="20000"/>
            </a:srgbClr>
          </a:solidFill>
        </p:grpSpPr>
        <p:sp>
          <p:nvSpPr>
            <p:cNvPr id="60" name="Rectangle 59">
              <a:extLst>
                <a:ext uri="{FF2B5EF4-FFF2-40B4-BE49-F238E27FC236}">
                  <a16:creationId xmlns:a16="http://schemas.microsoft.com/office/drawing/2014/main" id="{7C357905-197A-171F-0B12-4CEC9A3B6D50}"/>
                </a:ext>
              </a:extLst>
            </p:cNvPr>
            <p:cNvSpPr/>
            <p:nvPr/>
          </p:nvSpPr>
          <p:spPr>
            <a:xfrm rot="16200000">
              <a:off x="1343962" y="1173690"/>
              <a:ext cx="4333134" cy="5957678"/>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1" name="Isosceles Triangle 60">
              <a:extLst>
                <a:ext uri="{FF2B5EF4-FFF2-40B4-BE49-F238E27FC236}">
                  <a16:creationId xmlns:a16="http://schemas.microsoft.com/office/drawing/2014/main" id="{7DB35637-29B1-9034-FF8C-FE20F613B371}"/>
                </a:ext>
              </a:extLst>
            </p:cNvPr>
            <p:cNvSpPr/>
            <p:nvPr/>
          </p:nvSpPr>
          <p:spPr>
            <a:xfrm rot="5400000">
              <a:off x="4794287" y="3681045"/>
              <a:ext cx="4333134" cy="942970"/>
            </a:xfrm>
            <a:prstGeom prst="triangl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grpSp>
      <p:sp>
        <p:nvSpPr>
          <p:cNvPr id="36" name="Rectangle 35">
            <a:extLst>
              <a:ext uri="{FF2B5EF4-FFF2-40B4-BE49-F238E27FC236}">
                <a16:creationId xmlns:a16="http://schemas.microsoft.com/office/drawing/2014/main" id="{546B2C91-6E38-043C-BA81-5FFD76467E50}"/>
              </a:ext>
            </a:extLst>
          </p:cNvPr>
          <p:cNvSpPr/>
          <p:nvPr/>
        </p:nvSpPr>
        <p:spPr>
          <a:xfrm>
            <a:off x="531693" y="1466552"/>
            <a:ext cx="3420106" cy="2088878"/>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dirty="0"/>
          </a:p>
        </p:txBody>
      </p:sp>
      <p:sp>
        <p:nvSpPr>
          <p:cNvPr id="54" name="Rectangle 53">
            <a:extLst>
              <a:ext uri="{FF2B5EF4-FFF2-40B4-BE49-F238E27FC236}">
                <a16:creationId xmlns:a16="http://schemas.microsoft.com/office/drawing/2014/main" id="{018F34DE-425B-D1AE-2F71-2224B24C3C78}"/>
              </a:ext>
            </a:extLst>
          </p:cNvPr>
          <p:cNvSpPr/>
          <p:nvPr/>
        </p:nvSpPr>
        <p:spPr>
          <a:xfrm>
            <a:off x="4446495" y="1485039"/>
            <a:ext cx="3420106" cy="2088878"/>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dirty="0"/>
          </a:p>
        </p:txBody>
      </p:sp>
      <p:graphicFrame>
        <p:nvGraphicFramePr>
          <p:cNvPr id="9" name="Content Placeholder 8">
            <a:extLst>
              <a:ext uri="{FF2B5EF4-FFF2-40B4-BE49-F238E27FC236}">
                <a16:creationId xmlns:a16="http://schemas.microsoft.com/office/drawing/2014/main" id="{A3C340DB-8014-4B19-89B3-B3F6E347141B}"/>
              </a:ext>
            </a:extLst>
          </p:cNvPr>
          <p:cNvGraphicFramePr>
            <a:graphicFrameLocks noGrp="1"/>
          </p:cNvGraphicFramePr>
          <p:nvPr>
            <p:ph idx="1"/>
            <p:extLst>
              <p:ext uri="{D42A27DB-BD31-4B8C-83A1-F6EECF244321}">
                <p14:modId xmlns:p14="http://schemas.microsoft.com/office/powerpoint/2010/main" val="3917178705"/>
              </p:ext>
            </p:extLst>
          </p:nvPr>
        </p:nvGraphicFramePr>
        <p:xfrm>
          <a:off x="3424517" y="4152524"/>
          <a:ext cx="5414682" cy="212938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3" name="think-cell data - do not delete" hidden="1">
            <a:extLst>
              <a:ext uri="{FF2B5EF4-FFF2-40B4-BE49-F238E27FC236}">
                <a16:creationId xmlns:a16="http://schemas.microsoft.com/office/drawing/2014/main" id="{BF56C1A4-63AB-567E-E653-A475424FBE9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754" imgH="754" progId="TCLayout.ActiveDocument.1">
                  <p:embed/>
                </p:oleObj>
              </mc:Choice>
              <mc:Fallback>
                <p:oleObj name="think-cell Slide" r:id="rId4" imgW="754" imgH="754" progId="TCLayout.ActiveDocument.1">
                  <p:embed/>
                  <p:pic>
                    <p:nvPicPr>
                      <p:cNvPr id="13" name="think-cell data - do not delete" hidden="1">
                        <a:extLst>
                          <a:ext uri="{FF2B5EF4-FFF2-40B4-BE49-F238E27FC236}">
                            <a16:creationId xmlns:a16="http://schemas.microsoft.com/office/drawing/2014/main" id="{BF56C1A4-63AB-567E-E653-A475424FBE9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le 7"/>
          <p:cNvSpPr>
            <a:spLocks noGrp="1"/>
          </p:cNvSpPr>
          <p:nvPr>
            <p:ph type="title"/>
          </p:nvPr>
        </p:nvSpPr>
        <p:spPr/>
        <p:txBody>
          <a:bodyPr vert="horz">
            <a:normAutofit/>
          </a:bodyPr>
          <a:lstStyle/>
          <a:p>
            <a:r>
              <a:rPr lang="en-GB" sz="3200" dirty="0"/>
              <a:t>Our strategy has driven long-term performance</a:t>
            </a:r>
            <a:endParaRPr lang="en-GB" sz="3200" dirty="0">
              <a:solidFill>
                <a:schemeClr val="tx1"/>
              </a:solidFill>
            </a:endParaRPr>
          </a:p>
        </p:txBody>
      </p:sp>
      <p:sp>
        <p:nvSpPr>
          <p:cNvPr id="2" name="Text Placeholder 1"/>
          <p:cNvSpPr>
            <a:spLocks noGrp="1"/>
          </p:cNvSpPr>
          <p:nvPr>
            <p:ph type="body" sz="half" idx="2"/>
          </p:nvPr>
        </p:nvSpPr>
        <p:spPr>
          <a:xfrm>
            <a:off x="542184" y="834157"/>
            <a:ext cx="10565787" cy="514441"/>
          </a:xfrm>
        </p:spPr>
        <p:txBody>
          <a:bodyPr>
            <a:normAutofit/>
          </a:bodyPr>
          <a:lstStyle/>
          <a:p>
            <a:r>
              <a:rPr lang="en-GB" sz="1800" dirty="0"/>
              <a:t>Through a well-balanced diversified global portfolio of private and public companies</a:t>
            </a:r>
          </a:p>
        </p:txBody>
      </p:sp>
      <p:sp>
        <p:nvSpPr>
          <p:cNvPr id="14" name="Slide Number Placeholder 7">
            <a:extLst>
              <a:ext uri="{FF2B5EF4-FFF2-40B4-BE49-F238E27FC236}">
                <a16:creationId xmlns:a16="http://schemas.microsoft.com/office/drawing/2014/main" id="{65788E27-048F-0AA0-381D-6A3C1066BC47}"/>
              </a:ext>
            </a:extLst>
          </p:cNvPr>
          <p:cNvSpPr>
            <a:spLocks noGrp="1"/>
          </p:cNvSpPr>
          <p:nvPr>
            <p:ph type="sldNum" sz="quarter" idx="12"/>
          </p:nvPr>
        </p:nvSpPr>
        <p:spPr>
          <a:xfrm>
            <a:off x="11227890" y="6410310"/>
            <a:ext cx="443077" cy="153888"/>
          </a:xfrm>
        </p:spPr>
        <p:txBody>
          <a:bodyPr/>
          <a:lstStyle/>
          <a:p>
            <a:fld id="{BFCF0D39-BEE8-4D89-987A-40261FE54395}" type="slidenum">
              <a:rPr lang="en-GB" smtClean="0"/>
              <a:t>12</a:t>
            </a:fld>
            <a:endParaRPr lang="en-GB"/>
          </a:p>
        </p:txBody>
      </p:sp>
      <p:sp>
        <p:nvSpPr>
          <p:cNvPr id="55" name="Rectangle 54">
            <a:extLst>
              <a:ext uri="{FF2B5EF4-FFF2-40B4-BE49-F238E27FC236}">
                <a16:creationId xmlns:a16="http://schemas.microsoft.com/office/drawing/2014/main" id="{EE6ED8AC-9B84-E2C8-8ABE-0C97A03493D0}"/>
              </a:ext>
            </a:extLst>
          </p:cNvPr>
          <p:cNvSpPr/>
          <p:nvPr/>
        </p:nvSpPr>
        <p:spPr>
          <a:xfrm>
            <a:off x="8256517" y="1475123"/>
            <a:ext cx="3420106" cy="2088878"/>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dirty="0"/>
          </a:p>
        </p:txBody>
      </p:sp>
      <p:graphicFrame>
        <p:nvGraphicFramePr>
          <p:cNvPr id="53" name="Content Placeholder 8">
            <a:extLst>
              <a:ext uri="{FF2B5EF4-FFF2-40B4-BE49-F238E27FC236}">
                <a16:creationId xmlns:a16="http://schemas.microsoft.com/office/drawing/2014/main" id="{417746F3-379C-A73C-B327-CD145D06C9B6}"/>
              </a:ext>
            </a:extLst>
          </p:cNvPr>
          <p:cNvGraphicFramePr>
            <a:graphicFrameLocks/>
          </p:cNvGraphicFramePr>
          <p:nvPr>
            <p:extLst>
              <p:ext uri="{D42A27DB-BD31-4B8C-83A1-F6EECF244321}">
                <p14:modId xmlns:p14="http://schemas.microsoft.com/office/powerpoint/2010/main" val="579818890"/>
              </p:ext>
            </p:extLst>
          </p:nvPr>
        </p:nvGraphicFramePr>
        <p:xfrm>
          <a:off x="8247900" y="1475123"/>
          <a:ext cx="3452576" cy="2016141"/>
        </p:xfrm>
        <a:graphic>
          <a:graphicData uri="http://schemas.openxmlformats.org/drawingml/2006/chart">
            <c:chart xmlns:c="http://schemas.openxmlformats.org/drawingml/2006/chart" xmlns:r="http://schemas.openxmlformats.org/officeDocument/2006/relationships" r:id="rId6"/>
          </a:graphicData>
        </a:graphic>
      </p:graphicFrame>
      <p:sp>
        <p:nvSpPr>
          <p:cNvPr id="62" name="TextBox 61">
            <a:extLst>
              <a:ext uri="{FF2B5EF4-FFF2-40B4-BE49-F238E27FC236}">
                <a16:creationId xmlns:a16="http://schemas.microsoft.com/office/drawing/2014/main" id="{F8E4CE08-2A04-3AC0-BA1C-DCF3A5FC5673}"/>
              </a:ext>
            </a:extLst>
          </p:cNvPr>
          <p:cNvSpPr txBox="1"/>
          <p:nvPr/>
        </p:nvSpPr>
        <p:spPr>
          <a:xfrm>
            <a:off x="1573338" y="1487500"/>
            <a:ext cx="1287532" cy="415498"/>
          </a:xfrm>
          <a:prstGeom prst="rect">
            <a:avLst/>
          </a:prstGeom>
          <a:noFill/>
        </p:spPr>
        <p:txBody>
          <a:bodyPr wrap="none" rtlCol="0">
            <a:spAutoFit/>
          </a:bodyPr>
          <a:lstStyle/>
          <a:p>
            <a:pPr algn="ctr"/>
            <a:r>
              <a:rPr lang="en-GB" sz="1050" b="1" dirty="0">
                <a:solidFill>
                  <a:schemeClr val="tx2"/>
                </a:solidFill>
              </a:rPr>
              <a:t>Public Companies</a:t>
            </a:r>
            <a:br>
              <a:rPr lang="en-GB" sz="1050" b="1" dirty="0">
                <a:solidFill>
                  <a:schemeClr val="tx2"/>
                </a:solidFill>
              </a:rPr>
            </a:br>
            <a:r>
              <a:rPr lang="en-GB" sz="1000" dirty="0">
                <a:solidFill>
                  <a:schemeClr val="tx2"/>
                </a:solidFill>
              </a:rPr>
              <a:t>(annualised)</a:t>
            </a:r>
            <a:endParaRPr lang="en-GB" sz="1050" dirty="0">
              <a:solidFill>
                <a:schemeClr val="tx2"/>
              </a:solidFill>
            </a:endParaRPr>
          </a:p>
        </p:txBody>
      </p:sp>
      <p:sp>
        <p:nvSpPr>
          <p:cNvPr id="63" name="TextBox 62">
            <a:extLst>
              <a:ext uri="{FF2B5EF4-FFF2-40B4-BE49-F238E27FC236}">
                <a16:creationId xmlns:a16="http://schemas.microsoft.com/office/drawing/2014/main" id="{585DEF7A-26E8-6594-6599-C2A90EA73EEC}"/>
              </a:ext>
            </a:extLst>
          </p:cNvPr>
          <p:cNvSpPr txBox="1"/>
          <p:nvPr/>
        </p:nvSpPr>
        <p:spPr>
          <a:xfrm>
            <a:off x="5582120" y="1463481"/>
            <a:ext cx="1101584" cy="415498"/>
          </a:xfrm>
          <a:prstGeom prst="rect">
            <a:avLst/>
          </a:prstGeom>
          <a:noFill/>
        </p:spPr>
        <p:txBody>
          <a:bodyPr wrap="none" rtlCol="0">
            <a:spAutoFit/>
          </a:bodyPr>
          <a:lstStyle/>
          <a:p>
            <a:r>
              <a:rPr lang="en-GB" sz="1050" b="1" dirty="0">
                <a:solidFill>
                  <a:schemeClr val="tx2"/>
                </a:solidFill>
              </a:rPr>
              <a:t>Private Capital</a:t>
            </a:r>
          </a:p>
          <a:p>
            <a:pPr algn="ctr"/>
            <a:r>
              <a:rPr lang="en-GB" sz="1000" dirty="0">
                <a:solidFill>
                  <a:schemeClr val="tx2"/>
                </a:solidFill>
              </a:rPr>
              <a:t>(annualised)</a:t>
            </a:r>
          </a:p>
        </p:txBody>
      </p:sp>
      <p:sp>
        <p:nvSpPr>
          <p:cNvPr id="64" name="TextBox 63">
            <a:extLst>
              <a:ext uri="{FF2B5EF4-FFF2-40B4-BE49-F238E27FC236}">
                <a16:creationId xmlns:a16="http://schemas.microsoft.com/office/drawing/2014/main" id="{197AF4FA-D2D2-DA25-5297-B8B6F77F2718}"/>
              </a:ext>
            </a:extLst>
          </p:cNvPr>
          <p:cNvSpPr txBox="1"/>
          <p:nvPr/>
        </p:nvSpPr>
        <p:spPr>
          <a:xfrm>
            <a:off x="9677818" y="1458824"/>
            <a:ext cx="915635" cy="415498"/>
          </a:xfrm>
          <a:prstGeom prst="rect">
            <a:avLst/>
          </a:prstGeom>
          <a:noFill/>
        </p:spPr>
        <p:txBody>
          <a:bodyPr wrap="none" rtlCol="0">
            <a:spAutoFit/>
          </a:bodyPr>
          <a:lstStyle/>
          <a:p>
            <a:pPr algn="ctr"/>
            <a:r>
              <a:rPr lang="en-GB" sz="1050" b="1" dirty="0">
                <a:solidFill>
                  <a:schemeClr val="tx2"/>
                </a:solidFill>
              </a:rPr>
              <a:t>Funds</a:t>
            </a:r>
          </a:p>
          <a:p>
            <a:pPr algn="ctr"/>
            <a:r>
              <a:rPr lang="en-GB" sz="1000" dirty="0">
                <a:solidFill>
                  <a:schemeClr val="tx2"/>
                </a:solidFill>
              </a:rPr>
              <a:t>(annualised)</a:t>
            </a:r>
          </a:p>
        </p:txBody>
      </p:sp>
      <p:sp>
        <p:nvSpPr>
          <p:cNvPr id="67" name="TextBox 66">
            <a:extLst>
              <a:ext uri="{FF2B5EF4-FFF2-40B4-BE49-F238E27FC236}">
                <a16:creationId xmlns:a16="http://schemas.microsoft.com/office/drawing/2014/main" id="{D5FC2B4F-2053-B836-7B08-92D8CBBCCC6E}"/>
              </a:ext>
            </a:extLst>
          </p:cNvPr>
          <p:cNvSpPr txBox="1"/>
          <p:nvPr/>
        </p:nvSpPr>
        <p:spPr>
          <a:xfrm>
            <a:off x="1739909" y="3636716"/>
            <a:ext cx="8724899" cy="492443"/>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400" b="1" i="0" u="none" strike="noStrike" kern="1200" spc="0" baseline="0">
                <a:solidFill>
                  <a:srgbClr val="C00000"/>
                </a:solidFill>
                <a:latin typeface="+mn-lt"/>
                <a:ea typeface="+mn-ea"/>
                <a:cs typeface="+mn-cs"/>
              </a:defRPr>
            </a:pPr>
            <a:r>
              <a:rPr lang="en-GB" sz="1400" dirty="0">
                <a:solidFill>
                  <a:srgbClr val="002868"/>
                </a:solidFill>
                <a:latin typeface="Cambria"/>
              </a:rPr>
              <a:t>Performance </a:t>
            </a:r>
            <a:r>
              <a:rPr kumimoji="0" lang="en-GB" sz="1400" i="0" u="none" strike="noStrike" kern="1200" cap="none" spc="0" normalizeH="0" baseline="0" noProof="0" dirty="0">
                <a:ln>
                  <a:noFill/>
                </a:ln>
                <a:solidFill>
                  <a:srgbClr val="002868"/>
                </a:solidFill>
                <a:effectLst/>
                <a:uLnTx/>
                <a:uFillTx/>
                <a:latin typeface="Cambria"/>
                <a:ea typeface="+mn-ea"/>
                <a:cs typeface="+mn-cs"/>
              </a:rPr>
              <a:t>to 31 March 2025</a:t>
            </a:r>
          </a:p>
          <a:p>
            <a:pPr marL="0" marR="0" lvl="0" indent="0" algn="ctr" defTabSz="914400" rtl="0" eaLnBrk="1" fontAlgn="auto" latinLnBrk="0" hangingPunct="1">
              <a:lnSpc>
                <a:spcPct val="100000"/>
              </a:lnSpc>
              <a:spcBef>
                <a:spcPts val="0"/>
              </a:spcBef>
              <a:spcAft>
                <a:spcPts val="0"/>
              </a:spcAft>
              <a:buClrTx/>
              <a:buSzTx/>
              <a:buFontTx/>
              <a:buNone/>
              <a:tabLst/>
              <a:defRPr sz="1400" b="1" i="0" u="none" strike="noStrike" kern="1200" spc="0" baseline="0">
                <a:solidFill>
                  <a:srgbClr val="C00000"/>
                </a:solidFill>
                <a:latin typeface="+mn-lt"/>
                <a:ea typeface="+mn-ea"/>
                <a:cs typeface="+mn-cs"/>
              </a:defRPr>
            </a:pPr>
            <a:r>
              <a:rPr lang="en-GB" sz="1100" dirty="0">
                <a:solidFill>
                  <a:srgbClr val="002868"/>
                </a:solidFill>
                <a:latin typeface="Cambria"/>
              </a:rPr>
              <a:t>(annualised)</a:t>
            </a:r>
            <a:endParaRPr kumimoji="0" lang="en-GB" sz="1100" u="none" strike="noStrike" kern="1200" cap="none" spc="0" normalizeH="0" baseline="0" noProof="0" dirty="0">
              <a:ln>
                <a:noFill/>
              </a:ln>
              <a:solidFill>
                <a:srgbClr val="002868"/>
              </a:solidFill>
              <a:effectLst/>
              <a:uLnTx/>
              <a:uFillTx/>
              <a:latin typeface="Cambria"/>
              <a:ea typeface="+mn-ea"/>
              <a:cs typeface="+mn-cs"/>
            </a:endParaRPr>
          </a:p>
        </p:txBody>
      </p:sp>
      <p:graphicFrame>
        <p:nvGraphicFramePr>
          <p:cNvPr id="70" name="Content Placeholder 8">
            <a:extLst>
              <a:ext uri="{FF2B5EF4-FFF2-40B4-BE49-F238E27FC236}">
                <a16:creationId xmlns:a16="http://schemas.microsoft.com/office/drawing/2014/main" id="{8EEBC92E-2E14-ED18-D774-EABDA43DCA64}"/>
              </a:ext>
            </a:extLst>
          </p:cNvPr>
          <p:cNvGraphicFramePr>
            <a:graphicFrameLocks/>
          </p:cNvGraphicFramePr>
          <p:nvPr>
            <p:extLst>
              <p:ext uri="{D42A27DB-BD31-4B8C-83A1-F6EECF244321}">
                <p14:modId xmlns:p14="http://schemas.microsoft.com/office/powerpoint/2010/main" val="79872441"/>
              </p:ext>
            </p:extLst>
          </p:nvPr>
        </p:nvGraphicFramePr>
        <p:xfrm>
          <a:off x="4437277" y="1404023"/>
          <a:ext cx="3429324" cy="2133624"/>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71" name="Content Placeholder 8">
            <a:extLst>
              <a:ext uri="{FF2B5EF4-FFF2-40B4-BE49-F238E27FC236}">
                <a16:creationId xmlns:a16="http://schemas.microsoft.com/office/drawing/2014/main" id="{74249469-2643-9C86-8891-82989719E0FD}"/>
              </a:ext>
            </a:extLst>
          </p:cNvPr>
          <p:cNvGraphicFramePr>
            <a:graphicFrameLocks/>
          </p:cNvGraphicFramePr>
          <p:nvPr>
            <p:extLst>
              <p:ext uri="{D42A27DB-BD31-4B8C-83A1-F6EECF244321}">
                <p14:modId xmlns:p14="http://schemas.microsoft.com/office/powerpoint/2010/main" val="2281291313"/>
              </p:ext>
            </p:extLst>
          </p:nvPr>
        </p:nvGraphicFramePr>
        <p:xfrm>
          <a:off x="542185" y="1485040"/>
          <a:ext cx="3513792" cy="2170539"/>
        </p:xfrm>
        <a:graphic>
          <a:graphicData uri="http://schemas.openxmlformats.org/drawingml/2006/chart">
            <c:chart xmlns:c="http://schemas.openxmlformats.org/drawingml/2006/chart" xmlns:r="http://schemas.openxmlformats.org/officeDocument/2006/relationships" r:id="rId8"/>
          </a:graphicData>
        </a:graphic>
      </p:graphicFrame>
      <p:sp>
        <p:nvSpPr>
          <p:cNvPr id="3" name="TextBox 2">
            <a:extLst>
              <a:ext uri="{FF2B5EF4-FFF2-40B4-BE49-F238E27FC236}">
                <a16:creationId xmlns:a16="http://schemas.microsoft.com/office/drawing/2014/main" id="{D790B314-9EC8-C81D-78BF-3280B9075D53}"/>
              </a:ext>
            </a:extLst>
          </p:cNvPr>
          <p:cNvSpPr txBox="1"/>
          <p:nvPr/>
        </p:nvSpPr>
        <p:spPr>
          <a:xfrm>
            <a:off x="445615" y="6379532"/>
            <a:ext cx="2791149" cy="461665"/>
          </a:xfrm>
          <a:prstGeom prst="rect">
            <a:avLst/>
          </a:prstGeom>
          <a:noFill/>
        </p:spPr>
        <p:txBody>
          <a:bodyPr wrap="none" rtlCol="0">
            <a:spAutoFit/>
          </a:bodyPr>
          <a:lstStyle/>
          <a:p>
            <a:r>
              <a:rPr lang="en-US" sz="800" dirty="0">
                <a:solidFill>
                  <a:schemeClr val="tx1"/>
                </a:solidFill>
                <a:latin typeface="Cambria" panose="02040503050406030204" pitchFamily="18" charset="0"/>
                <a:ea typeface="Cambria" panose="02040503050406030204" pitchFamily="18" charset="0"/>
              </a:rPr>
              <a:t>Past performance is not a reliable indicator of future results</a:t>
            </a:r>
            <a:endParaRPr lang="en-GB" sz="800" dirty="0"/>
          </a:p>
          <a:p>
            <a:r>
              <a:rPr lang="en-GB" sz="800" dirty="0"/>
              <a:t>Caledonia financial information at 31 March 2025</a:t>
            </a:r>
          </a:p>
          <a:p>
            <a:endParaRPr lang="en-GB" sz="800" dirty="0"/>
          </a:p>
        </p:txBody>
      </p:sp>
    </p:spTree>
    <p:extLst>
      <p:ext uri="{BB962C8B-B14F-4D97-AF65-F5344CB8AC3E}">
        <p14:creationId xmlns:p14="http://schemas.microsoft.com/office/powerpoint/2010/main" val="417007845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F78ACF19-2019-E97A-4BF9-714EC9B0CEBD}"/>
              </a:ext>
            </a:extLst>
          </p:cNvPr>
          <p:cNvSpPr/>
          <p:nvPr/>
        </p:nvSpPr>
        <p:spPr>
          <a:xfrm>
            <a:off x="8257322" y="3745703"/>
            <a:ext cx="3411657" cy="2495416"/>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 name="Rectangle 29">
            <a:extLst>
              <a:ext uri="{FF2B5EF4-FFF2-40B4-BE49-F238E27FC236}">
                <a16:creationId xmlns:a16="http://schemas.microsoft.com/office/drawing/2014/main" id="{30D454D9-BFBE-4535-D0E4-2B2B99591171}"/>
              </a:ext>
            </a:extLst>
          </p:cNvPr>
          <p:cNvSpPr/>
          <p:nvPr/>
        </p:nvSpPr>
        <p:spPr>
          <a:xfrm>
            <a:off x="4390171" y="3745702"/>
            <a:ext cx="3411657" cy="2495415"/>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Rectangle 30">
            <a:extLst>
              <a:ext uri="{FF2B5EF4-FFF2-40B4-BE49-F238E27FC236}">
                <a16:creationId xmlns:a16="http://schemas.microsoft.com/office/drawing/2014/main" id="{2F013337-6FC1-33B4-B76A-D7958E99A078}"/>
              </a:ext>
            </a:extLst>
          </p:cNvPr>
          <p:cNvSpPr/>
          <p:nvPr/>
        </p:nvSpPr>
        <p:spPr>
          <a:xfrm>
            <a:off x="531691" y="3743095"/>
            <a:ext cx="3411658" cy="2484258"/>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C5352A16-DF6B-F565-3619-7EB8E93867D7}"/>
              </a:ext>
            </a:extLst>
          </p:cNvPr>
          <p:cNvSpPr>
            <a:spLocks noGrp="1"/>
          </p:cNvSpPr>
          <p:nvPr>
            <p:ph type="title"/>
          </p:nvPr>
        </p:nvSpPr>
        <p:spPr/>
        <p:txBody>
          <a:bodyPr/>
          <a:lstStyle/>
          <a:p>
            <a:r>
              <a:rPr lang="en-GB" sz="3200" dirty="0"/>
              <a:t>Why Caledonia</a:t>
            </a:r>
          </a:p>
        </p:txBody>
      </p:sp>
      <p:sp>
        <p:nvSpPr>
          <p:cNvPr id="4" name="Text Placeholder 3">
            <a:extLst>
              <a:ext uri="{FF2B5EF4-FFF2-40B4-BE49-F238E27FC236}">
                <a16:creationId xmlns:a16="http://schemas.microsoft.com/office/drawing/2014/main" id="{D55D6771-8540-6CAE-B815-FA6AEC52BD61}"/>
              </a:ext>
            </a:extLst>
          </p:cNvPr>
          <p:cNvSpPr>
            <a:spLocks noGrp="1"/>
          </p:cNvSpPr>
          <p:nvPr>
            <p:ph type="body" sz="half" idx="2"/>
          </p:nvPr>
        </p:nvSpPr>
        <p:spPr>
          <a:xfrm>
            <a:off x="531691" y="828000"/>
            <a:ext cx="9783883" cy="300948"/>
          </a:xfrm>
        </p:spPr>
        <p:txBody>
          <a:bodyPr>
            <a:noAutofit/>
          </a:bodyPr>
          <a:lstStyle/>
          <a:p>
            <a:r>
              <a:rPr lang="en-GB" sz="1800" dirty="0"/>
              <a:t>Investing in </a:t>
            </a:r>
            <a:r>
              <a:rPr lang="en-US" sz="1800" dirty="0"/>
              <a:t>high quality companies that have the potential to generate exceptional long-term value</a:t>
            </a:r>
            <a:endParaRPr lang="en-GB" sz="1800" dirty="0"/>
          </a:p>
        </p:txBody>
      </p:sp>
      <p:sp>
        <p:nvSpPr>
          <p:cNvPr id="6" name="Slide Number Placeholder 5">
            <a:extLst>
              <a:ext uri="{FF2B5EF4-FFF2-40B4-BE49-F238E27FC236}">
                <a16:creationId xmlns:a16="http://schemas.microsoft.com/office/drawing/2014/main" id="{F52CA547-54FC-D6B7-C9E2-FE2B98D16153}"/>
              </a:ext>
            </a:extLst>
          </p:cNvPr>
          <p:cNvSpPr>
            <a:spLocks noGrp="1"/>
          </p:cNvSpPr>
          <p:nvPr>
            <p:ph type="sldNum" sz="quarter" idx="12"/>
          </p:nvPr>
        </p:nvSpPr>
        <p:spPr/>
        <p:txBody>
          <a:bodyPr/>
          <a:lstStyle/>
          <a:p>
            <a:fld id="{BFCF0D39-BEE8-4D89-987A-40261FE54395}" type="slidenum">
              <a:rPr lang="en-GB" smtClean="0"/>
              <a:t>13</a:t>
            </a:fld>
            <a:endParaRPr lang="en-GB"/>
          </a:p>
        </p:txBody>
      </p:sp>
      <p:sp>
        <p:nvSpPr>
          <p:cNvPr id="8" name="TextBox 7">
            <a:extLst>
              <a:ext uri="{FF2B5EF4-FFF2-40B4-BE49-F238E27FC236}">
                <a16:creationId xmlns:a16="http://schemas.microsoft.com/office/drawing/2014/main" id="{6AAB16E2-B07D-4602-AA5F-0A81BEEDA704}"/>
              </a:ext>
            </a:extLst>
          </p:cNvPr>
          <p:cNvSpPr txBox="1"/>
          <p:nvPr/>
        </p:nvSpPr>
        <p:spPr>
          <a:xfrm>
            <a:off x="531691" y="1353242"/>
            <a:ext cx="11064474" cy="1409411"/>
          </a:xfrm>
          <a:prstGeom prst="rect">
            <a:avLst/>
          </a:prstGeom>
          <a:noFill/>
        </p:spPr>
        <p:txBody>
          <a:bodyPr wrap="square" lIns="18000" tIns="18000" rIns="18000" bIns="18000" rtlCol="0" anchor="t">
            <a:noAutofit/>
          </a:bodyPr>
          <a:lstStyle/>
          <a:p>
            <a:pPr marL="285750" indent="-285750">
              <a:lnSpc>
                <a:spcPct val="103000"/>
              </a:lnSpc>
              <a:spcBef>
                <a:spcPts val="600"/>
              </a:spcBef>
              <a:spcAft>
                <a:spcPts val="600"/>
              </a:spcAft>
              <a:buFont typeface="Arial" panose="020B0604020202020204" pitchFamily="34" charset="0"/>
              <a:buChar char="•"/>
              <a:defRPr/>
            </a:pPr>
            <a:r>
              <a:rPr lang="en-GB" sz="1700" dirty="0">
                <a:solidFill>
                  <a:schemeClr val="dk1"/>
                </a:solidFill>
              </a:rPr>
              <a:t>A focus on ensuring </a:t>
            </a:r>
            <a:r>
              <a:rPr lang="en-GB" sz="1700" kern="1200">
                <a:solidFill>
                  <a:schemeClr val="dk1"/>
                </a:solidFill>
                <a:effectLst/>
                <a:latin typeface="+mn-lt"/>
                <a:ea typeface="+mn-ea"/>
                <a:cs typeface="+mn-cs"/>
              </a:rPr>
              <a:t>shares </a:t>
            </a:r>
            <a:r>
              <a:rPr lang="en-GB" sz="1700" b="1">
                <a:solidFill>
                  <a:schemeClr val="tx2"/>
                </a:solidFill>
                <a:latin typeface="+mj-lt"/>
              </a:rPr>
              <a:t>remain </a:t>
            </a:r>
            <a:r>
              <a:rPr lang="en-GB" sz="1700" b="1" dirty="0">
                <a:solidFill>
                  <a:schemeClr val="tx2"/>
                </a:solidFill>
                <a:latin typeface="+mj-lt"/>
              </a:rPr>
              <a:t>attractive to a wide audience </a:t>
            </a:r>
            <a:r>
              <a:rPr lang="en-GB" sz="1700" kern="1200" dirty="0">
                <a:solidFill>
                  <a:schemeClr val="dk1"/>
                </a:solidFill>
                <a:effectLst/>
                <a:latin typeface="+mn-lt"/>
                <a:ea typeface="+mn-ea"/>
                <a:cs typeface="+mn-cs"/>
              </a:rPr>
              <a:t>of investors</a:t>
            </a:r>
            <a:endParaRPr lang="en-US" sz="1700" dirty="0">
              <a:latin typeface="+mj-lt"/>
            </a:endParaRPr>
          </a:p>
          <a:p>
            <a:pPr marL="285750" indent="-285750">
              <a:lnSpc>
                <a:spcPct val="103000"/>
              </a:lnSpc>
              <a:spcBef>
                <a:spcPts val="600"/>
              </a:spcBef>
              <a:spcAft>
                <a:spcPts val="600"/>
              </a:spcAft>
              <a:buFont typeface="Arial" panose="020B0604020202020204" pitchFamily="34" charset="0"/>
              <a:buChar char="•"/>
              <a:defRPr/>
            </a:pPr>
            <a:r>
              <a:rPr lang="en-US" sz="1700" dirty="0">
                <a:latin typeface="+mj-lt"/>
              </a:rPr>
              <a:t>Providing shareholders with exposure to both </a:t>
            </a:r>
            <a:r>
              <a:rPr lang="en-US" sz="1700" b="1" dirty="0">
                <a:solidFill>
                  <a:schemeClr val="tx2"/>
                </a:solidFill>
                <a:latin typeface="+mj-lt"/>
              </a:rPr>
              <a:t>listed and private markets </a:t>
            </a:r>
            <a:r>
              <a:rPr lang="en-US" sz="1700" dirty="0">
                <a:latin typeface="+mj-lt"/>
              </a:rPr>
              <a:t>through a </a:t>
            </a:r>
            <a:r>
              <a:rPr lang="en-US" sz="1700" b="1" dirty="0">
                <a:solidFill>
                  <a:schemeClr val="tx2"/>
                </a:solidFill>
                <a:latin typeface="+mj-lt"/>
              </a:rPr>
              <a:t>diversified, global </a:t>
            </a:r>
            <a:r>
              <a:rPr lang="en-US" sz="1700" dirty="0">
                <a:latin typeface="+mj-lt"/>
              </a:rPr>
              <a:t>portfolio</a:t>
            </a:r>
          </a:p>
          <a:p>
            <a:pPr marL="285750" indent="-285750">
              <a:lnSpc>
                <a:spcPct val="103000"/>
              </a:lnSpc>
              <a:spcBef>
                <a:spcPts val="600"/>
              </a:spcBef>
              <a:spcAft>
                <a:spcPts val="600"/>
              </a:spcAft>
              <a:buFont typeface="Arial" panose="020B0604020202020204" pitchFamily="34" charset="0"/>
              <a:buChar char="•"/>
              <a:defRPr/>
            </a:pPr>
            <a:r>
              <a:rPr lang="en-US" sz="1700" dirty="0">
                <a:latin typeface="+mj-lt"/>
              </a:rPr>
              <a:t>Leveraging the </a:t>
            </a:r>
            <a:r>
              <a:rPr lang="en-US" sz="1700" b="1" dirty="0">
                <a:solidFill>
                  <a:schemeClr val="tx2"/>
                </a:solidFill>
                <a:latin typeface="+mj-lt"/>
              </a:rPr>
              <a:t>expertise of our team </a:t>
            </a:r>
            <a:r>
              <a:rPr lang="en-US" sz="1700" dirty="0">
                <a:latin typeface="+mj-lt"/>
              </a:rPr>
              <a:t>of experts who are </a:t>
            </a:r>
            <a:r>
              <a:rPr lang="en-US" sz="1700" b="1" dirty="0">
                <a:solidFill>
                  <a:schemeClr val="tx2"/>
                </a:solidFill>
                <a:latin typeface="+mj-lt"/>
              </a:rPr>
              <a:t>wholly aligned </a:t>
            </a:r>
            <a:r>
              <a:rPr lang="en-US" sz="1700" dirty="0">
                <a:latin typeface="+mj-lt"/>
              </a:rPr>
              <a:t>with shareholders</a:t>
            </a:r>
          </a:p>
          <a:p>
            <a:pPr marL="285750" indent="-285750">
              <a:lnSpc>
                <a:spcPct val="103000"/>
              </a:lnSpc>
              <a:spcBef>
                <a:spcPts val="600"/>
              </a:spcBef>
              <a:spcAft>
                <a:spcPts val="600"/>
              </a:spcAft>
              <a:buFont typeface="Arial" panose="020B0604020202020204" pitchFamily="34" charset="0"/>
              <a:buChar char="•"/>
              <a:defRPr/>
            </a:pPr>
            <a:r>
              <a:rPr lang="en-US" sz="1700" dirty="0">
                <a:latin typeface="+mj-lt"/>
              </a:rPr>
              <a:t>A </a:t>
            </a:r>
            <a:r>
              <a:rPr lang="en-US" sz="1700" b="1" dirty="0">
                <a:solidFill>
                  <a:schemeClr val="tx2"/>
                </a:solidFill>
                <a:latin typeface="+mj-lt"/>
              </a:rPr>
              <a:t>long-term approach </a:t>
            </a:r>
            <a:r>
              <a:rPr lang="en-US" sz="1700" dirty="0">
                <a:latin typeface="+mj-lt"/>
              </a:rPr>
              <a:t>underpinned by an</a:t>
            </a:r>
            <a:r>
              <a:rPr lang="en-US" sz="1700" b="1" dirty="0">
                <a:solidFill>
                  <a:schemeClr val="tx2"/>
                </a:solidFill>
                <a:latin typeface="+mj-lt"/>
              </a:rPr>
              <a:t> evergreen balance sheet </a:t>
            </a:r>
          </a:p>
          <a:p>
            <a:pPr marL="285750" indent="-285750">
              <a:lnSpc>
                <a:spcPct val="103000"/>
              </a:lnSpc>
              <a:spcBef>
                <a:spcPts val="600"/>
              </a:spcBef>
              <a:spcAft>
                <a:spcPts val="600"/>
              </a:spcAft>
              <a:buFont typeface="Arial" panose="020B0604020202020204" pitchFamily="34" charset="0"/>
              <a:buChar char="•"/>
              <a:defRPr/>
            </a:pPr>
            <a:r>
              <a:rPr lang="en-US" sz="1700" dirty="0">
                <a:latin typeface="+mj-lt"/>
              </a:rPr>
              <a:t>Investing alongside </a:t>
            </a:r>
            <a:r>
              <a:rPr lang="en-US" sz="1700" b="1" dirty="0">
                <a:solidFill>
                  <a:schemeClr val="tx2"/>
                </a:solidFill>
                <a:latin typeface="+mj-lt"/>
              </a:rPr>
              <a:t>a multi-generational family office</a:t>
            </a:r>
          </a:p>
          <a:p>
            <a:pPr marL="285750" indent="-285750">
              <a:lnSpc>
                <a:spcPct val="103000"/>
              </a:lnSpc>
              <a:spcBef>
                <a:spcPts val="600"/>
              </a:spcBef>
              <a:spcAft>
                <a:spcPts val="600"/>
              </a:spcAft>
              <a:buFont typeface="Arial" panose="020B0604020202020204" pitchFamily="34" charset="0"/>
              <a:buChar char="•"/>
              <a:defRPr/>
            </a:pPr>
            <a:endParaRPr lang="en-US" sz="1700" dirty="0">
              <a:latin typeface="+mj-lt"/>
            </a:endParaRPr>
          </a:p>
          <a:p>
            <a:pPr marL="285750" indent="-285750">
              <a:lnSpc>
                <a:spcPct val="103000"/>
              </a:lnSpc>
              <a:spcBef>
                <a:spcPts val="600"/>
              </a:spcBef>
              <a:spcAft>
                <a:spcPts val="600"/>
              </a:spcAft>
              <a:buFont typeface="Arial" panose="020B0604020202020204" pitchFamily="34" charset="0"/>
              <a:buChar char="•"/>
              <a:defRPr/>
            </a:pPr>
            <a:endParaRPr lang="en-US" sz="1700" dirty="0">
              <a:latin typeface="+mj-lt"/>
            </a:endParaRPr>
          </a:p>
          <a:p>
            <a:pPr marL="285750" lvl="0" indent="-285750">
              <a:lnSpc>
                <a:spcPct val="103000"/>
              </a:lnSpc>
              <a:spcBef>
                <a:spcPts val="600"/>
              </a:spcBef>
              <a:spcAft>
                <a:spcPts val="600"/>
              </a:spcAft>
              <a:buFont typeface="Arial" panose="020B0604020202020204" pitchFamily="34" charset="0"/>
              <a:buChar char="•"/>
              <a:defRPr/>
            </a:pPr>
            <a:endParaRPr lang="en-US" dirty="0">
              <a:solidFill>
                <a:srgbClr val="4D4E53"/>
              </a:solidFill>
              <a:latin typeface="Cambria" panose="02040503050406030204" pitchFamily="18" charset="0"/>
              <a:ea typeface="Cambria" panose="02040503050406030204" pitchFamily="18" charset="0"/>
              <a:cs typeface="Times New Roman" panose="02020603050405020304" pitchFamily="18" charset="0"/>
            </a:endParaRPr>
          </a:p>
        </p:txBody>
      </p:sp>
      <p:sp>
        <p:nvSpPr>
          <p:cNvPr id="15" name="TextBox 14">
            <a:extLst>
              <a:ext uri="{FF2B5EF4-FFF2-40B4-BE49-F238E27FC236}">
                <a16:creationId xmlns:a16="http://schemas.microsoft.com/office/drawing/2014/main" id="{73B50EB2-DF4B-765B-3EFF-95D0C82DE93D}"/>
              </a:ext>
            </a:extLst>
          </p:cNvPr>
          <p:cNvSpPr txBox="1"/>
          <p:nvPr/>
        </p:nvSpPr>
        <p:spPr>
          <a:xfrm>
            <a:off x="520768" y="4343209"/>
            <a:ext cx="3411658" cy="1831271"/>
          </a:xfrm>
          <a:prstGeom prst="rect">
            <a:avLst/>
          </a:prstGeom>
          <a:noFill/>
        </p:spPr>
        <p:txBody>
          <a:bodyPr wrap="square" rtlCol="0">
            <a:spAutoFit/>
          </a:bodyPr>
          <a:lstStyle/>
          <a:p>
            <a:r>
              <a:rPr lang="en-GB" sz="1600" b="1" dirty="0">
                <a:solidFill>
                  <a:schemeClr val="tx2"/>
                </a:solidFill>
              </a:rPr>
              <a:t>Grow</a:t>
            </a:r>
          </a:p>
          <a:p>
            <a:r>
              <a:rPr lang="en-GB" sz="1600" dirty="0"/>
              <a:t>Grow capital value and income over the longer term, NAVTR has grown by 9.0% p.a. over the last 10 years</a:t>
            </a:r>
            <a:r>
              <a:rPr lang="en-GB" sz="1600" baseline="30000" dirty="0"/>
              <a:t>1</a:t>
            </a:r>
            <a:endParaRPr lang="en-GB" sz="1600" dirty="0"/>
          </a:p>
          <a:p>
            <a:endParaRPr lang="en-GB" sz="700" dirty="0"/>
          </a:p>
          <a:p>
            <a:r>
              <a:rPr lang="en-GB" sz="1400" b="1" dirty="0">
                <a:solidFill>
                  <a:schemeClr val="tx2"/>
                </a:solidFill>
              </a:rPr>
              <a:t>£1,000 invested in Caledonia in 2015 would now be worth £2,069</a:t>
            </a:r>
            <a:r>
              <a:rPr lang="en-GB" sz="1400" b="1" baseline="30000" dirty="0">
                <a:solidFill>
                  <a:schemeClr val="tx2"/>
                </a:solidFill>
              </a:rPr>
              <a:t>2</a:t>
            </a:r>
            <a:r>
              <a:rPr lang="en-GB" sz="1400" b="1" dirty="0">
                <a:solidFill>
                  <a:schemeClr val="tx2"/>
                </a:solidFill>
              </a:rPr>
              <a:t>, including dividends</a:t>
            </a:r>
          </a:p>
        </p:txBody>
      </p:sp>
      <p:sp>
        <p:nvSpPr>
          <p:cNvPr id="16" name="TextBox 15">
            <a:extLst>
              <a:ext uri="{FF2B5EF4-FFF2-40B4-BE49-F238E27FC236}">
                <a16:creationId xmlns:a16="http://schemas.microsoft.com/office/drawing/2014/main" id="{343B6085-CD07-F52D-E1F3-70A25E679317}"/>
              </a:ext>
            </a:extLst>
          </p:cNvPr>
          <p:cNvSpPr txBox="1"/>
          <p:nvPr/>
        </p:nvSpPr>
        <p:spPr>
          <a:xfrm>
            <a:off x="4390171" y="4343209"/>
            <a:ext cx="3411657" cy="1800493"/>
          </a:xfrm>
          <a:prstGeom prst="rect">
            <a:avLst/>
          </a:prstGeom>
          <a:noFill/>
        </p:spPr>
        <p:txBody>
          <a:bodyPr wrap="square" rtlCol="0">
            <a:spAutoFit/>
          </a:bodyPr>
          <a:lstStyle/>
          <a:p>
            <a:r>
              <a:rPr lang="en-GB" sz="1600" b="1" dirty="0">
                <a:solidFill>
                  <a:schemeClr val="tx2"/>
                </a:solidFill>
              </a:rPr>
              <a:t>Pay</a:t>
            </a:r>
          </a:p>
          <a:p>
            <a:r>
              <a:rPr lang="en-GB" sz="1600" dirty="0"/>
              <a:t>Dividend has increased each year for 58 years</a:t>
            </a:r>
          </a:p>
          <a:p>
            <a:endParaRPr lang="en-GB" sz="700" dirty="0"/>
          </a:p>
          <a:p>
            <a:endParaRPr lang="en-GB" sz="700" dirty="0"/>
          </a:p>
          <a:p>
            <a:endParaRPr lang="en-GB" sz="700" dirty="0"/>
          </a:p>
          <a:p>
            <a:r>
              <a:rPr lang="en-GB" sz="1400" b="1" dirty="0">
                <a:solidFill>
                  <a:schemeClr val="tx2"/>
                </a:solidFill>
              </a:rPr>
              <a:t>Over the last 10 years, a shareholder with £1,000 invested would have received £380 in dividends</a:t>
            </a:r>
            <a:r>
              <a:rPr lang="en-GB" sz="1400" b="1" baseline="30000" dirty="0">
                <a:solidFill>
                  <a:schemeClr val="tx2"/>
                </a:solidFill>
              </a:rPr>
              <a:t>3</a:t>
            </a:r>
            <a:endParaRPr lang="en-GB" sz="1400" b="1" dirty="0">
              <a:solidFill>
                <a:schemeClr val="tx2"/>
              </a:solidFill>
            </a:endParaRPr>
          </a:p>
        </p:txBody>
      </p:sp>
      <p:sp>
        <p:nvSpPr>
          <p:cNvPr id="17" name="TextBox 16">
            <a:extLst>
              <a:ext uri="{FF2B5EF4-FFF2-40B4-BE49-F238E27FC236}">
                <a16:creationId xmlns:a16="http://schemas.microsoft.com/office/drawing/2014/main" id="{C877341E-9C95-081B-D4AB-5D06E76B461C}"/>
              </a:ext>
            </a:extLst>
          </p:cNvPr>
          <p:cNvSpPr txBox="1"/>
          <p:nvPr/>
        </p:nvSpPr>
        <p:spPr>
          <a:xfrm>
            <a:off x="8257322" y="4343209"/>
            <a:ext cx="3411657" cy="1585049"/>
          </a:xfrm>
          <a:prstGeom prst="rect">
            <a:avLst/>
          </a:prstGeom>
          <a:noFill/>
        </p:spPr>
        <p:txBody>
          <a:bodyPr wrap="square" rtlCol="0">
            <a:spAutoFit/>
          </a:bodyPr>
          <a:lstStyle/>
          <a:p>
            <a:r>
              <a:rPr lang="en-GB" sz="1600" b="1" dirty="0">
                <a:solidFill>
                  <a:schemeClr val="tx2"/>
                </a:solidFill>
              </a:rPr>
              <a:t>Manage risk</a:t>
            </a:r>
          </a:p>
          <a:p>
            <a:r>
              <a:rPr lang="en-GB" sz="1600" dirty="0"/>
              <a:t>Manage investment risk effectively for long-term wealth creation</a:t>
            </a:r>
          </a:p>
          <a:p>
            <a:endParaRPr lang="en-GB" sz="700" dirty="0"/>
          </a:p>
          <a:p>
            <a:endParaRPr lang="en-GB" sz="700" dirty="0"/>
          </a:p>
          <a:p>
            <a:endParaRPr lang="en-GB" sz="700" dirty="0"/>
          </a:p>
          <a:p>
            <a:r>
              <a:rPr lang="en-GB" sz="1400" b="1" dirty="0">
                <a:solidFill>
                  <a:schemeClr val="tx2"/>
                </a:solidFill>
              </a:rPr>
              <a:t>A diversified portfolio of &gt; 600 investments</a:t>
            </a:r>
          </a:p>
        </p:txBody>
      </p:sp>
      <p:pic>
        <p:nvPicPr>
          <p:cNvPr id="19" name="Graphic 18" descr="Coins outline">
            <a:extLst>
              <a:ext uri="{FF2B5EF4-FFF2-40B4-BE49-F238E27FC236}">
                <a16:creationId xmlns:a16="http://schemas.microsoft.com/office/drawing/2014/main" id="{28ED6BA8-B8CA-134A-8DA6-4AB2AB7D1E0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753099" y="3745703"/>
            <a:ext cx="685800" cy="685800"/>
          </a:xfrm>
          <a:prstGeom prst="rect">
            <a:avLst/>
          </a:prstGeom>
        </p:spPr>
      </p:pic>
      <p:pic>
        <p:nvPicPr>
          <p:cNvPr id="21" name="Graphic 20" descr="Bar graph with upward trend outline">
            <a:extLst>
              <a:ext uri="{FF2B5EF4-FFF2-40B4-BE49-F238E27FC236}">
                <a16:creationId xmlns:a16="http://schemas.microsoft.com/office/drawing/2014/main" id="{657EB4E5-A932-D654-D672-59AC5907621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894620" y="3745703"/>
            <a:ext cx="685800" cy="685800"/>
          </a:xfrm>
          <a:prstGeom prst="rect">
            <a:avLst/>
          </a:prstGeom>
        </p:spPr>
      </p:pic>
      <p:pic>
        <p:nvPicPr>
          <p:cNvPr id="25" name="Graphic 24" descr="Zoom in outline">
            <a:extLst>
              <a:ext uri="{FF2B5EF4-FFF2-40B4-BE49-F238E27FC236}">
                <a16:creationId xmlns:a16="http://schemas.microsoft.com/office/drawing/2014/main" id="{A3382419-A017-AB27-2083-7B68F5ED78D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620250" y="3745703"/>
            <a:ext cx="685800" cy="685800"/>
          </a:xfrm>
          <a:prstGeom prst="rect">
            <a:avLst/>
          </a:prstGeom>
        </p:spPr>
      </p:pic>
      <p:sp>
        <p:nvSpPr>
          <p:cNvPr id="32" name="Footer Placeholder 14">
            <a:extLst>
              <a:ext uri="{FF2B5EF4-FFF2-40B4-BE49-F238E27FC236}">
                <a16:creationId xmlns:a16="http://schemas.microsoft.com/office/drawing/2014/main" id="{BA64656B-2BE6-7904-3D5D-E25BCEFD0AC7}"/>
              </a:ext>
            </a:extLst>
          </p:cNvPr>
          <p:cNvSpPr>
            <a:spLocks noGrp="1"/>
          </p:cNvSpPr>
          <p:nvPr>
            <p:ph type="ftr" sz="quarter" idx="11"/>
          </p:nvPr>
        </p:nvSpPr>
        <p:spPr>
          <a:xfrm flipH="1">
            <a:off x="3394010" y="6432723"/>
            <a:ext cx="5692840" cy="369332"/>
          </a:xfrm>
        </p:spPr>
        <p:txBody>
          <a:bodyPr/>
          <a:lstStyle/>
          <a:p>
            <a:pPr>
              <a:defRPr/>
            </a:pPr>
            <a:r>
              <a:rPr lang="en-GB" sz="800" spc="0" baseline="30000" dirty="0">
                <a:solidFill>
                  <a:srgbClr val="4D4E53"/>
                </a:solidFill>
                <a:latin typeface="Cambria"/>
              </a:rPr>
              <a:t>1</a:t>
            </a:r>
            <a:r>
              <a:rPr lang="en-GB" sz="800" spc="0" dirty="0">
                <a:solidFill>
                  <a:srgbClr val="4D4E53"/>
                </a:solidFill>
                <a:latin typeface="Cambria"/>
              </a:rPr>
              <a:t> As at 31 March 2025</a:t>
            </a:r>
          </a:p>
          <a:p>
            <a:pPr>
              <a:defRPr/>
            </a:pPr>
            <a:r>
              <a:rPr lang="en-GB" sz="800" spc="0" baseline="30000" dirty="0">
                <a:solidFill>
                  <a:srgbClr val="4D4E53"/>
                </a:solidFill>
                <a:latin typeface="Cambria"/>
              </a:rPr>
              <a:t>2 </a:t>
            </a:r>
            <a:r>
              <a:rPr lang="en-GB" sz="800" spc="0" dirty="0">
                <a:solidFill>
                  <a:srgbClr val="4D4E53"/>
                </a:solidFill>
                <a:latin typeface="Cambria"/>
              </a:rPr>
              <a:t>Total Shareholder Return at 31 March 2025</a:t>
            </a:r>
          </a:p>
          <a:p>
            <a:pPr>
              <a:defRPr/>
            </a:pPr>
            <a:r>
              <a:rPr lang="en-GB" sz="800" spc="0" baseline="30000" dirty="0">
                <a:solidFill>
                  <a:srgbClr val="4D4E53"/>
                </a:solidFill>
                <a:latin typeface="Cambria"/>
              </a:rPr>
              <a:t>3</a:t>
            </a:r>
            <a:r>
              <a:rPr lang="en-GB" sz="800" spc="0" dirty="0">
                <a:solidFill>
                  <a:srgbClr val="4D4E53"/>
                </a:solidFill>
                <a:latin typeface="Cambria"/>
              </a:rPr>
              <a:t> 31 March 2015 to 31 March 2025</a:t>
            </a:r>
          </a:p>
        </p:txBody>
      </p:sp>
      <p:sp>
        <p:nvSpPr>
          <p:cNvPr id="3" name="TextBox 2">
            <a:extLst>
              <a:ext uri="{FF2B5EF4-FFF2-40B4-BE49-F238E27FC236}">
                <a16:creationId xmlns:a16="http://schemas.microsoft.com/office/drawing/2014/main" id="{EE97C576-A03D-8CB3-FE79-300C38FD230D}"/>
              </a:ext>
            </a:extLst>
          </p:cNvPr>
          <p:cNvSpPr txBox="1"/>
          <p:nvPr/>
        </p:nvSpPr>
        <p:spPr>
          <a:xfrm>
            <a:off x="445615" y="6379532"/>
            <a:ext cx="2791149" cy="461665"/>
          </a:xfrm>
          <a:prstGeom prst="rect">
            <a:avLst/>
          </a:prstGeom>
          <a:noFill/>
        </p:spPr>
        <p:txBody>
          <a:bodyPr wrap="none" rtlCol="0">
            <a:spAutoFit/>
          </a:bodyPr>
          <a:lstStyle/>
          <a:p>
            <a:r>
              <a:rPr lang="en-US" sz="800" dirty="0">
                <a:solidFill>
                  <a:schemeClr val="tx1"/>
                </a:solidFill>
                <a:latin typeface="Cambria" panose="02040503050406030204" pitchFamily="18" charset="0"/>
                <a:ea typeface="Cambria" panose="02040503050406030204" pitchFamily="18" charset="0"/>
              </a:rPr>
              <a:t>Past performance is not a reliable indicator of future results</a:t>
            </a:r>
            <a:endParaRPr lang="en-GB" sz="800" dirty="0"/>
          </a:p>
          <a:p>
            <a:r>
              <a:rPr lang="en-GB" sz="800" dirty="0"/>
              <a:t>Caledonia financial information at 31 March 2025</a:t>
            </a:r>
          </a:p>
          <a:p>
            <a:endParaRPr lang="en-GB" sz="800" dirty="0"/>
          </a:p>
        </p:txBody>
      </p:sp>
    </p:spTree>
    <p:extLst>
      <p:ext uri="{BB962C8B-B14F-4D97-AF65-F5344CB8AC3E}">
        <p14:creationId xmlns:p14="http://schemas.microsoft.com/office/powerpoint/2010/main" val="82927016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3F9E3C01-6BFB-9303-F8AA-BF5BC67458EE}"/>
              </a:ext>
            </a:extLst>
          </p:cNvPr>
          <p:cNvSpPr txBox="1"/>
          <p:nvPr/>
        </p:nvSpPr>
        <p:spPr>
          <a:xfrm>
            <a:off x="365095" y="6422968"/>
            <a:ext cx="11923450" cy="261610"/>
          </a:xfrm>
          <a:prstGeom prst="rect">
            <a:avLst/>
          </a:prstGeom>
          <a:noFill/>
        </p:spPr>
        <p:txBody>
          <a:bodyPr wrap="square">
            <a:spAutoFit/>
          </a:bodyPr>
          <a:lstStyle/>
          <a:p>
            <a:r>
              <a:rPr lang="en-GB" sz="1100" dirty="0">
                <a:solidFill>
                  <a:schemeClr val="bg1"/>
                </a:solidFill>
                <a:effectLst/>
                <a:ea typeface="Times New Roman" panose="02020603050405020304" pitchFamily="18" charset="0"/>
              </a:rPr>
              <a:t>© Caledonia Investments plc 2025. Caledonia Investments, Time Well Invested and the sealion guardant are registered trademarks.</a:t>
            </a:r>
            <a:endParaRPr lang="en-GB" sz="1100" dirty="0">
              <a:solidFill>
                <a:schemeClr val="bg1"/>
              </a:solidFill>
            </a:endParaRPr>
          </a:p>
        </p:txBody>
      </p:sp>
    </p:spTree>
    <p:extLst>
      <p:ext uri="{BB962C8B-B14F-4D97-AF65-F5344CB8AC3E}">
        <p14:creationId xmlns:p14="http://schemas.microsoft.com/office/powerpoint/2010/main" val="383409110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AAD896-5A67-8E33-6599-F16125E88E14}"/>
              </a:ext>
            </a:extLst>
          </p:cNvPr>
          <p:cNvSpPr>
            <a:spLocks noGrp="1"/>
          </p:cNvSpPr>
          <p:nvPr>
            <p:ph type="title"/>
          </p:nvPr>
        </p:nvSpPr>
        <p:spPr/>
        <p:txBody>
          <a:bodyPr>
            <a:normAutofit fontScale="90000"/>
          </a:bodyPr>
          <a:lstStyle/>
          <a:p>
            <a:r>
              <a:rPr lang="en-GB" sz="3900">
                <a:solidFill>
                  <a:schemeClr val="tx1"/>
                </a:solidFill>
              </a:rPr>
              <a:t>Cautionary statement</a:t>
            </a:r>
            <a:endParaRPr lang="en-GB">
              <a:solidFill>
                <a:schemeClr val="tx1"/>
              </a:solidFill>
            </a:endParaRPr>
          </a:p>
        </p:txBody>
      </p:sp>
      <p:sp>
        <p:nvSpPr>
          <p:cNvPr id="6" name="Slide Number Placeholder 5">
            <a:extLst>
              <a:ext uri="{FF2B5EF4-FFF2-40B4-BE49-F238E27FC236}">
                <a16:creationId xmlns:a16="http://schemas.microsoft.com/office/drawing/2014/main" id="{ABE4BCBF-458B-27F3-FC22-35111ADF634C}"/>
              </a:ext>
            </a:extLst>
          </p:cNvPr>
          <p:cNvSpPr>
            <a:spLocks noGrp="1"/>
          </p:cNvSpPr>
          <p:nvPr>
            <p:ph type="sldNum" sz="quarter" idx="12"/>
          </p:nvPr>
        </p:nvSpPr>
        <p:spPr/>
        <p:txBody>
          <a:bodyPr/>
          <a:lstStyle/>
          <a:p>
            <a:fld id="{BFCF0D39-BEE8-4D89-987A-40261FE54395}" type="slidenum">
              <a:rPr lang="en-GB" smtClean="0">
                <a:solidFill>
                  <a:schemeClr val="tx1"/>
                </a:solidFill>
              </a:rPr>
              <a:t>1</a:t>
            </a:fld>
            <a:endParaRPr lang="en-GB">
              <a:solidFill>
                <a:schemeClr val="tx1"/>
              </a:solidFill>
            </a:endParaRPr>
          </a:p>
        </p:txBody>
      </p:sp>
      <p:sp>
        <p:nvSpPr>
          <p:cNvPr id="7" name="Content Placeholder 6">
            <a:extLst>
              <a:ext uri="{FF2B5EF4-FFF2-40B4-BE49-F238E27FC236}">
                <a16:creationId xmlns:a16="http://schemas.microsoft.com/office/drawing/2014/main" id="{021565CD-4917-9A46-6B27-27DB8C586C0F}"/>
              </a:ext>
            </a:extLst>
          </p:cNvPr>
          <p:cNvSpPr txBox="1">
            <a:spLocks noGrp="1"/>
          </p:cNvSpPr>
          <p:nvPr>
            <p:ph idx="1"/>
          </p:nvPr>
        </p:nvSpPr>
        <p:spPr>
          <a:xfrm>
            <a:off x="550863" y="1420244"/>
            <a:ext cx="11126787" cy="6188874"/>
          </a:xfrm>
          <a:prstGeom prst="rect">
            <a:avLst/>
          </a:prstGeom>
          <a:noFill/>
        </p:spPr>
        <p:txBody>
          <a:bodyPr wrap="square" rtlCol="0">
            <a:spAutoFit/>
          </a:bodyPr>
          <a:lstStyle/>
          <a:p>
            <a:r>
              <a:rPr lang="en-GB" sz="1500" dirty="0">
                <a:solidFill>
                  <a:schemeClr val="tx1"/>
                </a:solidFill>
                <a:effectLst/>
                <a:latin typeface="Cambria" panose="02040503050406030204" pitchFamily="18" charset="0"/>
                <a:ea typeface="Cambria" panose="02040503050406030204" pitchFamily="18" charset="0"/>
              </a:rPr>
              <a:t>This presentation contains certain statements that are, or may be deemed to be, forward-looking. Phrases such as "aim", "plan", "intend", “should”, "anticipate", "well-placed", "believe", "estimate", "expect", "target", "consider" and similar expressions are generally intended to identify forward-looking statements.  Forward-looking statements are prospective in nature and are not based on historical facts, but rather on current expectations of the Company about future events, and involve risks and uncertainties because they relate to events and depend on circumstances that will occur in the future. Any forward-looking statement is based on information available to the Company as of the date of the statement, it can give no assurance that these expectations will prove to be correct. There are a number of factors that could cause actual results and developments to differ materially from those expressed or implied by the forward-looking statements. Forward-looking statements should therefore be construed in the light of such factors. You are cautioned not to place undue reliance on any forward-looking statements, which speak only as of the date made. All written or oral forward-looking statements attributable to the Company are qualified by this caution. Other than in accordance with legal and regulatory obligations, the Company undertakes no obligation to publicly update or revise any forward-looking statement, whether as a result of new information, future events or otherwise. </a:t>
            </a:r>
          </a:p>
          <a:p>
            <a:r>
              <a:rPr lang="en-US" sz="1500" dirty="0">
                <a:solidFill>
                  <a:schemeClr val="tx1"/>
                </a:solidFill>
                <a:latin typeface="Cambria" panose="02040503050406030204" pitchFamily="18" charset="0"/>
                <a:ea typeface="Cambria" panose="02040503050406030204" pitchFamily="18" charset="0"/>
              </a:rPr>
              <a:t>Past performance is not a reliable indicator of future results. The value of investments can fall as well as rise and you may get back less than you invested when you decide to sell your investments. It is strongly recommended you take independent financial advice before making any investment or financial decision.</a:t>
            </a:r>
          </a:p>
          <a:p>
            <a:r>
              <a:rPr lang="en-US" sz="1500" dirty="0">
                <a:solidFill>
                  <a:schemeClr val="tx1"/>
                </a:solidFill>
                <a:latin typeface="Cambria" panose="02040503050406030204" pitchFamily="18" charset="0"/>
                <a:ea typeface="Cambria" panose="02040503050406030204" pitchFamily="18" charset="0"/>
              </a:rPr>
              <a:t>This presentation is solely for information purposes only and any views contained in it must not be construed as investment or tax advice or a recommendation to buy, sell or take any action in relation to any investment. No representation or warranty, express or implied, is given by any person as to the accuracy or completeness of the presentation and no responsibility or liability is accepted for the accuracy or sufficiency of any of the information it contains or for any errors, omissions or misstatements, negligent or otherwise. Any views and opinions, whilst given in good faith, are subject to change without notice.</a:t>
            </a:r>
          </a:p>
          <a:p>
            <a:endParaRPr lang="en-GB" sz="1500" dirty="0">
              <a:solidFill>
                <a:schemeClr val="tx1"/>
              </a:solidFill>
              <a:latin typeface="Cambria" panose="02040503050406030204" pitchFamily="18" charset="0"/>
              <a:ea typeface="Cambria" panose="02040503050406030204" pitchFamily="18" charset="0"/>
            </a:endParaRPr>
          </a:p>
          <a:p>
            <a:endParaRPr lang="en-GB" sz="1500" dirty="0">
              <a:solidFill>
                <a:schemeClr val="tx1"/>
              </a:solidFill>
              <a:effectLst/>
              <a:latin typeface="Cambria" panose="02040503050406030204" pitchFamily="18" charset="0"/>
              <a:ea typeface="Cambria" panose="02040503050406030204" pitchFamily="18" charset="0"/>
            </a:endParaRPr>
          </a:p>
          <a:p>
            <a:endParaRPr lang="en-GB" sz="1500" dirty="0">
              <a:solidFill>
                <a:schemeClr val="tx1"/>
              </a:solidFill>
              <a:latin typeface="Cambria" panose="02040503050406030204" pitchFamily="18" charset="0"/>
              <a:ea typeface="Cambria" panose="02040503050406030204" pitchFamily="18" charset="0"/>
            </a:endParaRPr>
          </a:p>
        </p:txBody>
      </p:sp>
    </p:spTree>
    <p:extLst>
      <p:ext uri="{BB962C8B-B14F-4D97-AF65-F5344CB8AC3E}">
        <p14:creationId xmlns:p14="http://schemas.microsoft.com/office/powerpoint/2010/main" val="277237749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FE69A73-59BA-1580-6CC3-F5B0AE658C9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754" imgH="754" progId="TCLayout.ActiveDocument.1">
                  <p:embed/>
                </p:oleObj>
              </mc:Choice>
              <mc:Fallback>
                <p:oleObj name="think-cell Slide" r:id="rId3" imgW="754" imgH="754" progId="TCLayout.ActiveDocument.1">
                  <p:embed/>
                  <p:pic>
                    <p:nvPicPr>
                      <p:cNvPr id="3" name="think-cell data - do not delete" hidden="1">
                        <a:extLst>
                          <a:ext uri="{FF2B5EF4-FFF2-40B4-BE49-F238E27FC236}">
                            <a16:creationId xmlns:a16="http://schemas.microsoft.com/office/drawing/2014/main" id="{1FE69A73-59BA-1580-6CC3-F5B0AE658C9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aphicFrame>
        <p:nvGraphicFramePr>
          <p:cNvPr id="13" name="Chart 12">
            <a:extLst>
              <a:ext uri="{FF2B5EF4-FFF2-40B4-BE49-F238E27FC236}">
                <a16:creationId xmlns:a16="http://schemas.microsoft.com/office/drawing/2014/main" id="{E4AB0FDF-4075-4969-AFEF-F5B332C1F213}"/>
              </a:ext>
            </a:extLst>
          </p:cNvPr>
          <p:cNvGraphicFramePr>
            <a:graphicFrameLocks/>
          </p:cNvGraphicFramePr>
          <p:nvPr/>
        </p:nvGraphicFramePr>
        <p:xfrm>
          <a:off x="6776632" y="4546820"/>
          <a:ext cx="4894335" cy="1687183"/>
        </p:xfrm>
        <a:graphic>
          <a:graphicData uri="http://schemas.openxmlformats.org/drawingml/2006/chart">
            <c:chart xmlns:c="http://schemas.openxmlformats.org/drawingml/2006/chart" xmlns:r="http://schemas.openxmlformats.org/officeDocument/2006/relationships" r:id="rId5"/>
          </a:graphicData>
        </a:graphic>
      </p:graphicFrame>
      <p:cxnSp>
        <p:nvCxnSpPr>
          <p:cNvPr id="6" name="Straight Arrow Connector 5">
            <a:extLst>
              <a:ext uri="{FF2B5EF4-FFF2-40B4-BE49-F238E27FC236}">
                <a16:creationId xmlns:a16="http://schemas.microsoft.com/office/drawing/2014/main" id="{EFFD69CD-AF33-77A8-E1F2-1F13E342644D}"/>
              </a:ext>
            </a:extLst>
          </p:cNvPr>
          <p:cNvCxnSpPr>
            <a:cxnSpLocks/>
          </p:cNvCxnSpPr>
          <p:nvPr/>
        </p:nvCxnSpPr>
        <p:spPr>
          <a:xfrm>
            <a:off x="10818267" y="4732466"/>
            <a:ext cx="0" cy="241857"/>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E62EA920-D1F6-8157-BDFE-3DC9311E97B7}"/>
              </a:ext>
            </a:extLst>
          </p:cNvPr>
          <p:cNvPicPr>
            <a:picLocks noChangeAspect="1"/>
          </p:cNvPicPr>
          <p:nvPr/>
        </p:nvPicPr>
        <p:blipFill>
          <a:blip r:embed="rId6"/>
          <a:stretch>
            <a:fillRect/>
          </a:stretch>
        </p:blipFill>
        <p:spPr>
          <a:xfrm>
            <a:off x="8723128" y="3836866"/>
            <a:ext cx="521301" cy="605919"/>
          </a:xfrm>
          <a:prstGeom prst="rect">
            <a:avLst/>
          </a:prstGeom>
        </p:spPr>
      </p:pic>
      <p:sp>
        <p:nvSpPr>
          <p:cNvPr id="2" name="Title 1">
            <a:extLst>
              <a:ext uri="{FF2B5EF4-FFF2-40B4-BE49-F238E27FC236}">
                <a16:creationId xmlns:a16="http://schemas.microsoft.com/office/drawing/2014/main" id="{67D9B377-070F-69C1-4F69-A605A9BCFCF0}"/>
              </a:ext>
            </a:extLst>
          </p:cNvPr>
          <p:cNvSpPr>
            <a:spLocks noGrp="1"/>
          </p:cNvSpPr>
          <p:nvPr>
            <p:ph type="title"/>
          </p:nvPr>
        </p:nvSpPr>
        <p:spPr>
          <a:xfrm>
            <a:off x="531692" y="360000"/>
            <a:ext cx="8374154" cy="468000"/>
          </a:xfrm>
        </p:spPr>
        <p:txBody>
          <a:bodyPr vert="horz" lIns="0" tIns="0" rIns="0" bIns="0" rtlCol="0" anchor="b">
            <a:normAutofit/>
          </a:bodyPr>
          <a:lstStyle/>
          <a:p>
            <a:r>
              <a:rPr lang="en-US" sz="3200" kern="1200">
                <a:latin typeface="+mj-lt"/>
                <a:ea typeface="+mj-ea"/>
                <a:cs typeface="+mj-cs"/>
              </a:rPr>
              <a:t>Caledonia</a:t>
            </a:r>
          </a:p>
        </p:txBody>
      </p:sp>
      <p:sp>
        <p:nvSpPr>
          <p:cNvPr id="24" name="Content Placeholder 6">
            <a:extLst>
              <a:ext uri="{FF2B5EF4-FFF2-40B4-BE49-F238E27FC236}">
                <a16:creationId xmlns:a16="http://schemas.microsoft.com/office/drawing/2014/main" id="{0A7F2637-7116-CC37-F64A-CDF86A6CFBDE}"/>
              </a:ext>
            </a:extLst>
          </p:cNvPr>
          <p:cNvSpPr>
            <a:spLocks noGrp="1"/>
          </p:cNvSpPr>
          <p:nvPr>
            <p:ph type="body" idx="1"/>
          </p:nvPr>
        </p:nvSpPr>
        <p:spPr>
          <a:xfrm>
            <a:off x="6857552" y="1369241"/>
            <a:ext cx="4204522" cy="328561"/>
          </a:xfrm>
        </p:spPr>
        <p:txBody>
          <a:bodyPr vert="horz" wrap="square" lIns="0" tIns="0" rIns="0" bIns="0" rtlCol="0" anchor="b">
            <a:normAutofit/>
          </a:bodyPr>
          <a:lstStyle/>
          <a:p>
            <a:pPr>
              <a:spcAft>
                <a:spcPts val="600"/>
              </a:spcAft>
            </a:pPr>
            <a:r>
              <a:rPr lang="en-US" sz="1400" b="1" kern="1200">
                <a:latin typeface="+mj-lt"/>
                <a:ea typeface="+mn-ea"/>
                <a:cs typeface="+mn-cs"/>
              </a:rPr>
              <a:t>NAV Growth</a:t>
            </a:r>
          </a:p>
        </p:txBody>
      </p:sp>
      <p:sp>
        <p:nvSpPr>
          <p:cNvPr id="29" name="Text Placeholder 4">
            <a:extLst>
              <a:ext uri="{FF2B5EF4-FFF2-40B4-BE49-F238E27FC236}">
                <a16:creationId xmlns:a16="http://schemas.microsoft.com/office/drawing/2014/main" id="{1101B8DC-47BD-16F1-22E9-67A787026007}"/>
              </a:ext>
            </a:extLst>
          </p:cNvPr>
          <p:cNvSpPr>
            <a:spLocks noGrp="1"/>
          </p:cNvSpPr>
          <p:nvPr>
            <p:ph type="body" sz="quarter" idx="3"/>
          </p:nvPr>
        </p:nvSpPr>
        <p:spPr>
          <a:xfrm>
            <a:off x="6857552" y="3875384"/>
            <a:ext cx="4039992" cy="328561"/>
          </a:xfrm>
        </p:spPr>
        <p:txBody>
          <a:bodyPr/>
          <a:lstStyle/>
          <a:p>
            <a:r>
              <a:rPr lang="en-US" sz="1400"/>
              <a:t>Dividend Growth</a:t>
            </a:r>
          </a:p>
        </p:txBody>
      </p:sp>
      <p:sp>
        <p:nvSpPr>
          <p:cNvPr id="4" name="Text Placeholder 3">
            <a:extLst>
              <a:ext uri="{FF2B5EF4-FFF2-40B4-BE49-F238E27FC236}">
                <a16:creationId xmlns:a16="http://schemas.microsoft.com/office/drawing/2014/main" id="{69318147-9FAF-5D77-1BEA-A3C927C461FE}"/>
              </a:ext>
            </a:extLst>
          </p:cNvPr>
          <p:cNvSpPr>
            <a:spLocks noGrp="1"/>
          </p:cNvSpPr>
          <p:nvPr>
            <p:ph type="body" sz="half" idx="13"/>
          </p:nvPr>
        </p:nvSpPr>
        <p:spPr>
          <a:xfrm>
            <a:off x="531692" y="834773"/>
            <a:ext cx="8374154" cy="324000"/>
          </a:xfrm>
        </p:spPr>
        <p:txBody>
          <a:bodyPr vert="horz" wrap="square" lIns="0" tIns="0" rIns="0" bIns="0" rtlCol="0">
            <a:normAutofit/>
          </a:bodyPr>
          <a:lstStyle/>
          <a:p>
            <a:r>
              <a:rPr lang="en-US" sz="1800"/>
              <a:t>We are a long-term equity investor</a:t>
            </a:r>
            <a:endParaRPr lang="en-US" sz="1800" b="0" kern="1200">
              <a:latin typeface="+mj-lt"/>
              <a:ea typeface="+mn-ea"/>
              <a:cs typeface="+mn-cs"/>
            </a:endParaRPr>
          </a:p>
        </p:txBody>
      </p:sp>
      <p:graphicFrame>
        <p:nvGraphicFramePr>
          <p:cNvPr id="15" name="Content Placeholder 2">
            <a:extLst>
              <a:ext uri="{FF2B5EF4-FFF2-40B4-BE49-F238E27FC236}">
                <a16:creationId xmlns:a16="http://schemas.microsoft.com/office/drawing/2014/main" id="{C436BCFE-7381-03DE-C74B-A38A5942BD3E}"/>
              </a:ext>
            </a:extLst>
          </p:cNvPr>
          <p:cNvGraphicFramePr>
            <a:graphicFrameLocks noGrp="1"/>
          </p:cNvGraphicFramePr>
          <p:nvPr>
            <p:ph sz="half" idx="2"/>
            <p:extLst>
              <p:ext uri="{D42A27DB-BD31-4B8C-83A1-F6EECF244321}">
                <p14:modId xmlns:p14="http://schemas.microsoft.com/office/powerpoint/2010/main" val="1401873039"/>
              </p:ext>
            </p:extLst>
          </p:nvPr>
        </p:nvGraphicFramePr>
        <p:xfrm>
          <a:off x="531692" y="1400461"/>
          <a:ext cx="6012965" cy="437731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8" name="Slide Number Placeholder 7">
            <a:extLst>
              <a:ext uri="{FF2B5EF4-FFF2-40B4-BE49-F238E27FC236}">
                <a16:creationId xmlns:a16="http://schemas.microsoft.com/office/drawing/2014/main" id="{829B807A-CA58-B5F3-5EAA-CC811780303E}"/>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FCF0D39-BEE8-4D89-987A-40261FE54395}" type="slidenum">
              <a:rPr kumimoji="0" lang="en-GB" sz="1000" b="0" i="0" u="none" strike="noStrike" kern="1200" cap="none" spc="0" normalizeH="0" baseline="0" noProof="0" smtClean="0">
                <a:ln>
                  <a:noFill/>
                </a:ln>
                <a:solidFill>
                  <a:srgbClr val="4D4E53">
                    <a:lumMod val="60000"/>
                    <a:lumOff val="40000"/>
                  </a:srgbClr>
                </a:solidFill>
                <a:effectLst/>
                <a:uLnTx/>
                <a:uFillTx/>
                <a:latin typeface="Cambri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GB" sz="1000" b="0" i="0" u="none" strike="noStrike" kern="1200" cap="none" spc="0" normalizeH="0" baseline="0" noProof="0">
              <a:ln>
                <a:noFill/>
              </a:ln>
              <a:solidFill>
                <a:srgbClr val="4D4E53">
                  <a:lumMod val="60000"/>
                  <a:lumOff val="40000"/>
                </a:srgbClr>
              </a:solidFill>
              <a:effectLst/>
              <a:uLnTx/>
              <a:uFillTx/>
              <a:latin typeface="Cambria"/>
              <a:ea typeface="+mn-ea"/>
              <a:cs typeface="+mn-cs"/>
            </a:endParaRPr>
          </a:p>
        </p:txBody>
      </p:sp>
      <p:cxnSp>
        <p:nvCxnSpPr>
          <p:cNvPr id="5" name="Straight Arrow Connector 4">
            <a:extLst>
              <a:ext uri="{FF2B5EF4-FFF2-40B4-BE49-F238E27FC236}">
                <a16:creationId xmlns:a16="http://schemas.microsoft.com/office/drawing/2014/main" id="{AABD4641-AF49-F3B7-F9D2-256DDE0A8169}"/>
              </a:ext>
            </a:extLst>
          </p:cNvPr>
          <p:cNvCxnSpPr>
            <a:cxnSpLocks/>
          </p:cNvCxnSpPr>
          <p:nvPr/>
        </p:nvCxnSpPr>
        <p:spPr>
          <a:xfrm>
            <a:off x="9792413" y="4641481"/>
            <a:ext cx="0" cy="41583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96432E56-6DAE-3F76-1CA9-6570AA8046AB}"/>
              </a:ext>
            </a:extLst>
          </p:cNvPr>
          <p:cNvSpPr/>
          <p:nvPr/>
        </p:nvSpPr>
        <p:spPr>
          <a:xfrm>
            <a:off x="9340487" y="4513280"/>
            <a:ext cx="791384" cy="219186"/>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FFFFFF"/>
                </a:solidFill>
                <a:effectLst/>
                <a:uLnTx/>
                <a:uFillTx/>
                <a:latin typeface="Cambria"/>
                <a:ea typeface="+mn-ea"/>
                <a:cs typeface="+mn-cs"/>
              </a:rPr>
              <a:t>+100p special</a:t>
            </a:r>
          </a:p>
        </p:txBody>
      </p:sp>
      <p:sp>
        <p:nvSpPr>
          <p:cNvPr id="12" name="Rectangle 11">
            <a:extLst>
              <a:ext uri="{FF2B5EF4-FFF2-40B4-BE49-F238E27FC236}">
                <a16:creationId xmlns:a16="http://schemas.microsoft.com/office/drawing/2014/main" id="{2A7ED060-1B5F-9BD3-1C69-B4DE8B40E1F9}"/>
              </a:ext>
            </a:extLst>
          </p:cNvPr>
          <p:cNvSpPr/>
          <p:nvPr/>
        </p:nvSpPr>
        <p:spPr>
          <a:xfrm>
            <a:off x="10422575" y="4519145"/>
            <a:ext cx="791384" cy="219186"/>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FFFFFF"/>
                </a:solidFill>
                <a:effectLst/>
                <a:uLnTx/>
                <a:uFillTx/>
                <a:latin typeface="Cambria"/>
                <a:ea typeface="+mn-ea"/>
                <a:cs typeface="+mn-cs"/>
              </a:rPr>
              <a:t>+175p special</a:t>
            </a:r>
          </a:p>
        </p:txBody>
      </p:sp>
      <p:sp>
        <p:nvSpPr>
          <p:cNvPr id="25" name="Text Placeholder 4">
            <a:extLst>
              <a:ext uri="{FF2B5EF4-FFF2-40B4-BE49-F238E27FC236}">
                <a16:creationId xmlns:a16="http://schemas.microsoft.com/office/drawing/2014/main" id="{16768B6D-E635-B5EF-A4E2-F23E5F60130E}"/>
              </a:ext>
            </a:extLst>
          </p:cNvPr>
          <p:cNvSpPr txBox="1">
            <a:spLocks/>
          </p:cNvSpPr>
          <p:nvPr/>
        </p:nvSpPr>
        <p:spPr>
          <a:xfrm>
            <a:off x="6857552" y="1573593"/>
            <a:ext cx="4039992" cy="328561"/>
          </a:xfrm>
          <a:prstGeom prst="rect">
            <a:avLst/>
          </a:prstGeom>
        </p:spPr>
        <p:txBody>
          <a:bodyPr vert="horz" wrap="square" lIns="0" tIns="0" rIns="0" bIns="0" rtlCol="0" anchor="b">
            <a:noAutofit/>
          </a:bodyPr>
          <a:lstStyle>
            <a:lvl1pPr marL="0" indent="0" algn="l" defTabSz="1125444" rtl="0" eaLnBrk="1" latinLnBrk="0" hangingPunct="1">
              <a:lnSpc>
                <a:spcPct val="90000"/>
              </a:lnSpc>
              <a:spcBef>
                <a:spcPts val="0"/>
              </a:spcBef>
              <a:buFont typeface="Arial" panose="020B0604020202020204" pitchFamily="34" charset="0"/>
              <a:buNone/>
              <a:defRPr sz="1969" b="1" kern="1200">
                <a:solidFill>
                  <a:schemeClr val="tx2"/>
                </a:solidFill>
                <a:latin typeface="+mj-lt"/>
                <a:ea typeface="+mn-ea"/>
                <a:cs typeface="+mn-cs"/>
              </a:defRPr>
            </a:lvl1pPr>
            <a:lvl2pPr marL="562722" indent="0" algn="l" defTabSz="1125444" rtl="0" eaLnBrk="1" latinLnBrk="0" hangingPunct="1">
              <a:lnSpc>
                <a:spcPct val="90000"/>
              </a:lnSpc>
              <a:spcBef>
                <a:spcPts val="738"/>
              </a:spcBef>
              <a:buFont typeface="Arial" panose="020B0604020202020204" pitchFamily="34" charset="0"/>
              <a:buNone/>
              <a:defRPr sz="2462" b="1" kern="1200">
                <a:solidFill>
                  <a:schemeClr val="tx1"/>
                </a:solidFill>
                <a:latin typeface="+mn-lt"/>
                <a:ea typeface="+mn-ea"/>
                <a:cs typeface="+mn-cs"/>
              </a:defRPr>
            </a:lvl2pPr>
            <a:lvl3pPr marL="1125444" indent="0" algn="l" defTabSz="1125444" rtl="0" eaLnBrk="1" latinLnBrk="0" hangingPunct="1">
              <a:lnSpc>
                <a:spcPct val="90000"/>
              </a:lnSpc>
              <a:spcBef>
                <a:spcPts val="1477"/>
              </a:spcBef>
              <a:buClr>
                <a:schemeClr val="tx2"/>
              </a:buClr>
              <a:buFont typeface="Arial" panose="020B0604020202020204" pitchFamily="34" charset="0"/>
              <a:buNone/>
              <a:defRPr sz="2215" b="1" kern="1200">
                <a:solidFill>
                  <a:schemeClr val="tx1"/>
                </a:solidFill>
                <a:latin typeface="+mn-lt"/>
                <a:ea typeface="+mn-ea"/>
                <a:cs typeface="+mn-cs"/>
              </a:defRPr>
            </a:lvl3pPr>
            <a:lvl4pPr marL="1688165" indent="0" algn="l" defTabSz="1125444" rtl="0" eaLnBrk="1" latinLnBrk="0" hangingPunct="1">
              <a:lnSpc>
                <a:spcPct val="90000"/>
              </a:lnSpc>
              <a:spcBef>
                <a:spcPts val="738"/>
              </a:spcBef>
              <a:buFont typeface="Arial" panose="020B0604020202020204" pitchFamily="34" charset="0"/>
              <a:buNone/>
              <a:defRPr sz="1969" b="1" kern="1200">
                <a:solidFill>
                  <a:schemeClr val="tx1"/>
                </a:solidFill>
                <a:latin typeface="+mn-lt"/>
                <a:ea typeface="+mn-ea"/>
                <a:cs typeface="+mn-cs"/>
              </a:defRPr>
            </a:lvl4pPr>
            <a:lvl5pPr marL="2250887" indent="0" algn="l" defTabSz="1125444" rtl="0" eaLnBrk="1" latinLnBrk="0" hangingPunct="1">
              <a:lnSpc>
                <a:spcPct val="90000"/>
              </a:lnSpc>
              <a:spcBef>
                <a:spcPts val="369"/>
              </a:spcBef>
              <a:buFont typeface="Arial" panose="020B0604020202020204" pitchFamily="34" charset="0"/>
              <a:buNone/>
              <a:defRPr sz="1969" b="1" kern="1200">
                <a:solidFill>
                  <a:schemeClr val="tx1"/>
                </a:solidFill>
                <a:latin typeface="+mn-lt"/>
                <a:ea typeface="+mn-ea"/>
                <a:cs typeface="+mn-cs"/>
              </a:defRPr>
            </a:lvl5pPr>
            <a:lvl6pPr marL="2813609" indent="0" algn="l" defTabSz="1125444" rtl="0" eaLnBrk="1" latinLnBrk="0" hangingPunct="1">
              <a:lnSpc>
                <a:spcPct val="90000"/>
              </a:lnSpc>
              <a:spcBef>
                <a:spcPts val="615"/>
              </a:spcBef>
              <a:buFont typeface="Arial" panose="020B0604020202020204" pitchFamily="34" charset="0"/>
              <a:buNone/>
              <a:defRPr sz="1969" b="1" kern="1200">
                <a:solidFill>
                  <a:schemeClr val="tx1"/>
                </a:solidFill>
                <a:latin typeface="+mn-lt"/>
                <a:ea typeface="+mn-ea"/>
                <a:cs typeface="+mn-cs"/>
              </a:defRPr>
            </a:lvl6pPr>
            <a:lvl7pPr marL="3376331" indent="0" algn="l" defTabSz="1125444" rtl="0" eaLnBrk="1" latinLnBrk="0" hangingPunct="1">
              <a:lnSpc>
                <a:spcPct val="90000"/>
              </a:lnSpc>
              <a:spcBef>
                <a:spcPts val="615"/>
              </a:spcBef>
              <a:buFont typeface="Arial" panose="020B0604020202020204" pitchFamily="34" charset="0"/>
              <a:buNone/>
              <a:defRPr sz="1969" b="1" kern="1200">
                <a:solidFill>
                  <a:schemeClr val="tx1"/>
                </a:solidFill>
                <a:latin typeface="+mn-lt"/>
                <a:ea typeface="+mn-ea"/>
                <a:cs typeface="+mn-cs"/>
              </a:defRPr>
            </a:lvl7pPr>
            <a:lvl8pPr marL="3939052" indent="0" algn="l" defTabSz="1125444" rtl="0" eaLnBrk="1" latinLnBrk="0" hangingPunct="1">
              <a:lnSpc>
                <a:spcPct val="90000"/>
              </a:lnSpc>
              <a:spcBef>
                <a:spcPts val="615"/>
              </a:spcBef>
              <a:buFont typeface="Arial" panose="020B0604020202020204" pitchFamily="34" charset="0"/>
              <a:buNone/>
              <a:defRPr sz="1969" b="1" kern="1200">
                <a:solidFill>
                  <a:schemeClr val="tx1"/>
                </a:solidFill>
                <a:latin typeface="+mn-lt"/>
                <a:ea typeface="+mn-ea"/>
                <a:cs typeface="+mn-cs"/>
              </a:defRPr>
            </a:lvl8pPr>
            <a:lvl9pPr marL="4501774" indent="0" algn="l" defTabSz="1125444" rtl="0" eaLnBrk="1" latinLnBrk="0" hangingPunct="1">
              <a:lnSpc>
                <a:spcPct val="90000"/>
              </a:lnSpc>
              <a:spcBef>
                <a:spcPts val="615"/>
              </a:spcBef>
              <a:buFont typeface="Arial" panose="020B0604020202020204" pitchFamily="34" charset="0"/>
              <a:buNone/>
              <a:defRPr sz="1969" b="1" kern="1200">
                <a:solidFill>
                  <a:schemeClr val="tx1"/>
                </a:solidFill>
                <a:latin typeface="+mn-lt"/>
                <a:ea typeface="+mn-ea"/>
                <a:cs typeface="+mn-cs"/>
              </a:defRPr>
            </a:lvl9pPr>
          </a:lstStyle>
          <a:p>
            <a:pPr marL="0" marR="0" lvl="0" indent="0" algn="l" defTabSz="1125444" rtl="0" eaLnBrk="1" fontAlgn="auto" latinLnBrk="0" hangingPunct="1">
              <a:lnSpc>
                <a:spcPct val="90000"/>
              </a:lnSpc>
              <a:spcBef>
                <a:spcPts val="0"/>
              </a:spcBef>
              <a:spcAft>
                <a:spcPts val="0"/>
              </a:spcAft>
              <a:buClrTx/>
              <a:buSzTx/>
              <a:buFont typeface="Arial" panose="020B0604020202020204" pitchFamily="34" charset="0"/>
              <a:buNone/>
              <a:tabLst/>
              <a:defRPr/>
            </a:pPr>
            <a:endParaRPr kumimoji="0" lang="en-US" sz="1400" b="1" i="0" u="none" strike="noStrike" kern="1200" cap="none" spc="0" normalizeH="0" baseline="0" noProof="0">
              <a:ln>
                <a:noFill/>
              </a:ln>
              <a:solidFill>
                <a:srgbClr val="002868"/>
              </a:solidFill>
              <a:effectLst/>
              <a:uLnTx/>
              <a:uFillTx/>
              <a:latin typeface="Cambria"/>
              <a:ea typeface="+mn-ea"/>
              <a:cs typeface="+mn-cs"/>
            </a:endParaRPr>
          </a:p>
        </p:txBody>
      </p:sp>
      <p:sp>
        <p:nvSpPr>
          <p:cNvPr id="18" name="TextBox 17">
            <a:extLst>
              <a:ext uri="{FF2B5EF4-FFF2-40B4-BE49-F238E27FC236}">
                <a16:creationId xmlns:a16="http://schemas.microsoft.com/office/drawing/2014/main" id="{E94446AC-FE91-F357-B0AB-A64267C0C278}"/>
              </a:ext>
            </a:extLst>
          </p:cNvPr>
          <p:cNvSpPr txBox="1"/>
          <p:nvPr/>
        </p:nvSpPr>
        <p:spPr>
          <a:xfrm>
            <a:off x="6761494" y="1674548"/>
            <a:ext cx="6096000"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4D4E53"/>
                </a:solidFill>
                <a:effectLst/>
                <a:uLnTx/>
                <a:uFillTx/>
                <a:latin typeface="Cambria" panose="02040503050406030204" pitchFamily="18" charset="0"/>
                <a:ea typeface="Cambria" panose="02040503050406030204" pitchFamily="18" charset="0"/>
                <a:cs typeface="+mn-cs"/>
              </a:rPr>
              <a:t>NAV total return growth since 2005  </a:t>
            </a:r>
            <a:endParaRPr kumimoji="0" lang="en-GB" sz="1200" b="0" i="0" u="none" strike="noStrike" kern="1200" cap="none" spc="0" normalizeH="0" baseline="0" noProof="0">
              <a:ln>
                <a:noFill/>
              </a:ln>
              <a:solidFill>
                <a:srgbClr val="4D4E53"/>
              </a:solidFill>
              <a:effectLst/>
              <a:uLnTx/>
              <a:uFillTx/>
              <a:latin typeface="Cambria"/>
              <a:ea typeface="+mn-ea"/>
              <a:cs typeface="+mn-cs"/>
            </a:endParaRPr>
          </a:p>
        </p:txBody>
      </p:sp>
      <p:sp>
        <p:nvSpPr>
          <p:cNvPr id="23" name="TextBox 22">
            <a:extLst>
              <a:ext uri="{FF2B5EF4-FFF2-40B4-BE49-F238E27FC236}">
                <a16:creationId xmlns:a16="http://schemas.microsoft.com/office/drawing/2014/main" id="{C198A7F3-EFF7-3B7A-33C6-54BA12387251}"/>
              </a:ext>
            </a:extLst>
          </p:cNvPr>
          <p:cNvSpPr txBox="1"/>
          <p:nvPr/>
        </p:nvSpPr>
        <p:spPr>
          <a:xfrm>
            <a:off x="6761494" y="4151063"/>
            <a:ext cx="6096000" cy="276999"/>
          </a:xfrm>
          <a:prstGeom prst="rect">
            <a:avLst/>
          </a:prstGeom>
          <a:noFill/>
        </p:spPr>
        <p:txBody>
          <a:bodyPr wrap="square">
            <a:spAutoFit/>
          </a:bodyPr>
          <a:lstStyle>
            <a:defPPr>
              <a:defRPr lang="en-US"/>
            </a:defPPr>
            <a:lvl1pPr>
              <a:defRPr sz="1200">
                <a:latin typeface="Cambria" panose="02040503050406030204" pitchFamily="18" charset="0"/>
                <a:ea typeface="Cambria" panose="02040503050406030204" pitchFamily="18"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4D4E53"/>
                </a:solidFill>
                <a:effectLst/>
                <a:uLnTx/>
                <a:uFillTx/>
                <a:latin typeface="Cambria" panose="02040503050406030204" pitchFamily="18" charset="0"/>
                <a:ea typeface="Cambria" panose="02040503050406030204" pitchFamily="18" charset="0"/>
                <a:cs typeface="+mn-cs"/>
              </a:rPr>
              <a:t>Annual dividend / share (p)</a:t>
            </a:r>
          </a:p>
        </p:txBody>
      </p:sp>
      <p:pic>
        <p:nvPicPr>
          <p:cNvPr id="10" name="Picture 9">
            <a:extLst>
              <a:ext uri="{FF2B5EF4-FFF2-40B4-BE49-F238E27FC236}">
                <a16:creationId xmlns:a16="http://schemas.microsoft.com/office/drawing/2014/main" id="{4CD9FF6D-8AC7-3D1D-9A39-3E5BDD062A25}"/>
              </a:ext>
            </a:extLst>
          </p:cNvPr>
          <p:cNvPicPr>
            <a:picLocks noChangeAspect="1"/>
          </p:cNvPicPr>
          <p:nvPr/>
        </p:nvPicPr>
        <p:blipFill>
          <a:blip r:embed="rId12"/>
          <a:stretch>
            <a:fillRect/>
          </a:stretch>
        </p:blipFill>
        <p:spPr>
          <a:xfrm>
            <a:off x="5184714" y="3646606"/>
            <a:ext cx="1368110" cy="994875"/>
          </a:xfrm>
          <a:prstGeom prst="rect">
            <a:avLst/>
          </a:prstGeom>
        </p:spPr>
      </p:pic>
      <p:graphicFrame>
        <p:nvGraphicFramePr>
          <p:cNvPr id="20" name="Chart 19">
            <a:extLst>
              <a:ext uri="{FF2B5EF4-FFF2-40B4-BE49-F238E27FC236}">
                <a16:creationId xmlns:a16="http://schemas.microsoft.com/office/drawing/2014/main" id="{494CAD85-D54B-AC0E-7243-9EFB0F6CF4F8}"/>
              </a:ext>
            </a:extLst>
          </p:cNvPr>
          <p:cNvGraphicFramePr>
            <a:graphicFrameLocks/>
          </p:cNvGraphicFramePr>
          <p:nvPr/>
        </p:nvGraphicFramePr>
        <p:xfrm>
          <a:off x="6857552" y="1957949"/>
          <a:ext cx="4813415" cy="2016807"/>
        </p:xfrm>
        <a:graphic>
          <a:graphicData uri="http://schemas.openxmlformats.org/drawingml/2006/chart">
            <c:chart xmlns:c="http://schemas.openxmlformats.org/drawingml/2006/chart" xmlns:r="http://schemas.openxmlformats.org/officeDocument/2006/relationships" r:id="rId13"/>
          </a:graphicData>
        </a:graphic>
      </p:graphicFrame>
      <p:pic>
        <p:nvPicPr>
          <p:cNvPr id="16" name="Picture 15">
            <a:extLst>
              <a:ext uri="{FF2B5EF4-FFF2-40B4-BE49-F238E27FC236}">
                <a16:creationId xmlns:a16="http://schemas.microsoft.com/office/drawing/2014/main" id="{1EA572A9-D39D-DC84-1461-0CBCFCA9B587}"/>
              </a:ext>
            </a:extLst>
          </p:cNvPr>
          <p:cNvPicPr>
            <a:picLocks noChangeAspect="1"/>
          </p:cNvPicPr>
          <p:nvPr/>
        </p:nvPicPr>
        <p:blipFill>
          <a:blip r:embed="rId14">
            <a:clrChange>
              <a:clrFrom>
                <a:srgbClr val="FFFFFF"/>
              </a:clrFrom>
              <a:clrTo>
                <a:srgbClr val="FFFFFF">
                  <a:alpha val="0"/>
                </a:srgbClr>
              </a:clrTo>
            </a:clrChange>
          </a:blip>
          <a:stretch>
            <a:fillRect/>
          </a:stretch>
        </p:blipFill>
        <p:spPr>
          <a:xfrm>
            <a:off x="9340487" y="3897318"/>
            <a:ext cx="521301" cy="521301"/>
          </a:xfrm>
          <a:prstGeom prst="rect">
            <a:avLst/>
          </a:prstGeom>
        </p:spPr>
      </p:pic>
      <p:sp>
        <p:nvSpPr>
          <p:cNvPr id="14" name="TextBox 13">
            <a:extLst>
              <a:ext uri="{FF2B5EF4-FFF2-40B4-BE49-F238E27FC236}">
                <a16:creationId xmlns:a16="http://schemas.microsoft.com/office/drawing/2014/main" id="{69692E6F-06E3-DFC1-971F-F1471C0B7C88}"/>
              </a:ext>
            </a:extLst>
          </p:cNvPr>
          <p:cNvSpPr txBox="1"/>
          <p:nvPr/>
        </p:nvSpPr>
        <p:spPr>
          <a:xfrm>
            <a:off x="457609" y="6368534"/>
            <a:ext cx="6122894" cy="338554"/>
          </a:xfrm>
          <a:prstGeom prst="rect">
            <a:avLst/>
          </a:prstGeom>
          <a:noFill/>
        </p:spPr>
        <p:txBody>
          <a:bodyPr wrap="square">
            <a:spAutoFit/>
          </a:bodyPr>
          <a:lstStyle/>
          <a:p>
            <a:r>
              <a:rPr lang="en-US" sz="800" dirty="0">
                <a:solidFill>
                  <a:schemeClr val="tx1"/>
                </a:solidFill>
                <a:latin typeface="Cambria" panose="02040503050406030204" pitchFamily="18" charset="0"/>
                <a:ea typeface="Cambria" panose="02040503050406030204" pitchFamily="18" charset="0"/>
              </a:rPr>
              <a:t>Past performance is not a reliable indicator of future results</a:t>
            </a:r>
          </a:p>
          <a:p>
            <a:r>
              <a:rPr lang="en-US" sz="800" dirty="0">
                <a:latin typeface="Cambria" panose="02040503050406030204" pitchFamily="18" charset="0"/>
                <a:ea typeface="Cambria" panose="02040503050406030204" pitchFamily="18" charset="0"/>
              </a:rPr>
              <a:t>Caledonia financial information at 31 March 2025</a:t>
            </a:r>
            <a:endParaRPr lang="en-GB" sz="800" dirty="0"/>
          </a:p>
        </p:txBody>
      </p:sp>
    </p:spTree>
    <p:extLst>
      <p:ext uri="{BB962C8B-B14F-4D97-AF65-F5344CB8AC3E}">
        <p14:creationId xmlns:p14="http://schemas.microsoft.com/office/powerpoint/2010/main" val="140348116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ontent Placeholder 10">
            <a:extLst>
              <a:ext uri="{FF2B5EF4-FFF2-40B4-BE49-F238E27FC236}">
                <a16:creationId xmlns:a16="http://schemas.microsoft.com/office/drawing/2014/main" id="{8722ED1B-7F1D-900F-442B-3FC3AA8FB116}"/>
              </a:ext>
            </a:extLst>
          </p:cNvPr>
          <p:cNvGraphicFramePr>
            <a:graphicFrameLocks/>
          </p:cNvGraphicFramePr>
          <p:nvPr>
            <p:extLst>
              <p:ext uri="{D42A27DB-BD31-4B8C-83A1-F6EECF244321}">
                <p14:modId xmlns:p14="http://schemas.microsoft.com/office/powerpoint/2010/main" val="1411482498"/>
              </p:ext>
            </p:extLst>
          </p:nvPr>
        </p:nvGraphicFramePr>
        <p:xfrm>
          <a:off x="8191753" y="3018822"/>
          <a:ext cx="3535812" cy="2455283"/>
        </p:xfrm>
        <a:graphic>
          <a:graphicData uri="http://schemas.openxmlformats.org/drawingml/2006/table">
            <a:tbl>
              <a:tblPr firstRow="1" bandRow="1">
                <a:tableStyleId>{5C22544A-7EE6-4342-B048-85BDC9FD1C3A}</a:tableStyleId>
              </a:tblPr>
              <a:tblGrid>
                <a:gridCol w="3535812">
                  <a:extLst>
                    <a:ext uri="{9D8B030D-6E8A-4147-A177-3AD203B41FA5}">
                      <a16:colId xmlns:a16="http://schemas.microsoft.com/office/drawing/2014/main" val="20000"/>
                    </a:ext>
                  </a:extLst>
                </a:gridCol>
              </a:tblGrid>
              <a:tr h="245528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600" b="1" kern="1200">
                        <a:solidFill>
                          <a:schemeClr val="tx2"/>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600" b="1" kern="1200">
                        <a:solidFill>
                          <a:schemeClr val="tx2"/>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600" b="1" kern="1200">
                        <a:solidFill>
                          <a:schemeClr val="tx2"/>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600" b="1" kern="1200">
                        <a:solidFill>
                          <a:schemeClr val="tx2"/>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600" b="1" kern="1200">
                        <a:solidFill>
                          <a:schemeClr val="tx2"/>
                        </a:solidFill>
                        <a:latin typeface="+mn-lt"/>
                        <a:ea typeface="+mn-ea"/>
                        <a:cs typeface="+mn-cs"/>
                      </a:endParaRPr>
                    </a:p>
                  </a:txBody>
                  <a:tcPr marL="112542" marR="112542" marT="56271" marB="56271">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33479539"/>
                  </a:ext>
                </a:extLst>
              </a:tr>
            </a:tbl>
          </a:graphicData>
        </a:graphic>
      </p:graphicFrame>
      <p:graphicFrame>
        <p:nvGraphicFramePr>
          <p:cNvPr id="28" name="Content Placeholder 10">
            <a:extLst>
              <a:ext uri="{FF2B5EF4-FFF2-40B4-BE49-F238E27FC236}">
                <a16:creationId xmlns:a16="http://schemas.microsoft.com/office/drawing/2014/main" id="{D38C43B5-491B-609A-B3DE-302B6F03B7A9}"/>
              </a:ext>
            </a:extLst>
          </p:cNvPr>
          <p:cNvGraphicFramePr>
            <a:graphicFrameLocks/>
          </p:cNvGraphicFramePr>
          <p:nvPr>
            <p:extLst>
              <p:ext uri="{D42A27DB-BD31-4B8C-83A1-F6EECF244321}">
                <p14:modId xmlns:p14="http://schemas.microsoft.com/office/powerpoint/2010/main" val="347399059"/>
              </p:ext>
            </p:extLst>
          </p:nvPr>
        </p:nvGraphicFramePr>
        <p:xfrm>
          <a:off x="581727" y="3018822"/>
          <a:ext cx="3535812" cy="2455283"/>
        </p:xfrm>
        <a:graphic>
          <a:graphicData uri="http://schemas.openxmlformats.org/drawingml/2006/table">
            <a:tbl>
              <a:tblPr firstRow="1" bandRow="1">
                <a:tableStyleId>{5C22544A-7EE6-4342-B048-85BDC9FD1C3A}</a:tableStyleId>
              </a:tblPr>
              <a:tblGrid>
                <a:gridCol w="3535812">
                  <a:extLst>
                    <a:ext uri="{9D8B030D-6E8A-4147-A177-3AD203B41FA5}">
                      <a16:colId xmlns:a16="http://schemas.microsoft.com/office/drawing/2014/main" val="20000"/>
                    </a:ext>
                  </a:extLst>
                </a:gridCol>
              </a:tblGrid>
              <a:tr h="245528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600" b="1" kern="1200">
                        <a:solidFill>
                          <a:schemeClr val="tx2"/>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600" b="1" kern="1200">
                        <a:solidFill>
                          <a:schemeClr val="tx2"/>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600" b="1" kern="1200">
                        <a:solidFill>
                          <a:schemeClr val="tx2"/>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600" b="1" kern="1200">
                        <a:solidFill>
                          <a:schemeClr val="tx2"/>
                        </a:solidFill>
                        <a:latin typeface="+mn-lt"/>
                        <a:ea typeface="+mn-ea"/>
                        <a:cs typeface="+mn-cs"/>
                      </a:endParaRPr>
                    </a:p>
                  </a:txBody>
                  <a:tcPr marL="112542" marR="112542" marT="56271" marB="56271">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33479539"/>
                  </a:ext>
                </a:extLst>
              </a:tr>
            </a:tbl>
          </a:graphicData>
        </a:graphic>
      </p:graphicFrame>
      <p:graphicFrame>
        <p:nvGraphicFramePr>
          <p:cNvPr id="29" name="Content Placeholder 10">
            <a:extLst>
              <a:ext uri="{FF2B5EF4-FFF2-40B4-BE49-F238E27FC236}">
                <a16:creationId xmlns:a16="http://schemas.microsoft.com/office/drawing/2014/main" id="{5641D7EF-988E-3E02-C2A6-23C313002D0A}"/>
              </a:ext>
            </a:extLst>
          </p:cNvPr>
          <p:cNvGraphicFramePr>
            <a:graphicFrameLocks/>
          </p:cNvGraphicFramePr>
          <p:nvPr>
            <p:extLst>
              <p:ext uri="{D42A27DB-BD31-4B8C-83A1-F6EECF244321}">
                <p14:modId xmlns:p14="http://schemas.microsoft.com/office/powerpoint/2010/main" val="2975842655"/>
              </p:ext>
            </p:extLst>
          </p:nvPr>
        </p:nvGraphicFramePr>
        <p:xfrm>
          <a:off x="4357915" y="3018822"/>
          <a:ext cx="3535812" cy="2455283"/>
        </p:xfrm>
        <a:graphic>
          <a:graphicData uri="http://schemas.openxmlformats.org/drawingml/2006/table">
            <a:tbl>
              <a:tblPr firstRow="1" bandRow="1">
                <a:tableStyleId>{5C22544A-7EE6-4342-B048-85BDC9FD1C3A}</a:tableStyleId>
              </a:tblPr>
              <a:tblGrid>
                <a:gridCol w="3535812">
                  <a:extLst>
                    <a:ext uri="{9D8B030D-6E8A-4147-A177-3AD203B41FA5}">
                      <a16:colId xmlns:a16="http://schemas.microsoft.com/office/drawing/2014/main" val="20000"/>
                    </a:ext>
                  </a:extLst>
                </a:gridCol>
              </a:tblGrid>
              <a:tr h="245528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600" b="1" kern="1200">
                        <a:solidFill>
                          <a:schemeClr val="tx2"/>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600" b="1" kern="1200">
                        <a:solidFill>
                          <a:schemeClr val="tx2"/>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600" b="1" kern="1200">
                        <a:solidFill>
                          <a:schemeClr val="tx2"/>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600" b="1" kern="1200">
                        <a:solidFill>
                          <a:schemeClr val="tx2"/>
                        </a:solidFill>
                        <a:latin typeface="+mn-lt"/>
                        <a:ea typeface="+mn-ea"/>
                        <a:cs typeface="+mn-cs"/>
                      </a:endParaRPr>
                    </a:p>
                  </a:txBody>
                  <a:tcPr marL="112542" marR="112542" marT="56271" marB="56271">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33479539"/>
                  </a:ext>
                </a:extLst>
              </a:tr>
            </a:tbl>
          </a:graphicData>
        </a:graphic>
      </p:graphicFrame>
      <p:sp>
        <p:nvSpPr>
          <p:cNvPr id="2" name="Title 1">
            <a:extLst>
              <a:ext uri="{FF2B5EF4-FFF2-40B4-BE49-F238E27FC236}">
                <a16:creationId xmlns:a16="http://schemas.microsoft.com/office/drawing/2014/main" id="{DBAB2A31-D07A-342B-F627-953134D20121}"/>
              </a:ext>
            </a:extLst>
          </p:cNvPr>
          <p:cNvSpPr>
            <a:spLocks noGrp="1"/>
          </p:cNvSpPr>
          <p:nvPr>
            <p:ph type="title"/>
          </p:nvPr>
        </p:nvSpPr>
        <p:spPr/>
        <p:txBody>
          <a:bodyPr/>
          <a:lstStyle/>
          <a:p>
            <a:r>
              <a:rPr lang="en-GB" sz="3200" dirty="0"/>
              <a:t>Time well invested</a:t>
            </a:r>
          </a:p>
        </p:txBody>
      </p:sp>
      <p:sp>
        <p:nvSpPr>
          <p:cNvPr id="6" name="Slide Number Placeholder 5">
            <a:extLst>
              <a:ext uri="{FF2B5EF4-FFF2-40B4-BE49-F238E27FC236}">
                <a16:creationId xmlns:a16="http://schemas.microsoft.com/office/drawing/2014/main" id="{FFEF1001-6C13-0E99-4DD1-F38CF720A3B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FCF0D39-BEE8-4D89-987A-40261FE54395}" type="slidenum">
              <a:rPr kumimoji="0" lang="en-GB" sz="1000" b="0" i="0" u="none" strike="noStrike" kern="1200" cap="none" spc="0" normalizeH="0" baseline="0" noProof="0" smtClean="0">
                <a:ln>
                  <a:noFill/>
                </a:ln>
                <a:solidFill>
                  <a:srgbClr val="4D4E53">
                    <a:lumMod val="60000"/>
                    <a:lumOff val="40000"/>
                  </a:srgbClr>
                </a:solidFill>
                <a:effectLst/>
                <a:uLnTx/>
                <a:uFillTx/>
                <a:latin typeface="Cambri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000" b="0" i="0" u="none" strike="noStrike" kern="1200" cap="none" spc="0" normalizeH="0" baseline="0" noProof="0">
              <a:ln>
                <a:noFill/>
              </a:ln>
              <a:solidFill>
                <a:srgbClr val="4D4E53">
                  <a:lumMod val="60000"/>
                  <a:lumOff val="40000"/>
                </a:srgbClr>
              </a:solidFill>
              <a:effectLst/>
              <a:uLnTx/>
              <a:uFillTx/>
              <a:latin typeface="Cambria"/>
              <a:ea typeface="+mn-ea"/>
              <a:cs typeface="+mn-cs"/>
            </a:endParaRPr>
          </a:p>
        </p:txBody>
      </p:sp>
      <p:sp>
        <p:nvSpPr>
          <p:cNvPr id="11" name="TextBox 10">
            <a:extLst>
              <a:ext uri="{FF2B5EF4-FFF2-40B4-BE49-F238E27FC236}">
                <a16:creationId xmlns:a16="http://schemas.microsoft.com/office/drawing/2014/main" id="{6F1196A2-3B18-7FEE-57E7-24081A47F0D5}"/>
              </a:ext>
            </a:extLst>
          </p:cNvPr>
          <p:cNvSpPr txBox="1"/>
          <p:nvPr/>
        </p:nvSpPr>
        <p:spPr>
          <a:xfrm>
            <a:off x="448754" y="1506212"/>
            <a:ext cx="11214802"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tx2"/>
                </a:solidFill>
                <a:latin typeface="Cambria"/>
              </a:rPr>
              <a:t>Our long-term strategy and evergreen balance sheet underpin our investment performance, enabling us to </a:t>
            </a:r>
            <a:r>
              <a:rPr kumimoji="0" lang="en-US" sz="1800" b="1" i="0" u="none" strike="noStrike" kern="1200" cap="none" spc="0" normalizeH="0" baseline="0" noProof="0" dirty="0">
                <a:ln>
                  <a:noFill/>
                </a:ln>
                <a:solidFill>
                  <a:schemeClr val="tx2"/>
                </a:solidFill>
                <a:effectLst/>
                <a:uLnTx/>
                <a:uFillTx/>
                <a:latin typeface="Cambria"/>
                <a:ea typeface="+mn-ea"/>
                <a:cs typeface="+mn-cs"/>
              </a:rPr>
              <a:t>look through short-term market cycles, capitalise on fundamental opportunities and harness the power of compounding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solidFill>
                <a:schemeClr val="tx2"/>
              </a:solidFill>
              <a:latin typeface="Cambria"/>
            </a:endParaRPr>
          </a:p>
        </p:txBody>
      </p:sp>
      <p:sp>
        <p:nvSpPr>
          <p:cNvPr id="7" name="TextBox 6">
            <a:extLst>
              <a:ext uri="{FF2B5EF4-FFF2-40B4-BE49-F238E27FC236}">
                <a16:creationId xmlns:a16="http://schemas.microsoft.com/office/drawing/2014/main" id="{4DD317F9-39B1-340C-443F-AFFDD181BEF7}"/>
              </a:ext>
            </a:extLst>
          </p:cNvPr>
          <p:cNvSpPr txBox="1"/>
          <p:nvPr/>
        </p:nvSpPr>
        <p:spPr>
          <a:xfrm>
            <a:off x="637273" y="3892002"/>
            <a:ext cx="3424721" cy="132343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002868"/>
                </a:solidFill>
                <a:effectLst/>
                <a:uLnTx/>
                <a:uFillTx/>
                <a:latin typeface="Cambria"/>
                <a:ea typeface="+mn-ea"/>
                <a:cs typeface="+mn-cs"/>
              </a:rPr>
              <a:t>Tea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4D4E53"/>
                </a:solidFill>
                <a:effectLst/>
                <a:uLnTx/>
                <a:uFillTx/>
                <a:latin typeface="Cambria"/>
                <a:ea typeface="+mn-ea"/>
                <a:cs typeface="+mn-cs"/>
              </a:rPr>
              <a:t>We have a team</a:t>
            </a:r>
            <a:r>
              <a:rPr kumimoji="0" lang="en-US" sz="1600" b="1" i="0" u="none" strike="noStrike" kern="1200" cap="none" spc="0" normalizeH="0" baseline="0" noProof="0" dirty="0">
                <a:ln>
                  <a:noFill/>
                </a:ln>
                <a:solidFill>
                  <a:srgbClr val="002868"/>
                </a:solidFill>
                <a:effectLst/>
                <a:uLnTx/>
                <a:uFillTx/>
                <a:latin typeface="Cambria"/>
                <a:ea typeface="+mn-ea"/>
                <a:cs typeface="+mn-cs"/>
              </a:rPr>
              <a:t> </a:t>
            </a:r>
            <a:r>
              <a:rPr kumimoji="0" lang="en-US" sz="1600" b="0" i="0" u="none" strike="noStrike" kern="1200" cap="none" spc="0" normalizeH="0" baseline="0" noProof="0" dirty="0">
                <a:ln>
                  <a:noFill/>
                </a:ln>
                <a:solidFill>
                  <a:srgbClr val="4D4E53"/>
                </a:solidFill>
                <a:effectLst/>
                <a:uLnTx/>
                <a:uFillTx/>
                <a:latin typeface="Cambria"/>
                <a:ea typeface="+mn-ea"/>
                <a:cs typeface="+mn-cs"/>
              </a:rPr>
              <a:t>of</a:t>
            </a:r>
            <a:r>
              <a:rPr kumimoji="0" lang="en-US" sz="1600" b="1" i="0" u="none" strike="noStrike" kern="1200" cap="none" spc="0" normalizeH="0" baseline="0" noProof="0" dirty="0">
                <a:ln>
                  <a:noFill/>
                </a:ln>
                <a:solidFill>
                  <a:srgbClr val="002868"/>
                </a:solidFill>
                <a:effectLst/>
                <a:uLnTx/>
                <a:uFillTx/>
                <a:latin typeface="Cambria"/>
                <a:ea typeface="+mn-ea"/>
                <a:cs typeface="+mn-cs"/>
              </a:rPr>
              <a:t> experts</a:t>
            </a:r>
            <a:r>
              <a:rPr kumimoji="0" lang="en-US" sz="1600" b="0" i="0" u="none" strike="noStrike" kern="1200" cap="none" spc="0" normalizeH="0" baseline="0" noProof="0" dirty="0">
                <a:ln>
                  <a:noFill/>
                </a:ln>
                <a:solidFill>
                  <a:srgbClr val="4D4E53"/>
                </a:solidFill>
                <a:effectLst/>
                <a:uLnTx/>
                <a:uFillTx/>
                <a:latin typeface="Cambria"/>
                <a:ea typeface="+mn-ea"/>
                <a:cs typeface="+mn-cs"/>
              </a:rPr>
              <a:t>,</a:t>
            </a:r>
            <a:r>
              <a:rPr kumimoji="0" lang="en-US" sz="1600" b="1" i="0" u="none" strike="noStrike" kern="1200" cap="none" spc="0" normalizeH="0" baseline="0" noProof="0" dirty="0">
                <a:ln>
                  <a:noFill/>
                </a:ln>
                <a:solidFill>
                  <a:srgbClr val="002868"/>
                </a:solidFill>
                <a:effectLst/>
                <a:uLnTx/>
                <a:uFillTx/>
                <a:latin typeface="Cambria"/>
                <a:ea typeface="+mn-ea"/>
                <a:cs typeface="+mn-cs"/>
              </a:rPr>
              <a:t> </a:t>
            </a:r>
            <a:r>
              <a:rPr kumimoji="0" lang="en-US" sz="1600" b="0" i="0" u="none" strike="noStrike" kern="1200" cap="none" spc="0" normalizeH="0" baseline="0" noProof="0" dirty="0">
                <a:ln>
                  <a:noFill/>
                </a:ln>
                <a:solidFill>
                  <a:srgbClr val="4D4E53"/>
                </a:solidFill>
                <a:effectLst/>
                <a:uLnTx/>
                <a:uFillTx/>
                <a:latin typeface="Cambria"/>
                <a:ea typeface="+mn-ea"/>
                <a:cs typeface="+mn-cs"/>
              </a:rPr>
              <a:t>focused on making carefully considered long-term investments; </a:t>
            </a:r>
            <a:r>
              <a:rPr lang="en-US" sz="1600" b="1" dirty="0">
                <a:solidFill>
                  <a:srgbClr val="002868"/>
                </a:solidFill>
                <a:latin typeface="Cambria"/>
              </a:rPr>
              <a:t>free from   benchmark limitations</a:t>
            </a:r>
            <a:endParaRPr lang="en-GB" sz="1600" b="1" dirty="0">
              <a:solidFill>
                <a:srgbClr val="002868"/>
              </a:solidFill>
              <a:latin typeface="Cambria"/>
            </a:endParaRPr>
          </a:p>
        </p:txBody>
      </p:sp>
      <p:sp>
        <p:nvSpPr>
          <p:cNvPr id="8" name="TextBox 7">
            <a:extLst>
              <a:ext uri="{FF2B5EF4-FFF2-40B4-BE49-F238E27FC236}">
                <a16:creationId xmlns:a16="http://schemas.microsoft.com/office/drawing/2014/main" id="{CD6C71D9-66FF-4E7E-F138-EA9968287F9E}"/>
              </a:ext>
            </a:extLst>
          </p:cNvPr>
          <p:cNvSpPr txBox="1"/>
          <p:nvPr/>
        </p:nvSpPr>
        <p:spPr>
          <a:xfrm>
            <a:off x="4387535" y="3892002"/>
            <a:ext cx="3535812" cy="10772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002868"/>
                </a:solidFill>
                <a:effectLst/>
                <a:uLnTx/>
                <a:uFillTx/>
                <a:latin typeface="Cambria"/>
                <a:ea typeface="+mn-ea"/>
                <a:cs typeface="+mn-cs"/>
              </a:rPr>
              <a:t>Opportunit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4D4E53"/>
                </a:solidFill>
                <a:effectLst/>
                <a:uLnTx/>
                <a:uFillTx/>
                <a:latin typeface="Cambria"/>
                <a:ea typeface="+mn-ea"/>
                <a:cs typeface="+mn-cs"/>
              </a:rPr>
              <a:t>Our investment strategies focus on </a:t>
            </a:r>
            <a:r>
              <a:rPr kumimoji="0" lang="en-US" sz="1600" b="1" i="0" u="none" strike="noStrike" kern="1200" cap="none" spc="0" normalizeH="0" baseline="0" noProof="0" dirty="0">
                <a:ln>
                  <a:noFill/>
                </a:ln>
                <a:solidFill>
                  <a:srgbClr val="002868"/>
                </a:solidFill>
                <a:effectLst/>
                <a:uLnTx/>
                <a:uFillTx/>
                <a:latin typeface="Cambria"/>
                <a:ea typeface="+mn-ea"/>
                <a:cs typeface="+mn-cs"/>
              </a:rPr>
              <a:t>attractive markets </a:t>
            </a:r>
            <a:r>
              <a:rPr kumimoji="0" lang="en-US" sz="1600" b="0" i="0" u="none" strike="noStrike" kern="1200" cap="none" spc="0" normalizeH="0" baseline="0" noProof="0" dirty="0">
                <a:ln>
                  <a:noFill/>
                </a:ln>
                <a:solidFill>
                  <a:srgbClr val="4D4E53"/>
                </a:solidFill>
                <a:effectLst/>
                <a:uLnTx/>
                <a:uFillTx/>
                <a:latin typeface="Cambria"/>
                <a:ea typeface="+mn-ea"/>
                <a:cs typeface="+mn-cs"/>
              </a:rPr>
              <a:t>allowing our team to develop high-quality opportunities</a:t>
            </a:r>
            <a:endParaRPr kumimoji="0" lang="en-GB" sz="1600" b="0" i="0" u="none" strike="noStrike" kern="1200" cap="none" spc="0" normalizeH="0" baseline="0" noProof="0" dirty="0">
              <a:ln>
                <a:noFill/>
              </a:ln>
              <a:solidFill>
                <a:srgbClr val="4D4E53"/>
              </a:solidFill>
              <a:effectLst/>
              <a:uLnTx/>
              <a:uFillTx/>
              <a:latin typeface="Cambria"/>
              <a:ea typeface="+mn-ea"/>
              <a:cs typeface="+mn-cs"/>
            </a:endParaRPr>
          </a:p>
        </p:txBody>
      </p:sp>
      <p:sp>
        <p:nvSpPr>
          <p:cNvPr id="10" name="TextBox 9">
            <a:extLst>
              <a:ext uri="{FF2B5EF4-FFF2-40B4-BE49-F238E27FC236}">
                <a16:creationId xmlns:a16="http://schemas.microsoft.com/office/drawing/2014/main" id="{889C96C6-752C-DDFC-80F9-583EDCE09E42}"/>
              </a:ext>
            </a:extLst>
          </p:cNvPr>
          <p:cNvSpPr txBox="1"/>
          <p:nvPr/>
        </p:nvSpPr>
        <p:spPr>
          <a:xfrm>
            <a:off x="8191752" y="3892002"/>
            <a:ext cx="3535812" cy="10772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002868"/>
                </a:solidFill>
                <a:effectLst/>
                <a:uLnTx/>
                <a:uFillTx/>
                <a:latin typeface="Cambria"/>
                <a:ea typeface="+mn-ea"/>
                <a:cs typeface="+mn-cs"/>
              </a:rPr>
              <a:t>Align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4D4E53"/>
                </a:solidFill>
                <a:effectLst/>
                <a:uLnTx/>
                <a:uFillTx/>
                <a:latin typeface="Cambria"/>
                <a:ea typeface="+mn-ea"/>
                <a:cs typeface="+mn-cs"/>
              </a:rPr>
              <a:t>We invest our balance sheet, with interests </a:t>
            </a:r>
            <a:r>
              <a:rPr kumimoji="0" lang="en-US" sz="1600" b="1" i="0" u="none" strike="noStrike" kern="1200" cap="none" spc="0" normalizeH="0" baseline="0" noProof="0">
                <a:ln>
                  <a:noFill/>
                </a:ln>
                <a:solidFill>
                  <a:srgbClr val="002868"/>
                </a:solidFill>
                <a:effectLst/>
                <a:uLnTx/>
                <a:uFillTx/>
                <a:latin typeface="Cambria"/>
                <a:ea typeface="+mn-ea"/>
                <a:cs typeface="+mn-cs"/>
              </a:rPr>
              <a:t>wholly aligned </a:t>
            </a:r>
            <a:r>
              <a:rPr kumimoji="0" lang="en-US" sz="1600" b="0" i="0" u="none" strike="noStrike" kern="1200" cap="none" spc="0" normalizeH="0" baseline="0" noProof="0">
                <a:ln>
                  <a:noFill/>
                </a:ln>
                <a:solidFill>
                  <a:srgbClr val="4D4E53"/>
                </a:solidFill>
                <a:effectLst/>
                <a:uLnTx/>
                <a:uFillTx/>
                <a:latin typeface="Cambria"/>
                <a:ea typeface="+mn-ea"/>
                <a:cs typeface="+mn-cs"/>
              </a:rPr>
              <a:t>with shareholders</a:t>
            </a:r>
            <a:endParaRPr kumimoji="0" lang="en-GB" sz="1600" b="0" i="0" u="none" strike="noStrike" kern="1200" cap="none" spc="0" normalizeH="0" baseline="0" noProof="0">
              <a:ln>
                <a:noFill/>
              </a:ln>
              <a:solidFill>
                <a:srgbClr val="4D4E53"/>
              </a:solidFill>
              <a:effectLst/>
              <a:uLnTx/>
              <a:uFillTx/>
              <a:latin typeface="Cambria"/>
              <a:ea typeface="+mn-ea"/>
              <a:cs typeface="+mn-cs"/>
            </a:endParaRPr>
          </a:p>
        </p:txBody>
      </p:sp>
      <p:pic>
        <p:nvPicPr>
          <p:cNvPr id="17" name="Graphic 16" descr="Bullseye outline">
            <a:extLst>
              <a:ext uri="{FF2B5EF4-FFF2-40B4-BE49-F238E27FC236}">
                <a16:creationId xmlns:a16="http://schemas.microsoft.com/office/drawing/2014/main" id="{7379DFA8-F8B9-AA9F-4114-BE29A3D796C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668621" y="3032636"/>
            <a:ext cx="914400" cy="914400"/>
          </a:xfrm>
          <a:prstGeom prst="rect">
            <a:avLst/>
          </a:prstGeom>
        </p:spPr>
      </p:pic>
      <p:pic>
        <p:nvPicPr>
          <p:cNvPr id="18" name="Graphic 17" descr="Good Inventory outline">
            <a:extLst>
              <a:ext uri="{FF2B5EF4-FFF2-40B4-BE49-F238E27FC236}">
                <a16:creationId xmlns:a16="http://schemas.microsoft.com/office/drawing/2014/main" id="{0560698C-D74D-C8C0-3F00-B43F9AC17E1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457656" y="3032636"/>
            <a:ext cx="914400" cy="914400"/>
          </a:xfrm>
          <a:prstGeom prst="rect">
            <a:avLst/>
          </a:prstGeom>
        </p:spPr>
      </p:pic>
      <p:pic>
        <p:nvPicPr>
          <p:cNvPr id="25" name="Graphic 24" descr="Group of people outline">
            <a:extLst>
              <a:ext uri="{FF2B5EF4-FFF2-40B4-BE49-F238E27FC236}">
                <a16:creationId xmlns:a16="http://schemas.microsoft.com/office/drawing/2014/main" id="{C4467643-A049-580F-583A-0FEE289A461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899292" y="3032636"/>
            <a:ext cx="900682" cy="900682"/>
          </a:xfrm>
          <a:prstGeom prst="rect">
            <a:avLst/>
          </a:prstGeom>
        </p:spPr>
      </p:pic>
      <p:sp>
        <p:nvSpPr>
          <p:cNvPr id="12" name="Text Placeholder 11">
            <a:extLst>
              <a:ext uri="{FF2B5EF4-FFF2-40B4-BE49-F238E27FC236}">
                <a16:creationId xmlns:a16="http://schemas.microsoft.com/office/drawing/2014/main" id="{504C7F64-348A-F507-C387-FAB0BC4F41BB}"/>
              </a:ext>
            </a:extLst>
          </p:cNvPr>
          <p:cNvSpPr>
            <a:spLocks noGrp="1"/>
          </p:cNvSpPr>
          <p:nvPr>
            <p:ph type="body" sz="half" idx="2"/>
          </p:nvPr>
        </p:nvSpPr>
        <p:spPr>
          <a:xfrm>
            <a:off x="568308" y="844620"/>
            <a:ext cx="10180972" cy="285795"/>
          </a:xfrm>
        </p:spPr>
        <p:txBody>
          <a:bodyPr vert="horz" wrap="square" lIns="0" tIns="0" rIns="0" bIns="0" rtlCol="0">
            <a:normAutofit/>
          </a:bodyPr>
          <a:lstStyle/>
          <a:p>
            <a:r>
              <a:rPr lang="en-US" sz="1800" dirty="0"/>
              <a:t>We invest time to make confident, well balanced compounding investments</a:t>
            </a:r>
          </a:p>
          <a:p>
            <a:endParaRPr lang="en-GB" sz="1800" dirty="0"/>
          </a:p>
        </p:txBody>
      </p:sp>
      <p:sp>
        <p:nvSpPr>
          <p:cNvPr id="3" name="TextBox 2">
            <a:extLst>
              <a:ext uri="{FF2B5EF4-FFF2-40B4-BE49-F238E27FC236}">
                <a16:creationId xmlns:a16="http://schemas.microsoft.com/office/drawing/2014/main" id="{26095093-629E-8C6C-58BC-145F02993617}"/>
              </a:ext>
            </a:extLst>
          </p:cNvPr>
          <p:cNvSpPr txBox="1"/>
          <p:nvPr/>
        </p:nvSpPr>
        <p:spPr>
          <a:xfrm>
            <a:off x="457609" y="6368534"/>
            <a:ext cx="6122894" cy="338554"/>
          </a:xfrm>
          <a:prstGeom prst="rect">
            <a:avLst/>
          </a:prstGeom>
          <a:noFill/>
        </p:spPr>
        <p:txBody>
          <a:bodyPr wrap="square">
            <a:spAutoFit/>
          </a:bodyPr>
          <a:lstStyle/>
          <a:p>
            <a:r>
              <a:rPr lang="en-US" sz="800" dirty="0">
                <a:solidFill>
                  <a:schemeClr val="tx1"/>
                </a:solidFill>
                <a:latin typeface="Cambria" panose="02040503050406030204" pitchFamily="18" charset="0"/>
                <a:ea typeface="Cambria" panose="02040503050406030204" pitchFamily="18" charset="0"/>
              </a:rPr>
              <a:t>Past performance is not a reliable indicator of future results</a:t>
            </a:r>
          </a:p>
          <a:p>
            <a:r>
              <a:rPr lang="en-US" sz="800" dirty="0">
                <a:latin typeface="Cambria" panose="02040503050406030204" pitchFamily="18" charset="0"/>
                <a:ea typeface="Cambria" panose="02040503050406030204" pitchFamily="18" charset="0"/>
              </a:rPr>
              <a:t>Caledonia financial information at 31 March 2025</a:t>
            </a:r>
            <a:endParaRPr lang="en-GB" sz="800" dirty="0"/>
          </a:p>
        </p:txBody>
      </p:sp>
    </p:spTree>
    <p:extLst>
      <p:ext uri="{BB962C8B-B14F-4D97-AF65-F5344CB8AC3E}">
        <p14:creationId xmlns:p14="http://schemas.microsoft.com/office/powerpoint/2010/main" val="192427121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CBA671-5FDE-7E79-7B2F-18C1A3AB27E6}"/>
              </a:ext>
            </a:extLst>
          </p:cNvPr>
          <p:cNvSpPr>
            <a:spLocks noGrp="1"/>
          </p:cNvSpPr>
          <p:nvPr>
            <p:ph type="title"/>
          </p:nvPr>
        </p:nvSpPr>
        <p:spPr>
          <a:xfrm>
            <a:off x="531692" y="360000"/>
            <a:ext cx="9107608" cy="468000"/>
          </a:xfrm>
        </p:spPr>
        <p:txBody>
          <a:bodyPr>
            <a:normAutofit/>
          </a:bodyPr>
          <a:lstStyle/>
          <a:p>
            <a:r>
              <a:rPr lang="en-GB" sz="3200" dirty="0"/>
              <a:t>The power of long-term compounding returns</a:t>
            </a:r>
          </a:p>
        </p:txBody>
      </p:sp>
      <p:sp>
        <p:nvSpPr>
          <p:cNvPr id="4" name="Text Placeholder 3">
            <a:extLst>
              <a:ext uri="{FF2B5EF4-FFF2-40B4-BE49-F238E27FC236}">
                <a16:creationId xmlns:a16="http://schemas.microsoft.com/office/drawing/2014/main" id="{18F55C9E-FF18-8F14-4C4D-34DC791E64FE}"/>
              </a:ext>
            </a:extLst>
          </p:cNvPr>
          <p:cNvSpPr>
            <a:spLocks noGrp="1"/>
          </p:cNvSpPr>
          <p:nvPr>
            <p:ph type="body" sz="half" idx="2"/>
          </p:nvPr>
        </p:nvSpPr>
        <p:spPr/>
        <p:txBody>
          <a:bodyPr>
            <a:normAutofit/>
          </a:bodyPr>
          <a:lstStyle/>
          <a:p>
            <a:r>
              <a:rPr lang="en-GB" sz="1800" dirty="0"/>
              <a:t>802% return vs.178% return for FTSE All-Share</a:t>
            </a:r>
            <a:r>
              <a:rPr lang="en-GB" sz="1800" baseline="30000" dirty="0"/>
              <a:t>1</a:t>
            </a:r>
            <a:endParaRPr lang="en-GB" sz="1800" dirty="0"/>
          </a:p>
        </p:txBody>
      </p:sp>
      <p:sp>
        <p:nvSpPr>
          <p:cNvPr id="6" name="Slide Number Placeholder 5">
            <a:extLst>
              <a:ext uri="{FF2B5EF4-FFF2-40B4-BE49-F238E27FC236}">
                <a16:creationId xmlns:a16="http://schemas.microsoft.com/office/drawing/2014/main" id="{9F3AD252-AA3F-C824-856C-46ED7ABC65BD}"/>
              </a:ext>
            </a:extLst>
          </p:cNvPr>
          <p:cNvSpPr>
            <a:spLocks noGrp="1"/>
          </p:cNvSpPr>
          <p:nvPr>
            <p:ph type="sldNum" sz="quarter" idx="12"/>
          </p:nvPr>
        </p:nvSpPr>
        <p:spPr/>
        <p:txBody>
          <a:bodyPr/>
          <a:lstStyle/>
          <a:p>
            <a:fld id="{BFCF0D39-BEE8-4D89-987A-40261FE54395}" type="slidenum">
              <a:rPr lang="en-GB" smtClean="0"/>
              <a:t>4</a:t>
            </a:fld>
            <a:endParaRPr lang="en-GB" dirty="0"/>
          </a:p>
        </p:txBody>
      </p:sp>
      <p:sp>
        <p:nvSpPr>
          <p:cNvPr id="8" name="Footer Placeholder 4">
            <a:extLst>
              <a:ext uri="{FF2B5EF4-FFF2-40B4-BE49-F238E27FC236}">
                <a16:creationId xmlns:a16="http://schemas.microsoft.com/office/drawing/2014/main" id="{C5CEB8B8-8148-E501-2140-AC63BC155685}"/>
              </a:ext>
            </a:extLst>
          </p:cNvPr>
          <p:cNvSpPr txBox="1">
            <a:spLocks/>
          </p:cNvSpPr>
          <p:nvPr/>
        </p:nvSpPr>
        <p:spPr>
          <a:xfrm>
            <a:off x="2958170" y="6429078"/>
            <a:ext cx="6932613" cy="246221"/>
          </a:xfrm>
          <a:prstGeom prst="rect">
            <a:avLst/>
          </a:prstGeom>
        </p:spPr>
        <p:txBody>
          <a:bodyPr vert="horz" wrap="square" lIns="0" tIns="0" rIns="0" bIns="0" rtlCol="0" anchor="b">
            <a:spAutoFit/>
          </a:bodyPr>
          <a:lstStyle>
            <a:defPPr>
              <a:defRPr lang="en-US"/>
            </a:defPPr>
            <a:lvl1pPr marL="0" algn="l" defTabSz="914400" rtl="0" eaLnBrk="1" latinLnBrk="0" hangingPunct="1">
              <a:defRPr sz="1000" kern="1200" cap="none" spc="50" baseline="0">
                <a:solidFill>
                  <a:schemeClr val="tx1">
                    <a:lumMod val="60000"/>
                    <a:lumOff val="4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spc="0" baseline="30000" dirty="0">
                <a:solidFill>
                  <a:srgbClr val="4D4E53"/>
                </a:solidFill>
                <a:latin typeface="Cambria"/>
              </a:rPr>
              <a:t>1 </a:t>
            </a:r>
            <a:r>
              <a:rPr lang="en-US" sz="800" spc="0" dirty="0">
                <a:solidFill>
                  <a:srgbClr val="4D4E53"/>
                </a:solidFill>
                <a:latin typeface="Cambria"/>
              </a:rPr>
              <a:t>As at 31 March 2025</a:t>
            </a:r>
          </a:p>
          <a:p>
            <a:r>
              <a:rPr lang="en-US" sz="800" spc="0" dirty="0">
                <a:solidFill>
                  <a:srgbClr val="4D4E53"/>
                </a:solidFill>
                <a:latin typeface="Cambria"/>
              </a:rPr>
              <a:t>Data source: Bloomberg (HILS LN, ASX Index Cumulative Total Return Gross. Caledonia first investment August 2011)</a:t>
            </a:r>
            <a:endParaRPr lang="en-GB" sz="800" dirty="0"/>
          </a:p>
        </p:txBody>
      </p:sp>
      <p:sp>
        <p:nvSpPr>
          <p:cNvPr id="9" name="Rectangle 8">
            <a:extLst>
              <a:ext uri="{FF2B5EF4-FFF2-40B4-BE49-F238E27FC236}">
                <a16:creationId xmlns:a16="http://schemas.microsoft.com/office/drawing/2014/main" id="{28C7936D-04D7-5E24-D9E1-57C80CB1BBB9}"/>
              </a:ext>
            </a:extLst>
          </p:cNvPr>
          <p:cNvSpPr/>
          <p:nvPr/>
        </p:nvSpPr>
        <p:spPr>
          <a:xfrm>
            <a:off x="531692" y="1767016"/>
            <a:ext cx="1971548" cy="1992184"/>
          </a:xfrm>
          <a:prstGeom prst="rect">
            <a:avLst/>
          </a:prstGeom>
          <a:solidFill>
            <a:srgbClr val="C3AC78">
              <a:alpha val="1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1200" b="1" dirty="0">
                <a:solidFill>
                  <a:schemeClr val="tx2"/>
                </a:solidFill>
              </a:rPr>
              <a:t>Hill &amp; Smith plc</a:t>
            </a:r>
          </a:p>
          <a:p>
            <a:r>
              <a:rPr lang="en-GB" sz="1200" b="1" dirty="0">
                <a:solidFill>
                  <a:schemeClr val="tx2"/>
                </a:solidFill>
              </a:rPr>
              <a:t>Market cap: £1.4bn</a:t>
            </a:r>
            <a:r>
              <a:rPr lang="en-GB" sz="1200" baseline="30000" dirty="0">
                <a:solidFill>
                  <a:schemeClr val="tx2"/>
                </a:solidFill>
              </a:rPr>
              <a:t>1</a:t>
            </a:r>
            <a:r>
              <a:rPr lang="en-GB" sz="1200" baseline="30000" dirty="0"/>
              <a:t>1</a:t>
            </a:r>
            <a:r>
              <a:rPr lang="en-GB" sz="1200" b="1" dirty="0">
                <a:solidFill>
                  <a:schemeClr val="tx2"/>
                </a:solidFill>
              </a:rPr>
              <a:t> </a:t>
            </a:r>
          </a:p>
          <a:p>
            <a:endParaRPr lang="en-GB" sz="1200" b="1" dirty="0">
              <a:solidFill>
                <a:schemeClr val="tx2"/>
              </a:solidFill>
            </a:endParaRPr>
          </a:p>
          <a:p>
            <a:r>
              <a:rPr lang="en-US" sz="1200" dirty="0">
                <a:solidFill>
                  <a:schemeClr val="tx2"/>
                </a:solidFill>
              </a:rPr>
              <a:t>Leading provider of sustainable infrastructure products and services</a:t>
            </a:r>
            <a:endParaRPr lang="en-GB" sz="1200" b="1" dirty="0">
              <a:solidFill>
                <a:schemeClr val="tx2"/>
              </a:solidFill>
            </a:endParaRPr>
          </a:p>
          <a:p>
            <a:endParaRPr lang="en-GB" sz="1200" b="1" dirty="0">
              <a:solidFill>
                <a:schemeClr val="tx2"/>
              </a:solidFill>
            </a:endParaRPr>
          </a:p>
          <a:p>
            <a:endParaRPr lang="en-GB" sz="1050" dirty="0">
              <a:solidFill>
                <a:schemeClr val="tx2"/>
              </a:solidFill>
            </a:endParaRPr>
          </a:p>
          <a:p>
            <a:pPr defTabSz="1076325"/>
            <a:r>
              <a:rPr lang="en-GB" sz="1050" b="1" dirty="0">
                <a:solidFill>
                  <a:schemeClr val="tx2"/>
                </a:solidFill>
              </a:rPr>
              <a:t>First invested: </a:t>
            </a:r>
            <a:r>
              <a:rPr lang="en-GB" sz="1050" dirty="0">
                <a:solidFill>
                  <a:schemeClr val="tx2"/>
                </a:solidFill>
              </a:rPr>
              <a:t>	Aug 2011</a:t>
            </a:r>
          </a:p>
          <a:p>
            <a:pPr defTabSz="1076325"/>
            <a:r>
              <a:rPr lang="en-GB" sz="1050" b="1" dirty="0">
                <a:solidFill>
                  <a:schemeClr val="tx2"/>
                </a:solidFill>
              </a:rPr>
              <a:t>Holding value: 	</a:t>
            </a:r>
            <a:r>
              <a:rPr lang="en-GB" sz="1050" dirty="0">
                <a:solidFill>
                  <a:schemeClr val="tx2"/>
                </a:solidFill>
              </a:rPr>
              <a:t>£35.6m</a:t>
            </a:r>
          </a:p>
          <a:p>
            <a:endParaRPr lang="en-GB" sz="1200" dirty="0">
              <a:solidFill>
                <a:schemeClr val="tx2"/>
              </a:solidFill>
            </a:endParaRPr>
          </a:p>
        </p:txBody>
      </p:sp>
      <p:sp>
        <p:nvSpPr>
          <p:cNvPr id="10" name="TextBox 9">
            <a:extLst>
              <a:ext uri="{FF2B5EF4-FFF2-40B4-BE49-F238E27FC236}">
                <a16:creationId xmlns:a16="http://schemas.microsoft.com/office/drawing/2014/main" id="{C64F9094-24A3-FB53-21E1-2D30B2EDA099}"/>
              </a:ext>
            </a:extLst>
          </p:cNvPr>
          <p:cNvSpPr txBox="1"/>
          <p:nvPr/>
        </p:nvSpPr>
        <p:spPr>
          <a:xfrm>
            <a:off x="445615" y="6379532"/>
            <a:ext cx="2400016" cy="338554"/>
          </a:xfrm>
          <a:prstGeom prst="rect">
            <a:avLst/>
          </a:prstGeom>
          <a:noFill/>
        </p:spPr>
        <p:txBody>
          <a:bodyPr wrap="none" rtlCol="0">
            <a:spAutoFit/>
          </a:bodyPr>
          <a:lstStyle/>
          <a:p>
            <a:r>
              <a:rPr lang="en-GB" sz="800" dirty="0"/>
              <a:t>Past performance is not indicative of future results</a:t>
            </a:r>
          </a:p>
          <a:p>
            <a:r>
              <a:rPr lang="en-GB" sz="800" dirty="0"/>
              <a:t>Caledonia financial information at 31 March 2025</a:t>
            </a:r>
          </a:p>
        </p:txBody>
      </p:sp>
      <p:sp>
        <p:nvSpPr>
          <p:cNvPr id="13" name="Rectangle 12">
            <a:extLst>
              <a:ext uri="{FF2B5EF4-FFF2-40B4-BE49-F238E27FC236}">
                <a16:creationId xmlns:a16="http://schemas.microsoft.com/office/drawing/2014/main" id="{51F060D5-BFFF-9F85-4589-812E846C7F5D}"/>
              </a:ext>
            </a:extLst>
          </p:cNvPr>
          <p:cNvSpPr/>
          <p:nvPr/>
        </p:nvSpPr>
        <p:spPr>
          <a:xfrm>
            <a:off x="3744912" y="5889638"/>
            <a:ext cx="7029450" cy="257722"/>
          </a:xfrm>
          <a:prstGeom prst="rect">
            <a:avLst/>
          </a:prstGeom>
          <a:noFill/>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graphicFrame>
        <p:nvGraphicFramePr>
          <p:cNvPr id="3" name="Content Placeholder 9">
            <a:extLst>
              <a:ext uri="{FF2B5EF4-FFF2-40B4-BE49-F238E27FC236}">
                <a16:creationId xmlns:a16="http://schemas.microsoft.com/office/drawing/2014/main" id="{BEEDF9A7-F565-E80D-708A-E2B43C1939E5}"/>
              </a:ext>
            </a:extLst>
          </p:cNvPr>
          <p:cNvGraphicFramePr>
            <a:graphicFrameLocks/>
          </p:cNvGraphicFramePr>
          <p:nvPr>
            <p:extLst>
              <p:ext uri="{D42A27DB-BD31-4B8C-83A1-F6EECF244321}">
                <p14:modId xmlns:p14="http://schemas.microsoft.com/office/powerpoint/2010/main" val="214420867"/>
              </p:ext>
            </p:extLst>
          </p:nvPr>
        </p:nvGraphicFramePr>
        <p:xfrm>
          <a:off x="2503240" y="1681122"/>
          <a:ext cx="9155360" cy="4500562"/>
        </p:xfrm>
        <a:graphic>
          <a:graphicData uri="http://schemas.openxmlformats.org/drawingml/2006/chart">
            <c:chart xmlns:c="http://schemas.openxmlformats.org/drawingml/2006/chart" xmlns:r="http://schemas.openxmlformats.org/officeDocument/2006/relationships" r:id="rId2"/>
          </a:graphicData>
        </a:graphic>
      </p:graphicFrame>
      <p:grpSp>
        <p:nvGrpSpPr>
          <p:cNvPr id="15" name="Group 14">
            <a:extLst>
              <a:ext uri="{FF2B5EF4-FFF2-40B4-BE49-F238E27FC236}">
                <a16:creationId xmlns:a16="http://schemas.microsoft.com/office/drawing/2014/main" id="{C1625BD9-BB30-2283-BC38-2F407234B44A}"/>
              </a:ext>
            </a:extLst>
          </p:cNvPr>
          <p:cNvGrpSpPr/>
          <p:nvPr/>
        </p:nvGrpSpPr>
        <p:grpSpPr>
          <a:xfrm>
            <a:off x="4295955" y="5897245"/>
            <a:ext cx="2596556" cy="239458"/>
            <a:chOff x="2337759" y="2514709"/>
            <a:chExt cx="2389162" cy="239458"/>
          </a:xfrm>
        </p:grpSpPr>
        <p:sp>
          <p:nvSpPr>
            <p:cNvPr id="17" name="Rectangle 16">
              <a:extLst>
                <a:ext uri="{FF2B5EF4-FFF2-40B4-BE49-F238E27FC236}">
                  <a16:creationId xmlns:a16="http://schemas.microsoft.com/office/drawing/2014/main" id="{81D2467B-EBF8-4E42-AFF7-CCCAFAC94956}"/>
                </a:ext>
              </a:extLst>
            </p:cNvPr>
            <p:cNvSpPr/>
            <p:nvPr/>
          </p:nvSpPr>
          <p:spPr>
            <a:xfrm>
              <a:off x="2337759" y="2514709"/>
              <a:ext cx="2286000" cy="22407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8" name="Straight Connector 17">
              <a:extLst>
                <a:ext uri="{FF2B5EF4-FFF2-40B4-BE49-F238E27FC236}">
                  <a16:creationId xmlns:a16="http://schemas.microsoft.com/office/drawing/2014/main" id="{2BBAAC1C-DF2C-FFC6-E5C0-D21D5B1837A9}"/>
                </a:ext>
              </a:extLst>
            </p:cNvPr>
            <p:cNvCxnSpPr>
              <a:cxnSpLocks/>
            </p:cNvCxnSpPr>
            <p:nvPr/>
          </p:nvCxnSpPr>
          <p:spPr>
            <a:xfrm>
              <a:off x="2337759" y="2631057"/>
              <a:ext cx="224287"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8B9FF9A6-5B22-32A8-5323-1AA604691A72}"/>
                </a:ext>
              </a:extLst>
            </p:cNvPr>
            <p:cNvSpPr txBox="1"/>
            <p:nvPr/>
          </p:nvSpPr>
          <p:spPr>
            <a:xfrm>
              <a:off x="2501306" y="2523335"/>
              <a:ext cx="2225615" cy="230832"/>
            </a:xfrm>
            <a:prstGeom prst="rect">
              <a:avLst/>
            </a:prstGeom>
            <a:noFill/>
          </p:spPr>
          <p:txBody>
            <a:bodyPr wrap="square" rtlCol="0">
              <a:spAutoFit/>
            </a:bodyPr>
            <a:lstStyle/>
            <a:p>
              <a:r>
                <a:rPr lang="en-GB" sz="900" dirty="0">
                  <a:solidFill>
                    <a:schemeClr val="bg1">
                      <a:lumMod val="50000"/>
                    </a:schemeClr>
                  </a:solidFill>
                </a:rPr>
                <a:t>Company A (Total Return Indexed to 100) </a:t>
              </a:r>
            </a:p>
          </p:txBody>
        </p:sp>
      </p:grpSp>
    </p:spTree>
    <p:extLst>
      <p:ext uri="{BB962C8B-B14F-4D97-AF65-F5344CB8AC3E}">
        <p14:creationId xmlns:p14="http://schemas.microsoft.com/office/powerpoint/2010/main" val="17447169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1C40E4A0-83AD-18D8-66AC-DE3AC7FF311D}"/>
              </a:ext>
            </a:extLst>
          </p:cNvPr>
          <p:cNvGrpSpPr/>
          <p:nvPr/>
        </p:nvGrpSpPr>
        <p:grpSpPr>
          <a:xfrm rot="5400000">
            <a:off x="4943893" y="-2616614"/>
            <a:ext cx="2313735" cy="11553826"/>
            <a:chOff x="531690" y="1985962"/>
            <a:chExt cx="6900649" cy="4333135"/>
          </a:xfrm>
          <a:solidFill>
            <a:srgbClr val="C3AC78">
              <a:alpha val="20000"/>
            </a:srgbClr>
          </a:solidFill>
        </p:grpSpPr>
        <p:sp>
          <p:nvSpPr>
            <p:cNvPr id="9" name="Rectangle 8">
              <a:extLst>
                <a:ext uri="{FF2B5EF4-FFF2-40B4-BE49-F238E27FC236}">
                  <a16:creationId xmlns:a16="http://schemas.microsoft.com/office/drawing/2014/main" id="{3F87CF59-02A6-E209-AB34-461C661806C8}"/>
                </a:ext>
              </a:extLst>
            </p:cNvPr>
            <p:cNvSpPr/>
            <p:nvPr/>
          </p:nvSpPr>
          <p:spPr>
            <a:xfrm rot="16200000">
              <a:off x="1343962" y="1173690"/>
              <a:ext cx="4333134" cy="5957678"/>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Isosceles Triangle 11">
              <a:extLst>
                <a:ext uri="{FF2B5EF4-FFF2-40B4-BE49-F238E27FC236}">
                  <a16:creationId xmlns:a16="http://schemas.microsoft.com/office/drawing/2014/main" id="{5415940D-1FE3-5392-395A-69C53549D769}"/>
                </a:ext>
              </a:extLst>
            </p:cNvPr>
            <p:cNvSpPr/>
            <p:nvPr/>
          </p:nvSpPr>
          <p:spPr>
            <a:xfrm rot="5400000">
              <a:off x="4794287" y="3681045"/>
              <a:ext cx="4333134" cy="942970"/>
            </a:xfrm>
            <a:prstGeom prst="triangl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grpSp>
      <p:graphicFrame>
        <p:nvGraphicFramePr>
          <p:cNvPr id="19" name="Content Placeholder 10">
            <a:extLst>
              <a:ext uri="{FF2B5EF4-FFF2-40B4-BE49-F238E27FC236}">
                <a16:creationId xmlns:a16="http://schemas.microsoft.com/office/drawing/2014/main" id="{DF1C3EE7-EDEA-BC49-3C07-A25FAB139686}"/>
              </a:ext>
            </a:extLst>
          </p:cNvPr>
          <p:cNvGraphicFramePr>
            <a:graphicFrameLocks/>
          </p:cNvGraphicFramePr>
          <p:nvPr>
            <p:extLst>
              <p:ext uri="{D42A27DB-BD31-4B8C-83A1-F6EECF244321}">
                <p14:modId xmlns:p14="http://schemas.microsoft.com/office/powerpoint/2010/main" val="3276923812"/>
              </p:ext>
            </p:extLst>
          </p:nvPr>
        </p:nvGraphicFramePr>
        <p:xfrm>
          <a:off x="457609" y="2131539"/>
          <a:ext cx="3535812" cy="1477328"/>
        </p:xfrm>
        <a:graphic>
          <a:graphicData uri="http://schemas.openxmlformats.org/drawingml/2006/table">
            <a:tbl>
              <a:tblPr firstRow="1" bandRow="1">
                <a:tableStyleId>{5C22544A-7EE6-4342-B048-85BDC9FD1C3A}</a:tableStyleId>
              </a:tblPr>
              <a:tblGrid>
                <a:gridCol w="3535812">
                  <a:extLst>
                    <a:ext uri="{9D8B030D-6E8A-4147-A177-3AD203B41FA5}">
                      <a16:colId xmlns:a16="http://schemas.microsoft.com/office/drawing/2014/main" val="20000"/>
                    </a:ext>
                  </a:extLst>
                </a:gridCol>
              </a:tblGrid>
              <a:tr h="147732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600" b="1" kern="1200" dirty="0">
                        <a:solidFill>
                          <a:schemeClr val="tx2"/>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600" b="1" kern="1200" dirty="0">
                        <a:solidFill>
                          <a:schemeClr val="tx2"/>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600" b="1" kern="1200" dirty="0">
                        <a:solidFill>
                          <a:schemeClr val="tx2"/>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600" b="1" kern="1200" dirty="0">
                        <a:solidFill>
                          <a:schemeClr val="tx2"/>
                        </a:solidFill>
                        <a:latin typeface="+mn-lt"/>
                        <a:ea typeface="+mn-ea"/>
                        <a:cs typeface="+mn-cs"/>
                      </a:endParaRPr>
                    </a:p>
                  </a:txBody>
                  <a:tcPr marL="112542" marR="112542" marT="56271" marB="56271">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1233479539"/>
                  </a:ext>
                </a:extLst>
              </a:tr>
            </a:tbl>
          </a:graphicData>
        </a:graphic>
      </p:graphicFrame>
      <p:graphicFrame>
        <p:nvGraphicFramePr>
          <p:cNvPr id="30" name="Content Placeholder 10">
            <a:extLst>
              <a:ext uri="{FF2B5EF4-FFF2-40B4-BE49-F238E27FC236}">
                <a16:creationId xmlns:a16="http://schemas.microsoft.com/office/drawing/2014/main" id="{8722ED1B-7F1D-900F-442B-3FC3AA8FB116}"/>
              </a:ext>
            </a:extLst>
          </p:cNvPr>
          <p:cNvGraphicFramePr>
            <a:graphicFrameLocks/>
          </p:cNvGraphicFramePr>
          <p:nvPr>
            <p:extLst>
              <p:ext uri="{D42A27DB-BD31-4B8C-83A1-F6EECF244321}">
                <p14:modId xmlns:p14="http://schemas.microsoft.com/office/powerpoint/2010/main" val="976717628"/>
              </p:ext>
            </p:extLst>
          </p:nvPr>
        </p:nvGraphicFramePr>
        <p:xfrm>
          <a:off x="8122788" y="2117726"/>
          <a:ext cx="3535812" cy="1477328"/>
        </p:xfrm>
        <a:graphic>
          <a:graphicData uri="http://schemas.openxmlformats.org/drawingml/2006/table">
            <a:tbl>
              <a:tblPr firstRow="1" bandRow="1">
                <a:tableStyleId>{5C22544A-7EE6-4342-B048-85BDC9FD1C3A}</a:tableStyleId>
              </a:tblPr>
              <a:tblGrid>
                <a:gridCol w="3535812">
                  <a:extLst>
                    <a:ext uri="{9D8B030D-6E8A-4147-A177-3AD203B41FA5}">
                      <a16:colId xmlns:a16="http://schemas.microsoft.com/office/drawing/2014/main" val="20000"/>
                    </a:ext>
                  </a:extLst>
                </a:gridCol>
              </a:tblGrid>
              <a:tr h="147732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600" b="1" kern="1200" dirty="0">
                        <a:solidFill>
                          <a:schemeClr val="tx2"/>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600" b="1" kern="1200" dirty="0">
                        <a:solidFill>
                          <a:schemeClr val="tx2"/>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600" b="1" kern="1200" dirty="0">
                        <a:solidFill>
                          <a:schemeClr val="tx2"/>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600" b="1" kern="1200" dirty="0">
                        <a:solidFill>
                          <a:schemeClr val="tx2"/>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600" b="1" kern="1200" dirty="0">
                        <a:solidFill>
                          <a:schemeClr val="tx2"/>
                        </a:solidFill>
                        <a:latin typeface="+mn-lt"/>
                        <a:ea typeface="+mn-ea"/>
                        <a:cs typeface="+mn-cs"/>
                      </a:endParaRPr>
                    </a:p>
                  </a:txBody>
                  <a:tcPr marL="112542" marR="112542" marT="56271" marB="56271">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1233479539"/>
                  </a:ext>
                </a:extLst>
              </a:tr>
            </a:tbl>
          </a:graphicData>
        </a:graphic>
      </p:graphicFrame>
      <p:graphicFrame>
        <p:nvGraphicFramePr>
          <p:cNvPr id="29" name="Content Placeholder 10">
            <a:extLst>
              <a:ext uri="{FF2B5EF4-FFF2-40B4-BE49-F238E27FC236}">
                <a16:creationId xmlns:a16="http://schemas.microsoft.com/office/drawing/2014/main" id="{5641D7EF-988E-3E02-C2A6-23C313002D0A}"/>
              </a:ext>
            </a:extLst>
          </p:cNvPr>
          <p:cNvGraphicFramePr>
            <a:graphicFrameLocks/>
          </p:cNvGraphicFramePr>
          <p:nvPr>
            <p:extLst>
              <p:ext uri="{D42A27DB-BD31-4B8C-83A1-F6EECF244321}">
                <p14:modId xmlns:p14="http://schemas.microsoft.com/office/powerpoint/2010/main" val="921579714"/>
              </p:ext>
            </p:extLst>
          </p:nvPr>
        </p:nvGraphicFramePr>
        <p:xfrm>
          <a:off x="4288950" y="2117726"/>
          <a:ext cx="3535812" cy="1477328"/>
        </p:xfrm>
        <a:graphic>
          <a:graphicData uri="http://schemas.openxmlformats.org/drawingml/2006/table">
            <a:tbl>
              <a:tblPr firstRow="1" bandRow="1">
                <a:tableStyleId>{5C22544A-7EE6-4342-B048-85BDC9FD1C3A}</a:tableStyleId>
              </a:tblPr>
              <a:tblGrid>
                <a:gridCol w="3535812">
                  <a:extLst>
                    <a:ext uri="{9D8B030D-6E8A-4147-A177-3AD203B41FA5}">
                      <a16:colId xmlns:a16="http://schemas.microsoft.com/office/drawing/2014/main" val="20000"/>
                    </a:ext>
                  </a:extLst>
                </a:gridCol>
              </a:tblGrid>
              <a:tr h="147732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600" b="1" kern="1200" dirty="0">
                        <a:solidFill>
                          <a:schemeClr val="tx2"/>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600" b="1" kern="1200" dirty="0">
                        <a:solidFill>
                          <a:schemeClr val="tx2"/>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600" b="1" kern="1200" dirty="0">
                        <a:solidFill>
                          <a:schemeClr val="tx2"/>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600" b="1" kern="1200" dirty="0">
                        <a:solidFill>
                          <a:schemeClr val="tx2"/>
                        </a:solidFill>
                        <a:latin typeface="+mn-lt"/>
                        <a:ea typeface="+mn-ea"/>
                        <a:cs typeface="+mn-cs"/>
                      </a:endParaRPr>
                    </a:p>
                  </a:txBody>
                  <a:tcPr marL="112542" marR="112542" marT="56271" marB="56271">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1233479539"/>
                  </a:ext>
                </a:extLst>
              </a:tr>
            </a:tbl>
          </a:graphicData>
        </a:graphic>
      </p:graphicFrame>
      <p:sp>
        <p:nvSpPr>
          <p:cNvPr id="2" name="Title 1">
            <a:extLst>
              <a:ext uri="{FF2B5EF4-FFF2-40B4-BE49-F238E27FC236}">
                <a16:creationId xmlns:a16="http://schemas.microsoft.com/office/drawing/2014/main" id="{DBAB2A31-D07A-342B-F627-953134D20121}"/>
              </a:ext>
            </a:extLst>
          </p:cNvPr>
          <p:cNvSpPr>
            <a:spLocks noGrp="1"/>
          </p:cNvSpPr>
          <p:nvPr>
            <p:ph type="title"/>
          </p:nvPr>
        </p:nvSpPr>
        <p:spPr/>
        <p:txBody>
          <a:bodyPr/>
          <a:lstStyle/>
          <a:p>
            <a:r>
              <a:rPr lang="en-GB" sz="3200" dirty="0"/>
              <a:t>We are driven by fundamentals</a:t>
            </a:r>
          </a:p>
        </p:txBody>
      </p:sp>
      <p:sp>
        <p:nvSpPr>
          <p:cNvPr id="4" name="Text Placeholder 3">
            <a:extLst>
              <a:ext uri="{FF2B5EF4-FFF2-40B4-BE49-F238E27FC236}">
                <a16:creationId xmlns:a16="http://schemas.microsoft.com/office/drawing/2014/main" id="{0094A155-474A-95D5-8EED-03AC845228F6}"/>
              </a:ext>
            </a:extLst>
          </p:cNvPr>
          <p:cNvSpPr>
            <a:spLocks noGrp="1"/>
          </p:cNvSpPr>
          <p:nvPr>
            <p:ph type="body" sz="half" idx="2"/>
          </p:nvPr>
        </p:nvSpPr>
        <p:spPr>
          <a:xfrm>
            <a:off x="531691" y="911979"/>
            <a:ext cx="11345980" cy="369332"/>
          </a:xfrm>
        </p:spPr>
        <p:txBody>
          <a:bodyPr>
            <a:normAutofit/>
          </a:bodyPr>
          <a:lstStyle/>
          <a:p>
            <a:r>
              <a:rPr lang="en-US" sz="1800" dirty="0"/>
              <a:t>We buy to hold, investing in </a:t>
            </a:r>
            <a:r>
              <a:rPr lang="en-GB" sz="1800" dirty="0"/>
              <a:t>high quality companies that have the potential to generate exceptional long-term value</a:t>
            </a:r>
          </a:p>
          <a:p>
            <a:endParaRPr lang="en-US" sz="1800" dirty="0"/>
          </a:p>
          <a:p>
            <a:endParaRPr lang="en-US" sz="1800" dirty="0"/>
          </a:p>
        </p:txBody>
      </p:sp>
      <p:sp>
        <p:nvSpPr>
          <p:cNvPr id="6" name="Slide Number Placeholder 5">
            <a:extLst>
              <a:ext uri="{FF2B5EF4-FFF2-40B4-BE49-F238E27FC236}">
                <a16:creationId xmlns:a16="http://schemas.microsoft.com/office/drawing/2014/main" id="{FFEF1001-6C13-0E99-4DD1-F38CF720A3BC}"/>
              </a:ext>
            </a:extLst>
          </p:cNvPr>
          <p:cNvSpPr>
            <a:spLocks noGrp="1"/>
          </p:cNvSpPr>
          <p:nvPr>
            <p:ph type="sldNum" sz="quarter" idx="12"/>
          </p:nvPr>
        </p:nvSpPr>
        <p:spPr/>
        <p:txBody>
          <a:bodyPr/>
          <a:lstStyle/>
          <a:p>
            <a:fld id="{BFCF0D39-BEE8-4D89-987A-40261FE54395}" type="slidenum">
              <a:rPr lang="en-GB" smtClean="0"/>
              <a:t>5</a:t>
            </a:fld>
            <a:endParaRPr lang="en-GB" dirty="0"/>
          </a:p>
        </p:txBody>
      </p:sp>
      <p:sp>
        <p:nvSpPr>
          <p:cNvPr id="11" name="TextBox 10">
            <a:extLst>
              <a:ext uri="{FF2B5EF4-FFF2-40B4-BE49-F238E27FC236}">
                <a16:creationId xmlns:a16="http://schemas.microsoft.com/office/drawing/2014/main" id="{6F1196A2-3B18-7FEE-57E7-24081A47F0D5}"/>
              </a:ext>
            </a:extLst>
          </p:cNvPr>
          <p:cNvSpPr txBox="1"/>
          <p:nvPr/>
        </p:nvSpPr>
        <p:spPr>
          <a:xfrm>
            <a:off x="457609" y="1455349"/>
            <a:ext cx="11276782" cy="369332"/>
          </a:xfrm>
          <a:prstGeom prst="rect">
            <a:avLst/>
          </a:prstGeom>
          <a:noFill/>
        </p:spPr>
        <p:txBody>
          <a:bodyPr wrap="square" rtlCol="0">
            <a:spAutoFit/>
          </a:bodyPr>
          <a:lstStyle/>
          <a:p>
            <a:r>
              <a:rPr lang="en-US" b="1" dirty="0">
                <a:solidFill>
                  <a:schemeClr val="tx2"/>
                </a:solidFill>
              </a:rPr>
              <a:t>At its core, our investment strategy focuses on companies with the following key characteristics:</a:t>
            </a:r>
          </a:p>
        </p:txBody>
      </p:sp>
      <p:sp>
        <p:nvSpPr>
          <p:cNvPr id="7" name="TextBox 6">
            <a:extLst>
              <a:ext uri="{FF2B5EF4-FFF2-40B4-BE49-F238E27FC236}">
                <a16:creationId xmlns:a16="http://schemas.microsoft.com/office/drawing/2014/main" id="{4DD317F9-39B1-340C-443F-AFFDD181BEF7}"/>
              </a:ext>
            </a:extLst>
          </p:cNvPr>
          <p:cNvSpPr txBox="1"/>
          <p:nvPr/>
        </p:nvSpPr>
        <p:spPr>
          <a:xfrm>
            <a:off x="450966" y="2842950"/>
            <a:ext cx="3539957"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1" dirty="0">
                <a:solidFill>
                  <a:schemeClr val="tx2"/>
                </a:solidFill>
              </a:rPr>
              <a:t>Strong</a:t>
            </a:r>
            <a:r>
              <a:rPr lang="en-GB" sz="1600" b="1" kern="1200" dirty="0">
                <a:solidFill>
                  <a:schemeClr val="tx2"/>
                </a:solidFill>
                <a:latin typeface="+mn-lt"/>
                <a:ea typeface="+mn-ea"/>
                <a:cs typeface="+mn-cs"/>
              </a:rPr>
              <a:t> market position and fundamentals</a:t>
            </a:r>
          </a:p>
          <a:p>
            <a:pPr algn="ctr"/>
            <a:endParaRPr lang="en-GB" sz="1600" dirty="0"/>
          </a:p>
        </p:txBody>
      </p:sp>
      <p:sp>
        <p:nvSpPr>
          <p:cNvPr id="10" name="TextBox 9">
            <a:extLst>
              <a:ext uri="{FF2B5EF4-FFF2-40B4-BE49-F238E27FC236}">
                <a16:creationId xmlns:a16="http://schemas.microsoft.com/office/drawing/2014/main" id="{889C96C6-752C-DDFC-80F9-583EDCE09E42}"/>
              </a:ext>
            </a:extLst>
          </p:cNvPr>
          <p:cNvSpPr txBox="1"/>
          <p:nvPr/>
        </p:nvSpPr>
        <p:spPr>
          <a:xfrm>
            <a:off x="4282307" y="2842950"/>
            <a:ext cx="3535812"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1" kern="1200" dirty="0">
                <a:solidFill>
                  <a:schemeClr val="tx2"/>
                </a:solidFill>
                <a:latin typeface="+mn-lt"/>
                <a:ea typeface="+mn-ea"/>
                <a:cs typeface="+mn-cs"/>
              </a:rPr>
              <a:t>Attractive underlying </a:t>
            </a:r>
            <a:br>
              <a:rPr lang="en-GB" sz="1600" b="1" kern="1200" dirty="0">
                <a:solidFill>
                  <a:schemeClr val="tx2"/>
                </a:solidFill>
                <a:latin typeface="+mn-lt"/>
                <a:ea typeface="+mn-ea"/>
                <a:cs typeface="+mn-cs"/>
              </a:rPr>
            </a:br>
            <a:r>
              <a:rPr lang="en-GB" sz="1600" b="1" kern="1200" dirty="0">
                <a:solidFill>
                  <a:schemeClr val="tx2"/>
                </a:solidFill>
                <a:latin typeface="+mn-lt"/>
                <a:ea typeface="+mn-ea"/>
                <a:cs typeface="+mn-cs"/>
              </a:rPr>
              <a:t>markets</a:t>
            </a:r>
          </a:p>
          <a:p>
            <a:endParaRPr lang="en-GB" sz="1600" dirty="0"/>
          </a:p>
        </p:txBody>
      </p:sp>
      <p:graphicFrame>
        <p:nvGraphicFramePr>
          <p:cNvPr id="13" name="Content Placeholder 10">
            <a:extLst>
              <a:ext uri="{FF2B5EF4-FFF2-40B4-BE49-F238E27FC236}">
                <a16:creationId xmlns:a16="http://schemas.microsoft.com/office/drawing/2014/main" id="{F4338C16-9BE8-0163-627C-17604A445768}"/>
              </a:ext>
            </a:extLst>
          </p:cNvPr>
          <p:cNvGraphicFramePr>
            <a:graphicFrameLocks/>
          </p:cNvGraphicFramePr>
          <p:nvPr>
            <p:extLst>
              <p:ext uri="{D42A27DB-BD31-4B8C-83A1-F6EECF244321}">
                <p14:modId xmlns:p14="http://schemas.microsoft.com/office/powerpoint/2010/main" val="46933879"/>
              </p:ext>
            </p:extLst>
          </p:nvPr>
        </p:nvGraphicFramePr>
        <p:xfrm>
          <a:off x="4305149" y="4535668"/>
          <a:ext cx="3542232" cy="1636542"/>
        </p:xfrm>
        <a:graphic>
          <a:graphicData uri="http://schemas.openxmlformats.org/drawingml/2006/table">
            <a:tbl>
              <a:tblPr firstRow="1" bandRow="1">
                <a:tableStyleId>{5C22544A-7EE6-4342-B048-85BDC9FD1C3A}</a:tableStyleId>
              </a:tblPr>
              <a:tblGrid>
                <a:gridCol w="3542232">
                  <a:extLst>
                    <a:ext uri="{9D8B030D-6E8A-4147-A177-3AD203B41FA5}">
                      <a16:colId xmlns:a16="http://schemas.microsoft.com/office/drawing/2014/main" val="20000"/>
                    </a:ext>
                  </a:extLst>
                </a:gridCol>
              </a:tblGrid>
              <a:tr h="143028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1" kern="1200" dirty="0">
                          <a:solidFill>
                            <a:schemeClr val="tx2"/>
                          </a:solidFill>
                          <a:latin typeface="+mn-lt"/>
                          <a:ea typeface="+mn-ea"/>
                          <a:cs typeface="+mn-cs"/>
                        </a:rPr>
                        <a:t>Private Capital</a:t>
                      </a:r>
                    </a:p>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GB" sz="1200" b="0" i="0" u="none" strike="noStrike" kern="1200" cap="none" spc="0" normalizeH="0" baseline="0" dirty="0">
                          <a:ln>
                            <a:noFill/>
                          </a:ln>
                          <a:solidFill>
                            <a:schemeClr val="accent3"/>
                          </a:solidFill>
                          <a:effectLst/>
                          <a:uLnTx/>
                          <a:uFillTx/>
                          <a:latin typeface="+mn-lt"/>
                          <a:ea typeface="+mn-ea"/>
                          <a:cs typeface="+mn-cs"/>
                        </a:rPr>
                        <a:t>Strategic Allocation: 25%-35%</a:t>
                      </a:r>
                      <a:br>
                        <a:rPr kumimoji="0" lang="en-GB" sz="1200" b="0" i="0" u="none" strike="noStrike" kern="1200" cap="none" spc="0" normalizeH="0" baseline="0" dirty="0">
                          <a:ln>
                            <a:noFill/>
                          </a:ln>
                          <a:solidFill>
                            <a:schemeClr val="accent3"/>
                          </a:solidFill>
                          <a:effectLst/>
                          <a:uLnTx/>
                          <a:uFillTx/>
                          <a:latin typeface="+mn-lt"/>
                          <a:ea typeface="+mn-ea"/>
                          <a:cs typeface="+mn-cs"/>
                        </a:rPr>
                      </a:br>
                      <a:br>
                        <a:rPr kumimoji="0" lang="en-GB" sz="1200" b="0" i="0" u="none" strike="noStrike" kern="1200" cap="none" spc="0" normalizeH="0" baseline="0" dirty="0">
                          <a:ln>
                            <a:noFill/>
                          </a:ln>
                          <a:solidFill>
                            <a:schemeClr val="accent3"/>
                          </a:solidFill>
                          <a:effectLst/>
                          <a:uLnTx/>
                          <a:uFillTx/>
                          <a:latin typeface="+mn-lt"/>
                          <a:ea typeface="+mn-ea"/>
                          <a:cs typeface="+mn-cs"/>
                        </a:rPr>
                      </a:br>
                      <a:br>
                        <a:rPr kumimoji="0" lang="en-GB" sz="1200" b="0" i="0" u="none" strike="noStrike" kern="1200" cap="none" spc="0" normalizeH="0" baseline="0" dirty="0">
                          <a:ln>
                            <a:noFill/>
                          </a:ln>
                          <a:solidFill>
                            <a:schemeClr val="accent3"/>
                          </a:solidFill>
                          <a:effectLst/>
                          <a:uLnTx/>
                          <a:uFillTx/>
                          <a:latin typeface="+mn-lt"/>
                          <a:ea typeface="+mn-ea"/>
                          <a:cs typeface="+mn-cs"/>
                        </a:rPr>
                      </a:br>
                      <a:br>
                        <a:rPr kumimoji="0" lang="en-GB" sz="1200" b="0" i="0" u="none" strike="noStrike" kern="1200" cap="none" spc="0" normalizeH="0" baseline="0" dirty="0">
                          <a:ln>
                            <a:noFill/>
                          </a:ln>
                          <a:solidFill>
                            <a:schemeClr val="accent3"/>
                          </a:solidFill>
                          <a:effectLst/>
                          <a:uLnTx/>
                          <a:uFillTx/>
                          <a:latin typeface="+mn-lt"/>
                          <a:ea typeface="+mn-ea"/>
                          <a:cs typeface="+mn-cs"/>
                        </a:rPr>
                      </a:br>
                      <a:endParaRPr kumimoji="0" lang="en-GB" sz="1200" b="0" i="0" u="none" strike="noStrike" kern="1200" cap="none" spc="0" normalizeH="0" baseline="0" dirty="0">
                        <a:ln>
                          <a:noFill/>
                        </a:ln>
                        <a:solidFill>
                          <a:schemeClr val="accent3"/>
                        </a:solidFill>
                        <a:effectLst/>
                        <a:uLnTx/>
                        <a:uFillTx/>
                        <a:latin typeface="+mn-lt"/>
                        <a:ea typeface="+mn-ea"/>
                        <a:cs typeface="+mn-cs"/>
                      </a:endParaRPr>
                    </a:p>
                    <a:p>
                      <a:pPr marL="0" marR="0" lvl="0" indent="0" algn="ctr" defTabSz="914400" rtl="0" eaLnBrk="1" fontAlgn="auto" latinLnBrk="0" hangingPunct="1">
                        <a:lnSpc>
                          <a:spcPct val="100000"/>
                        </a:lnSpc>
                        <a:spcBef>
                          <a:spcPts val="0"/>
                        </a:spcBef>
                        <a:spcAft>
                          <a:spcPts val="1200"/>
                        </a:spcAft>
                        <a:buClrTx/>
                        <a:buSzTx/>
                        <a:buFontTx/>
                        <a:buNone/>
                        <a:tabLst/>
                        <a:defRPr/>
                      </a:pPr>
                      <a:endParaRPr kumimoji="0" lang="en-GB" sz="1400" b="0" i="0" u="none" strike="noStrike" kern="1200" cap="none" spc="0" normalizeH="0" baseline="0" dirty="0">
                        <a:ln>
                          <a:noFill/>
                        </a:ln>
                        <a:solidFill>
                          <a:schemeClr val="accent3"/>
                        </a:solidFill>
                        <a:effectLst/>
                        <a:uLnTx/>
                        <a:uFillTx/>
                        <a:latin typeface="+mn-lt"/>
                        <a:ea typeface="+mn-ea"/>
                        <a:cs typeface="+mn-cs"/>
                      </a:endParaRPr>
                    </a:p>
                  </a:txBody>
                  <a:tcPr marL="112542" marR="112542" marT="56271" marB="56271">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33479539"/>
                  </a:ext>
                </a:extLst>
              </a:tr>
            </a:tbl>
          </a:graphicData>
        </a:graphic>
      </p:graphicFrame>
      <p:graphicFrame>
        <p:nvGraphicFramePr>
          <p:cNvPr id="14" name="Content Placeholder 10">
            <a:extLst>
              <a:ext uri="{FF2B5EF4-FFF2-40B4-BE49-F238E27FC236}">
                <a16:creationId xmlns:a16="http://schemas.microsoft.com/office/drawing/2014/main" id="{DB298F6C-4961-BFF3-9CA3-DEA5D3F5D06A}"/>
              </a:ext>
            </a:extLst>
          </p:cNvPr>
          <p:cNvGraphicFramePr>
            <a:graphicFrameLocks/>
          </p:cNvGraphicFramePr>
          <p:nvPr>
            <p:extLst>
              <p:ext uri="{D42A27DB-BD31-4B8C-83A1-F6EECF244321}">
                <p14:modId xmlns:p14="http://schemas.microsoft.com/office/powerpoint/2010/main" val="1979671481"/>
              </p:ext>
            </p:extLst>
          </p:nvPr>
        </p:nvGraphicFramePr>
        <p:xfrm>
          <a:off x="484732" y="4535668"/>
          <a:ext cx="3542232" cy="1636542"/>
        </p:xfrm>
        <a:graphic>
          <a:graphicData uri="http://schemas.openxmlformats.org/drawingml/2006/table">
            <a:tbl>
              <a:tblPr firstRow="1" bandRow="1">
                <a:tableStyleId>{5C22544A-7EE6-4342-B048-85BDC9FD1C3A}</a:tableStyleId>
              </a:tblPr>
              <a:tblGrid>
                <a:gridCol w="3542232">
                  <a:extLst>
                    <a:ext uri="{9D8B030D-6E8A-4147-A177-3AD203B41FA5}">
                      <a16:colId xmlns:a16="http://schemas.microsoft.com/office/drawing/2014/main" val="20000"/>
                    </a:ext>
                  </a:extLst>
                </a:gridCol>
              </a:tblGrid>
              <a:tr h="150921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1" kern="1200" dirty="0">
                          <a:solidFill>
                            <a:schemeClr val="tx2"/>
                          </a:solidFill>
                          <a:latin typeface="+mn-lt"/>
                          <a:ea typeface="+mn-ea"/>
                          <a:cs typeface="+mn-cs"/>
                        </a:rPr>
                        <a:t>Public Companies</a:t>
                      </a:r>
                    </a:p>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GB" sz="1200" b="0" i="0" u="none" strike="noStrike" kern="1200" cap="none" spc="0" normalizeH="0" baseline="0" dirty="0">
                          <a:ln>
                            <a:noFill/>
                          </a:ln>
                          <a:solidFill>
                            <a:schemeClr val="accent3"/>
                          </a:solidFill>
                          <a:effectLst/>
                          <a:uLnTx/>
                          <a:uFillTx/>
                          <a:latin typeface="+mn-lt"/>
                          <a:ea typeface="+mn-ea"/>
                          <a:cs typeface="+mn-cs"/>
                        </a:rPr>
                        <a:t>Strategic Allocation: 30%-40%</a:t>
                      </a:r>
                      <a:br>
                        <a:rPr kumimoji="0" lang="en-GB" sz="1200" b="0" i="0" u="none" strike="noStrike" kern="1200" cap="none" spc="0" normalizeH="0" baseline="0" dirty="0">
                          <a:ln>
                            <a:noFill/>
                          </a:ln>
                          <a:solidFill>
                            <a:schemeClr val="accent3"/>
                          </a:solidFill>
                          <a:effectLst/>
                          <a:uLnTx/>
                          <a:uFillTx/>
                          <a:latin typeface="+mn-lt"/>
                          <a:ea typeface="+mn-ea"/>
                          <a:cs typeface="+mn-cs"/>
                        </a:rPr>
                      </a:br>
                      <a:br>
                        <a:rPr kumimoji="0" lang="en-GB" sz="1200" b="0" i="0" u="none" strike="noStrike" kern="1200" cap="none" spc="0" normalizeH="0" baseline="0" dirty="0">
                          <a:ln>
                            <a:noFill/>
                          </a:ln>
                          <a:solidFill>
                            <a:schemeClr val="accent3"/>
                          </a:solidFill>
                          <a:effectLst/>
                          <a:uLnTx/>
                          <a:uFillTx/>
                          <a:latin typeface="+mn-lt"/>
                          <a:ea typeface="+mn-ea"/>
                          <a:cs typeface="+mn-cs"/>
                        </a:rPr>
                      </a:br>
                      <a:br>
                        <a:rPr kumimoji="0" lang="en-GB" sz="1200" b="0" i="0" u="none" strike="noStrike" kern="1200" cap="none" spc="0" normalizeH="0" baseline="0" dirty="0">
                          <a:ln>
                            <a:noFill/>
                          </a:ln>
                          <a:solidFill>
                            <a:schemeClr val="accent3"/>
                          </a:solidFill>
                          <a:effectLst/>
                          <a:uLnTx/>
                          <a:uFillTx/>
                          <a:latin typeface="+mn-lt"/>
                          <a:ea typeface="+mn-ea"/>
                          <a:cs typeface="+mn-cs"/>
                        </a:rPr>
                      </a:br>
                      <a:br>
                        <a:rPr kumimoji="0" lang="en-GB" sz="1200" b="0" i="0" u="none" strike="noStrike" kern="1200" cap="none" spc="0" normalizeH="0" baseline="0" dirty="0">
                          <a:ln>
                            <a:noFill/>
                          </a:ln>
                          <a:solidFill>
                            <a:schemeClr val="accent3"/>
                          </a:solidFill>
                          <a:effectLst/>
                          <a:uLnTx/>
                          <a:uFillTx/>
                          <a:latin typeface="+mn-lt"/>
                          <a:ea typeface="+mn-ea"/>
                          <a:cs typeface="+mn-cs"/>
                        </a:rPr>
                      </a:br>
                      <a:br>
                        <a:rPr kumimoji="0" lang="en-GB" sz="1200" b="0" i="0" u="none" strike="noStrike" kern="1200" cap="none" spc="0" normalizeH="0" baseline="0" dirty="0">
                          <a:ln>
                            <a:noFill/>
                          </a:ln>
                          <a:solidFill>
                            <a:schemeClr val="accent3"/>
                          </a:solidFill>
                          <a:effectLst/>
                          <a:uLnTx/>
                          <a:uFillTx/>
                          <a:latin typeface="+mn-lt"/>
                          <a:ea typeface="+mn-ea"/>
                          <a:cs typeface="+mn-cs"/>
                        </a:rPr>
                      </a:br>
                      <a:br>
                        <a:rPr kumimoji="0" lang="en-GB" sz="1200" b="0" i="0" u="none" strike="noStrike" kern="1200" cap="none" spc="0" normalizeH="0" baseline="0" dirty="0">
                          <a:ln>
                            <a:noFill/>
                          </a:ln>
                          <a:solidFill>
                            <a:schemeClr val="accent3"/>
                          </a:solidFill>
                          <a:effectLst/>
                          <a:uLnTx/>
                          <a:uFillTx/>
                          <a:latin typeface="+mn-lt"/>
                          <a:ea typeface="+mn-ea"/>
                          <a:cs typeface="+mn-cs"/>
                        </a:rPr>
                      </a:br>
                      <a:endParaRPr kumimoji="0" lang="en-GB" sz="1200" b="0" i="0" u="none" strike="noStrike" kern="1200" cap="none" spc="0" normalizeH="0" baseline="0" dirty="0">
                        <a:ln>
                          <a:noFill/>
                        </a:ln>
                        <a:solidFill>
                          <a:schemeClr val="accent3"/>
                        </a:solidFill>
                        <a:effectLst/>
                        <a:uLnTx/>
                        <a:uFillTx/>
                        <a:latin typeface="+mn-lt"/>
                        <a:ea typeface="+mn-ea"/>
                        <a:cs typeface="+mn-cs"/>
                      </a:endParaRPr>
                    </a:p>
                  </a:txBody>
                  <a:tcPr marL="112542" marR="112542" marT="56271" marB="56271">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33479539"/>
                  </a:ext>
                </a:extLst>
              </a:tr>
            </a:tbl>
          </a:graphicData>
        </a:graphic>
      </p:graphicFrame>
      <p:graphicFrame>
        <p:nvGraphicFramePr>
          <p:cNvPr id="15" name="Content Placeholder 10">
            <a:extLst>
              <a:ext uri="{FF2B5EF4-FFF2-40B4-BE49-F238E27FC236}">
                <a16:creationId xmlns:a16="http://schemas.microsoft.com/office/drawing/2014/main" id="{7BA489AF-A318-62C7-1C5A-060DC9511749}"/>
              </a:ext>
            </a:extLst>
          </p:cNvPr>
          <p:cNvGraphicFramePr>
            <a:graphicFrameLocks/>
          </p:cNvGraphicFramePr>
          <p:nvPr>
            <p:extLst>
              <p:ext uri="{D42A27DB-BD31-4B8C-83A1-F6EECF244321}">
                <p14:modId xmlns:p14="http://schemas.microsoft.com/office/powerpoint/2010/main" val="2092003150"/>
              </p:ext>
            </p:extLst>
          </p:nvPr>
        </p:nvGraphicFramePr>
        <p:xfrm>
          <a:off x="8081776" y="4545496"/>
          <a:ext cx="3542232" cy="1636542"/>
        </p:xfrm>
        <a:graphic>
          <a:graphicData uri="http://schemas.openxmlformats.org/drawingml/2006/table">
            <a:tbl>
              <a:tblPr firstRow="1" bandRow="1">
                <a:tableStyleId>{5C22544A-7EE6-4342-B048-85BDC9FD1C3A}</a:tableStyleId>
              </a:tblPr>
              <a:tblGrid>
                <a:gridCol w="3542232">
                  <a:extLst>
                    <a:ext uri="{9D8B030D-6E8A-4147-A177-3AD203B41FA5}">
                      <a16:colId xmlns:a16="http://schemas.microsoft.com/office/drawing/2014/main" val="20000"/>
                    </a:ext>
                  </a:extLst>
                </a:gridCol>
              </a:tblGrid>
              <a:tr h="143028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1" kern="1200" dirty="0">
                          <a:solidFill>
                            <a:schemeClr val="tx2"/>
                          </a:solidFill>
                          <a:latin typeface="+mn-lt"/>
                          <a:ea typeface="+mn-ea"/>
                          <a:cs typeface="+mn-cs"/>
                        </a:rPr>
                        <a:t>Funds</a:t>
                      </a:r>
                    </a:p>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GB" sz="1200" b="0" i="0" u="none" strike="noStrike" kern="1200" cap="none" spc="0" normalizeH="0" baseline="0" dirty="0">
                          <a:ln>
                            <a:noFill/>
                          </a:ln>
                          <a:solidFill>
                            <a:schemeClr val="accent3"/>
                          </a:solidFill>
                          <a:effectLst/>
                          <a:uLnTx/>
                          <a:uFillTx/>
                          <a:latin typeface="+mn-lt"/>
                          <a:ea typeface="+mn-ea"/>
                          <a:cs typeface="+mn-cs"/>
                        </a:rPr>
                        <a:t>Strategic Allocation: 25%-35%</a:t>
                      </a:r>
                      <a:br>
                        <a:rPr kumimoji="0" lang="en-GB" sz="1200" b="0" i="0" u="none" strike="noStrike" kern="1200" cap="none" spc="0" normalizeH="0" baseline="0" dirty="0">
                          <a:ln>
                            <a:noFill/>
                          </a:ln>
                          <a:solidFill>
                            <a:schemeClr val="accent3"/>
                          </a:solidFill>
                          <a:effectLst/>
                          <a:uLnTx/>
                          <a:uFillTx/>
                          <a:latin typeface="+mn-lt"/>
                          <a:ea typeface="+mn-ea"/>
                          <a:cs typeface="+mn-cs"/>
                        </a:rPr>
                      </a:br>
                      <a:br>
                        <a:rPr kumimoji="0" lang="en-GB" sz="1200" b="0" i="0" u="none" strike="noStrike" kern="1200" cap="none" spc="0" normalizeH="0" baseline="0" dirty="0">
                          <a:ln>
                            <a:noFill/>
                          </a:ln>
                          <a:solidFill>
                            <a:schemeClr val="accent3"/>
                          </a:solidFill>
                          <a:effectLst/>
                          <a:uLnTx/>
                          <a:uFillTx/>
                          <a:latin typeface="+mn-lt"/>
                          <a:ea typeface="+mn-ea"/>
                          <a:cs typeface="+mn-cs"/>
                        </a:rPr>
                      </a:br>
                      <a:br>
                        <a:rPr kumimoji="0" lang="en-GB" sz="1200" b="0" i="0" u="none" strike="noStrike" kern="1200" cap="none" spc="0" normalizeH="0" baseline="0" dirty="0">
                          <a:ln>
                            <a:noFill/>
                          </a:ln>
                          <a:solidFill>
                            <a:schemeClr val="accent3"/>
                          </a:solidFill>
                          <a:effectLst/>
                          <a:uLnTx/>
                          <a:uFillTx/>
                          <a:latin typeface="+mn-lt"/>
                          <a:ea typeface="+mn-ea"/>
                          <a:cs typeface="+mn-cs"/>
                        </a:rPr>
                      </a:br>
                      <a:br>
                        <a:rPr kumimoji="0" lang="en-GB" sz="1200" b="0" i="0" u="none" strike="noStrike" kern="1200" cap="none" spc="0" normalizeH="0" baseline="0" dirty="0">
                          <a:ln>
                            <a:noFill/>
                          </a:ln>
                          <a:solidFill>
                            <a:schemeClr val="accent3"/>
                          </a:solidFill>
                          <a:effectLst/>
                          <a:uLnTx/>
                          <a:uFillTx/>
                          <a:latin typeface="+mn-lt"/>
                          <a:ea typeface="+mn-ea"/>
                          <a:cs typeface="+mn-cs"/>
                        </a:rPr>
                      </a:br>
                      <a:br>
                        <a:rPr kumimoji="0" lang="en-GB" sz="1200" b="0" i="0" u="none" strike="noStrike" kern="1200" cap="none" spc="0" normalizeH="0" baseline="0" dirty="0">
                          <a:ln>
                            <a:noFill/>
                          </a:ln>
                          <a:solidFill>
                            <a:schemeClr val="accent3"/>
                          </a:solidFill>
                          <a:effectLst/>
                          <a:uLnTx/>
                          <a:uFillTx/>
                          <a:latin typeface="+mn-lt"/>
                          <a:ea typeface="+mn-ea"/>
                          <a:cs typeface="+mn-cs"/>
                        </a:rPr>
                      </a:br>
                      <a:br>
                        <a:rPr kumimoji="0" lang="en-GB" sz="1200" b="0" i="0" u="none" strike="noStrike" kern="1200" cap="none" spc="0" normalizeH="0" baseline="0" dirty="0">
                          <a:ln>
                            <a:noFill/>
                          </a:ln>
                          <a:solidFill>
                            <a:schemeClr val="accent3"/>
                          </a:solidFill>
                          <a:effectLst/>
                          <a:uLnTx/>
                          <a:uFillTx/>
                          <a:latin typeface="+mn-lt"/>
                          <a:ea typeface="+mn-ea"/>
                          <a:cs typeface="+mn-cs"/>
                        </a:rPr>
                      </a:br>
                      <a:endParaRPr kumimoji="0" lang="en-GB" sz="1200" b="0" i="0" u="none" strike="noStrike" kern="1200" cap="none" spc="0" normalizeH="0" baseline="0" dirty="0">
                        <a:ln>
                          <a:noFill/>
                        </a:ln>
                        <a:solidFill>
                          <a:schemeClr val="accent3"/>
                        </a:solidFill>
                        <a:effectLst/>
                        <a:uLnTx/>
                        <a:uFillTx/>
                        <a:latin typeface="+mn-lt"/>
                        <a:ea typeface="+mn-ea"/>
                        <a:cs typeface="+mn-cs"/>
                      </a:endParaRPr>
                    </a:p>
                  </a:txBody>
                  <a:tcPr marL="112542" marR="112542" marT="56271" marB="56271">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33479539"/>
                  </a:ext>
                </a:extLst>
              </a:tr>
            </a:tbl>
          </a:graphicData>
        </a:graphic>
      </p:graphicFrame>
      <p:pic>
        <p:nvPicPr>
          <p:cNvPr id="21" name="Graphic 20" descr="Bar graph with upward trend outline">
            <a:extLst>
              <a:ext uri="{FF2B5EF4-FFF2-40B4-BE49-F238E27FC236}">
                <a16:creationId xmlns:a16="http://schemas.microsoft.com/office/drawing/2014/main" id="{FA8DC16F-8282-FEEC-6605-C718226F39A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787693" y="2152955"/>
            <a:ext cx="612000" cy="601317"/>
          </a:xfrm>
          <a:prstGeom prst="rect">
            <a:avLst/>
          </a:prstGeom>
        </p:spPr>
      </p:pic>
      <p:pic>
        <p:nvPicPr>
          <p:cNvPr id="24" name="Graphic 23" descr="Bullseye outline">
            <a:extLst>
              <a:ext uri="{FF2B5EF4-FFF2-40B4-BE49-F238E27FC236}">
                <a16:creationId xmlns:a16="http://schemas.microsoft.com/office/drawing/2014/main" id="{A7397A29-CB3B-1C5C-4B31-B07B8C2B114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659612" y="2152953"/>
            <a:ext cx="612000" cy="612000"/>
          </a:xfrm>
          <a:prstGeom prst="rect">
            <a:avLst/>
          </a:prstGeom>
        </p:spPr>
      </p:pic>
      <p:sp>
        <p:nvSpPr>
          <p:cNvPr id="26" name="TextBox 25">
            <a:extLst>
              <a:ext uri="{FF2B5EF4-FFF2-40B4-BE49-F238E27FC236}">
                <a16:creationId xmlns:a16="http://schemas.microsoft.com/office/drawing/2014/main" id="{CEECDD54-EDAD-2C7C-38AA-69EC3F8746FF}"/>
              </a:ext>
            </a:extLst>
          </p:cNvPr>
          <p:cNvSpPr txBox="1"/>
          <p:nvPr/>
        </p:nvSpPr>
        <p:spPr>
          <a:xfrm>
            <a:off x="600890" y="3789750"/>
            <a:ext cx="11276782" cy="369332"/>
          </a:xfrm>
          <a:prstGeom prst="rect">
            <a:avLst/>
          </a:prstGeom>
          <a:noFill/>
        </p:spPr>
        <p:txBody>
          <a:bodyPr wrap="square" rtlCol="0">
            <a:spAutoFit/>
          </a:bodyPr>
          <a:lstStyle/>
          <a:p>
            <a:pPr algn="ctr"/>
            <a:r>
              <a:rPr lang="en-US" b="1" dirty="0">
                <a:solidFill>
                  <a:schemeClr val="tx2"/>
                </a:solidFill>
              </a:rPr>
              <a:t>Across three investment pools</a:t>
            </a:r>
          </a:p>
        </p:txBody>
      </p:sp>
      <p:sp>
        <p:nvSpPr>
          <p:cNvPr id="27" name="TextBox 26">
            <a:extLst>
              <a:ext uri="{FF2B5EF4-FFF2-40B4-BE49-F238E27FC236}">
                <a16:creationId xmlns:a16="http://schemas.microsoft.com/office/drawing/2014/main" id="{CD6C71D9-66FF-4E7E-F138-EA9968287F9E}"/>
              </a:ext>
            </a:extLst>
          </p:cNvPr>
          <p:cNvSpPr txBox="1"/>
          <p:nvPr/>
        </p:nvSpPr>
        <p:spPr>
          <a:xfrm>
            <a:off x="8118410" y="2842950"/>
            <a:ext cx="3535812"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1" kern="1200" dirty="0">
                <a:solidFill>
                  <a:schemeClr val="tx2"/>
                </a:solidFill>
                <a:latin typeface="+mn-lt"/>
                <a:ea typeface="+mn-ea"/>
                <a:cs typeface="+mn-cs"/>
              </a:rPr>
              <a:t>Well managed with strong alignment</a:t>
            </a:r>
          </a:p>
          <a:p>
            <a:pPr algn="ctr"/>
            <a:endParaRPr lang="en-GB" sz="1600" dirty="0"/>
          </a:p>
        </p:txBody>
      </p:sp>
      <p:pic>
        <p:nvPicPr>
          <p:cNvPr id="31" name="Graphic 30" descr="Boardroom outline">
            <a:extLst>
              <a:ext uri="{FF2B5EF4-FFF2-40B4-BE49-F238E27FC236}">
                <a16:creationId xmlns:a16="http://schemas.microsoft.com/office/drawing/2014/main" id="{618ED90C-7AA8-5C11-6837-666C859530F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575191" y="2152953"/>
            <a:ext cx="612000" cy="612000"/>
          </a:xfrm>
          <a:prstGeom prst="rect">
            <a:avLst/>
          </a:prstGeom>
        </p:spPr>
      </p:pic>
      <p:cxnSp>
        <p:nvCxnSpPr>
          <p:cNvPr id="33" name="Straight Connector 32">
            <a:extLst>
              <a:ext uri="{FF2B5EF4-FFF2-40B4-BE49-F238E27FC236}">
                <a16:creationId xmlns:a16="http://schemas.microsoft.com/office/drawing/2014/main" id="{9953B20C-A50D-393A-0BCE-72DF0F53A234}"/>
              </a:ext>
            </a:extLst>
          </p:cNvPr>
          <p:cNvCxnSpPr>
            <a:cxnSpLocks/>
          </p:cNvCxnSpPr>
          <p:nvPr/>
        </p:nvCxnSpPr>
        <p:spPr>
          <a:xfrm>
            <a:off x="484732" y="4527681"/>
            <a:ext cx="3542232" cy="0"/>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0D3811-24E5-C774-9E70-962130558450}"/>
              </a:ext>
            </a:extLst>
          </p:cNvPr>
          <p:cNvCxnSpPr>
            <a:cxnSpLocks/>
          </p:cNvCxnSpPr>
          <p:nvPr/>
        </p:nvCxnSpPr>
        <p:spPr>
          <a:xfrm>
            <a:off x="4305149" y="4535668"/>
            <a:ext cx="3542232"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26E2F676-6B84-E09D-A99D-A2709E9E6A3B}"/>
              </a:ext>
            </a:extLst>
          </p:cNvPr>
          <p:cNvCxnSpPr>
            <a:cxnSpLocks/>
          </p:cNvCxnSpPr>
          <p:nvPr/>
        </p:nvCxnSpPr>
        <p:spPr>
          <a:xfrm>
            <a:off x="8081776" y="4545496"/>
            <a:ext cx="3542232" cy="0"/>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sp>
        <p:nvSpPr>
          <p:cNvPr id="34" name="Flowchart: Connector 33">
            <a:extLst>
              <a:ext uri="{FF2B5EF4-FFF2-40B4-BE49-F238E27FC236}">
                <a16:creationId xmlns:a16="http://schemas.microsoft.com/office/drawing/2014/main" id="{E84B7916-4377-CFCA-340E-E2D9C4062E0C}"/>
              </a:ext>
            </a:extLst>
          </p:cNvPr>
          <p:cNvSpPr/>
          <p:nvPr/>
        </p:nvSpPr>
        <p:spPr>
          <a:xfrm>
            <a:off x="7422312" y="4411830"/>
            <a:ext cx="455520" cy="439066"/>
          </a:xfrm>
          <a:prstGeom prst="flowChartConnector">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3" name="Group 2">
            <a:extLst>
              <a:ext uri="{FF2B5EF4-FFF2-40B4-BE49-F238E27FC236}">
                <a16:creationId xmlns:a16="http://schemas.microsoft.com/office/drawing/2014/main" id="{1EEBA3E4-D26D-7BF9-DB2E-CCE89603E0B7}"/>
              </a:ext>
            </a:extLst>
          </p:cNvPr>
          <p:cNvGrpSpPr/>
          <p:nvPr/>
        </p:nvGrpSpPr>
        <p:grpSpPr>
          <a:xfrm>
            <a:off x="7257231" y="4008423"/>
            <a:ext cx="1173135" cy="1189992"/>
            <a:chOff x="1618837" y="4506085"/>
            <a:chExt cx="1173135" cy="1189992"/>
          </a:xfrm>
        </p:grpSpPr>
        <p:graphicFrame>
          <p:nvGraphicFramePr>
            <p:cNvPr id="8" name="Content Placeholder 9">
              <a:extLst>
                <a:ext uri="{FF2B5EF4-FFF2-40B4-BE49-F238E27FC236}">
                  <a16:creationId xmlns:a16="http://schemas.microsoft.com/office/drawing/2014/main" id="{82EFDDAE-4FDA-9243-5835-4F6314D031B4}"/>
                </a:ext>
              </a:extLst>
            </p:cNvPr>
            <p:cNvGraphicFramePr>
              <a:graphicFrameLocks/>
            </p:cNvGraphicFramePr>
            <p:nvPr/>
          </p:nvGraphicFramePr>
          <p:xfrm>
            <a:off x="1618837" y="4506085"/>
            <a:ext cx="1173135" cy="1189992"/>
          </p:xfrm>
          <a:graphic>
            <a:graphicData uri="http://schemas.openxmlformats.org/drawingml/2006/chart">
              <c:chart xmlns:c="http://schemas.openxmlformats.org/drawingml/2006/chart" xmlns:r="http://schemas.openxmlformats.org/officeDocument/2006/relationships" r:id="rId9"/>
            </a:graphicData>
          </a:graphic>
        </p:graphicFrame>
        <p:sp>
          <p:nvSpPr>
            <p:cNvPr id="16" name="TextBox 15">
              <a:extLst>
                <a:ext uri="{FF2B5EF4-FFF2-40B4-BE49-F238E27FC236}">
                  <a16:creationId xmlns:a16="http://schemas.microsoft.com/office/drawing/2014/main" id="{17EA6EE4-966C-3E53-FB08-742E66A47F81}"/>
                </a:ext>
              </a:extLst>
            </p:cNvPr>
            <p:cNvSpPr txBox="1"/>
            <p:nvPr/>
          </p:nvSpPr>
          <p:spPr>
            <a:xfrm>
              <a:off x="1762097" y="4914213"/>
              <a:ext cx="546945" cy="430887"/>
            </a:xfrm>
            <a:prstGeom prst="rect">
              <a:avLst/>
            </a:prstGeom>
            <a:noFill/>
          </p:spPr>
          <p:txBody>
            <a:bodyPr wrap="none" rtlCol="0">
              <a:spAutoFit/>
            </a:bodyPr>
            <a:lstStyle/>
            <a:p>
              <a:pPr algn="ctr"/>
              <a:r>
                <a:rPr lang="en-GB" sz="1400" b="1" dirty="0">
                  <a:solidFill>
                    <a:schemeClr val="tx2"/>
                  </a:solidFill>
                </a:rPr>
                <a:t>30</a:t>
              </a:r>
              <a:r>
                <a:rPr lang="en-GB" sz="1200" b="1" dirty="0">
                  <a:solidFill>
                    <a:schemeClr val="tx2"/>
                  </a:solidFill>
                </a:rPr>
                <a:t>%</a:t>
              </a:r>
            </a:p>
            <a:p>
              <a:pPr algn="ctr"/>
              <a:r>
                <a:rPr lang="en-GB" sz="800" dirty="0">
                  <a:solidFill>
                    <a:schemeClr val="tx2"/>
                  </a:solidFill>
                </a:rPr>
                <a:t>NAV</a:t>
              </a:r>
            </a:p>
          </p:txBody>
        </p:sp>
      </p:grpSp>
      <p:sp>
        <p:nvSpPr>
          <p:cNvPr id="32" name="Flowchart: Connector 31">
            <a:extLst>
              <a:ext uri="{FF2B5EF4-FFF2-40B4-BE49-F238E27FC236}">
                <a16:creationId xmlns:a16="http://schemas.microsoft.com/office/drawing/2014/main" id="{55D70D15-E7A1-F700-589C-C6369BBCC07A}"/>
              </a:ext>
            </a:extLst>
          </p:cNvPr>
          <p:cNvSpPr/>
          <p:nvPr/>
        </p:nvSpPr>
        <p:spPr>
          <a:xfrm>
            <a:off x="3602980" y="4464902"/>
            <a:ext cx="455520" cy="439066"/>
          </a:xfrm>
          <a:prstGeom prst="flowChartConnector">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1" name="Flowchart: Connector 40">
            <a:extLst>
              <a:ext uri="{FF2B5EF4-FFF2-40B4-BE49-F238E27FC236}">
                <a16:creationId xmlns:a16="http://schemas.microsoft.com/office/drawing/2014/main" id="{25719E43-3D3F-EB1D-7911-478D4418DF84}"/>
              </a:ext>
            </a:extLst>
          </p:cNvPr>
          <p:cNvSpPr/>
          <p:nvPr/>
        </p:nvSpPr>
        <p:spPr>
          <a:xfrm>
            <a:off x="11266250" y="4386869"/>
            <a:ext cx="455520" cy="439066"/>
          </a:xfrm>
          <a:prstGeom prst="flowChartConnector">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22" name="Group 21">
            <a:extLst>
              <a:ext uri="{FF2B5EF4-FFF2-40B4-BE49-F238E27FC236}">
                <a16:creationId xmlns:a16="http://schemas.microsoft.com/office/drawing/2014/main" id="{B5595FFE-1D7C-A1D7-CFBC-6A5F8B259C32}"/>
              </a:ext>
            </a:extLst>
          </p:cNvPr>
          <p:cNvGrpSpPr/>
          <p:nvPr/>
        </p:nvGrpSpPr>
        <p:grpSpPr>
          <a:xfrm>
            <a:off x="11076059" y="3977501"/>
            <a:ext cx="1173135" cy="1189992"/>
            <a:chOff x="6955234" y="4472772"/>
            <a:chExt cx="1173135" cy="1189992"/>
          </a:xfrm>
        </p:grpSpPr>
        <p:graphicFrame>
          <p:nvGraphicFramePr>
            <p:cNvPr id="23" name="Content Placeholder 9">
              <a:extLst>
                <a:ext uri="{FF2B5EF4-FFF2-40B4-BE49-F238E27FC236}">
                  <a16:creationId xmlns:a16="http://schemas.microsoft.com/office/drawing/2014/main" id="{F40E5109-AEA3-8AA2-2E71-69B4E8701A88}"/>
                </a:ext>
              </a:extLst>
            </p:cNvPr>
            <p:cNvGraphicFramePr>
              <a:graphicFrameLocks/>
            </p:cNvGraphicFramePr>
            <p:nvPr/>
          </p:nvGraphicFramePr>
          <p:xfrm>
            <a:off x="6955234" y="4472772"/>
            <a:ext cx="1173135" cy="1189992"/>
          </p:xfrm>
          <a:graphic>
            <a:graphicData uri="http://schemas.openxmlformats.org/drawingml/2006/chart">
              <c:chart xmlns:c="http://schemas.openxmlformats.org/drawingml/2006/chart" xmlns:r="http://schemas.openxmlformats.org/officeDocument/2006/relationships" r:id="rId10"/>
            </a:graphicData>
          </a:graphic>
        </p:graphicFrame>
        <p:sp>
          <p:nvSpPr>
            <p:cNvPr id="25" name="TextBox 24">
              <a:extLst>
                <a:ext uri="{FF2B5EF4-FFF2-40B4-BE49-F238E27FC236}">
                  <a16:creationId xmlns:a16="http://schemas.microsoft.com/office/drawing/2014/main" id="{ABE77F88-5222-9AC8-447D-FA8C11263E2C}"/>
                </a:ext>
              </a:extLst>
            </p:cNvPr>
            <p:cNvSpPr txBox="1"/>
            <p:nvPr/>
          </p:nvSpPr>
          <p:spPr>
            <a:xfrm>
              <a:off x="7098865" y="4896629"/>
              <a:ext cx="546945" cy="430887"/>
            </a:xfrm>
            <a:prstGeom prst="rect">
              <a:avLst/>
            </a:prstGeom>
            <a:noFill/>
          </p:spPr>
          <p:txBody>
            <a:bodyPr wrap="none" rtlCol="0">
              <a:spAutoFit/>
            </a:bodyPr>
            <a:lstStyle/>
            <a:p>
              <a:pPr algn="ctr"/>
              <a:r>
                <a:rPr lang="en-GB" sz="1400" b="1">
                  <a:solidFill>
                    <a:schemeClr val="tx2"/>
                  </a:solidFill>
                </a:rPr>
                <a:t>31</a:t>
              </a:r>
              <a:r>
                <a:rPr lang="en-GB" sz="1200" b="1">
                  <a:solidFill>
                    <a:schemeClr val="tx2"/>
                  </a:solidFill>
                </a:rPr>
                <a:t>%</a:t>
              </a:r>
            </a:p>
            <a:p>
              <a:pPr algn="ctr"/>
              <a:r>
                <a:rPr lang="en-GB" sz="800">
                  <a:solidFill>
                    <a:schemeClr val="tx2"/>
                  </a:solidFill>
                </a:rPr>
                <a:t>NAV</a:t>
              </a:r>
            </a:p>
          </p:txBody>
        </p:sp>
      </p:grpSp>
      <p:graphicFrame>
        <p:nvGraphicFramePr>
          <p:cNvPr id="42" name="Content Placeholder 9">
            <a:extLst>
              <a:ext uri="{FF2B5EF4-FFF2-40B4-BE49-F238E27FC236}">
                <a16:creationId xmlns:a16="http://schemas.microsoft.com/office/drawing/2014/main" id="{CE75E9A5-EF4B-7248-4CB8-290F40E10760}"/>
              </a:ext>
            </a:extLst>
          </p:cNvPr>
          <p:cNvGraphicFramePr>
            <a:graphicFrameLocks/>
          </p:cNvGraphicFramePr>
          <p:nvPr/>
        </p:nvGraphicFramePr>
        <p:xfrm>
          <a:off x="3438403" y="4053299"/>
          <a:ext cx="1173135" cy="1189992"/>
        </p:xfrm>
        <a:graphic>
          <a:graphicData uri="http://schemas.openxmlformats.org/drawingml/2006/chart">
            <c:chart xmlns:c="http://schemas.openxmlformats.org/drawingml/2006/chart" xmlns:r="http://schemas.openxmlformats.org/officeDocument/2006/relationships" r:id="rId11"/>
          </a:graphicData>
        </a:graphic>
      </p:graphicFrame>
      <p:sp>
        <p:nvSpPr>
          <p:cNvPr id="43" name="TextBox 42">
            <a:extLst>
              <a:ext uri="{FF2B5EF4-FFF2-40B4-BE49-F238E27FC236}">
                <a16:creationId xmlns:a16="http://schemas.microsoft.com/office/drawing/2014/main" id="{25679870-62BC-1E5E-A424-437E0B7C33AE}"/>
              </a:ext>
            </a:extLst>
          </p:cNvPr>
          <p:cNvSpPr txBox="1"/>
          <p:nvPr/>
        </p:nvSpPr>
        <p:spPr>
          <a:xfrm>
            <a:off x="3582034" y="4470672"/>
            <a:ext cx="546945" cy="430887"/>
          </a:xfrm>
          <a:prstGeom prst="rect">
            <a:avLst/>
          </a:prstGeom>
          <a:noFill/>
        </p:spPr>
        <p:txBody>
          <a:bodyPr wrap="none" rtlCol="0">
            <a:spAutoFit/>
          </a:bodyPr>
          <a:lstStyle/>
          <a:p>
            <a:pPr algn="ctr"/>
            <a:r>
              <a:rPr lang="en-GB" sz="1400" b="1" dirty="0">
                <a:solidFill>
                  <a:schemeClr val="tx2"/>
                </a:solidFill>
              </a:rPr>
              <a:t>33</a:t>
            </a:r>
            <a:r>
              <a:rPr lang="en-GB" sz="1200" b="1" dirty="0">
                <a:solidFill>
                  <a:schemeClr val="tx2"/>
                </a:solidFill>
              </a:rPr>
              <a:t>%</a:t>
            </a:r>
          </a:p>
          <a:p>
            <a:pPr algn="ctr"/>
            <a:r>
              <a:rPr lang="en-GB" sz="800" dirty="0">
                <a:solidFill>
                  <a:schemeClr val="tx2"/>
                </a:solidFill>
              </a:rPr>
              <a:t>NAV</a:t>
            </a:r>
          </a:p>
        </p:txBody>
      </p:sp>
      <p:sp>
        <p:nvSpPr>
          <p:cNvPr id="17" name="TextBox 16">
            <a:extLst>
              <a:ext uri="{FF2B5EF4-FFF2-40B4-BE49-F238E27FC236}">
                <a16:creationId xmlns:a16="http://schemas.microsoft.com/office/drawing/2014/main" id="{1EDEA1AE-6B6E-AD4F-0345-BFFAE89C3DDE}"/>
              </a:ext>
            </a:extLst>
          </p:cNvPr>
          <p:cNvSpPr txBox="1"/>
          <p:nvPr/>
        </p:nvSpPr>
        <p:spPr>
          <a:xfrm>
            <a:off x="511175" y="5148101"/>
            <a:ext cx="3479748" cy="892552"/>
          </a:xfrm>
          <a:prstGeom prst="rect">
            <a:avLst/>
          </a:prstGeom>
          <a:noFill/>
        </p:spPr>
        <p:txBody>
          <a:bodyPr wrap="square" rtlCol="0">
            <a:spAutoFit/>
          </a:bodyPr>
          <a:lstStyle/>
          <a:p>
            <a:pPr marL="285750" indent="-285750">
              <a:buClr>
                <a:schemeClr val="tx2"/>
              </a:buClr>
              <a:buFont typeface="Arial" panose="020B0604020202020204" pitchFamily="34" charset="0"/>
              <a:buChar char="•"/>
            </a:pPr>
            <a:r>
              <a:rPr kumimoji="0" lang="en-GB" sz="1300" b="0" i="0" u="none" strike="noStrike" kern="1200" cap="none" spc="0" normalizeH="0" baseline="0" dirty="0">
                <a:ln>
                  <a:noFill/>
                </a:ln>
                <a:solidFill>
                  <a:srgbClr val="4D4E53"/>
                </a:solidFill>
                <a:effectLst/>
                <a:uLnTx/>
                <a:uFillTx/>
                <a:latin typeface="+mn-lt"/>
                <a:ea typeface="+mn-ea"/>
                <a:cs typeface="+mn-cs"/>
              </a:rPr>
              <a:t>Global portfolio of c.30 companies across two strategies – Capital and income</a:t>
            </a:r>
          </a:p>
          <a:p>
            <a:pPr marL="285750" indent="-285750">
              <a:buClr>
                <a:schemeClr val="tx2"/>
              </a:buClr>
              <a:buFont typeface="Arial" panose="020B0604020202020204" pitchFamily="34" charset="0"/>
              <a:buChar char="•"/>
            </a:pPr>
            <a:r>
              <a:rPr lang="en-GB" sz="1300" dirty="0">
                <a:solidFill>
                  <a:srgbClr val="4D4E53"/>
                </a:solidFill>
              </a:rPr>
              <a:t>Returns of </a:t>
            </a:r>
            <a:r>
              <a:rPr lang="en-GB" sz="1300" b="1" dirty="0">
                <a:solidFill>
                  <a:schemeClr val="tx2"/>
                </a:solidFill>
              </a:rPr>
              <a:t>8.4% p.a</a:t>
            </a:r>
            <a:r>
              <a:rPr lang="en-GB" sz="1300" dirty="0">
                <a:solidFill>
                  <a:srgbClr val="4D4E53"/>
                </a:solidFill>
              </a:rPr>
              <a:t>. over 10 years</a:t>
            </a:r>
            <a:endParaRPr kumimoji="0" lang="en-GB" sz="1300" b="0" i="0" u="none" strike="noStrike" kern="1200" cap="none" spc="0" normalizeH="0" baseline="0" dirty="0">
              <a:ln>
                <a:noFill/>
              </a:ln>
              <a:solidFill>
                <a:srgbClr val="4D4E53"/>
              </a:solidFill>
              <a:effectLst/>
              <a:uLnTx/>
              <a:uFillTx/>
              <a:latin typeface="+mn-lt"/>
              <a:ea typeface="+mn-ea"/>
              <a:cs typeface="+mn-cs"/>
            </a:endParaRPr>
          </a:p>
          <a:p>
            <a:pPr marL="285750" indent="-285750">
              <a:buFont typeface="Arial" panose="020B0604020202020204" pitchFamily="34" charset="0"/>
              <a:buChar char="•"/>
            </a:pPr>
            <a:endParaRPr lang="en-GB" sz="1300" dirty="0"/>
          </a:p>
        </p:txBody>
      </p:sp>
      <p:sp>
        <p:nvSpPr>
          <p:cNvPr id="18" name="TextBox 17">
            <a:extLst>
              <a:ext uri="{FF2B5EF4-FFF2-40B4-BE49-F238E27FC236}">
                <a16:creationId xmlns:a16="http://schemas.microsoft.com/office/drawing/2014/main" id="{A9A3237D-7679-C91A-E0B6-72B8AE1764BC}"/>
              </a:ext>
            </a:extLst>
          </p:cNvPr>
          <p:cNvSpPr txBox="1"/>
          <p:nvPr/>
        </p:nvSpPr>
        <p:spPr>
          <a:xfrm>
            <a:off x="4311366" y="5148101"/>
            <a:ext cx="3536015" cy="892552"/>
          </a:xfrm>
          <a:prstGeom prst="rect">
            <a:avLst/>
          </a:prstGeom>
          <a:noFill/>
        </p:spPr>
        <p:txBody>
          <a:bodyPr wrap="square" rtlCol="0">
            <a:spAutoFit/>
          </a:bodyPr>
          <a:lstStyle>
            <a:defPPr>
              <a:defRPr lang="en-US"/>
            </a:defPPr>
            <a:lvl1pPr marL="285750" indent="-285750">
              <a:buClr>
                <a:schemeClr val="tx2"/>
              </a:buClr>
              <a:buFont typeface="Arial" panose="020B0604020202020204" pitchFamily="34" charset="0"/>
              <a:buChar char="•"/>
              <a:defRPr kumimoji="0" sz="1400" b="0" i="0" u="none" strike="noStrike" cap="none" spc="0" normalizeH="0" baseline="0">
                <a:ln>
                  <a:noFill/>
                </a:ln>
                <a:solidFill>
                  <a:srgbClr val="4D4E53"/>
                </a:solidFill>
                <a:effectLst/>
                <a:uLnTx/>
                <a:uFillTx/>
              </a:defRPr>
            </a:lvl1pPr>
          </a:lstStyle>
          <a:p>
            <a:r>
              <a:rPr lang="en-GB" sz="1300" dirty="0"/>
              <a:t>Direct investments in high quality, UK mid-market private companies</a:t>
            </a:r>
          </a:p>
          <a:p>
            <a:r>
              <a:rPr lang="en-GB" sz="1300" dirty="0"/>
              <a:t>Portfolio of up to 10 companies</a:t>
            </a:r>
          </a:p>
          <a:p>
            <a:r>
              <a:rPr lang="en-GB" sz="1300" dirty="0"/>
              <a:t>Returns of </a:t>
            </a:r>
            <a:r>
              <a:rPr lang="en-GB" sz="1300" b="1" dirty="0">
                <a:solidFill>
                  <a:schemeClr val="tx2"/>
                </a:solidFill>
              </a:rPr>
              <a:t>12.4% p.a. </a:t>
            </a:r>
            <a:r>
              <a:rPr lang="en-GB" sz="1300" dirty="0"/>
              <a:t>over 10 years</a:t>
            </a:r>
          </a:p>
        </p:txBody>
      </p:sp>
      <p:sp>
        <p:nvSpPr>
          <p:cNvPr id="28" name="TextBox 27">
            <a:extLst>
              <a:ext uri="{FF2B5EF4-FFF2-40B4-BE49-F238E27FC236}">
                <a16:creationId xmlns:a16="http://schemas.microsoft.com/office/drawing/2014/main" id="{7157F7C7-8B12-439B-489C-AD1E1652CA0D}"/>
              </a:ext>
            </a:extLst>
          </p:cNvPr>
          <p:cNvSpPr txBox="1"/>
          <p:nvPr/>
        </p:nvSpPr>
        <p:spPr>
          <a:xfrm>
            <a:off x="8023552" y="5148101"/>
            <a:ext cx="3600456" cy="1092607"/>
          </a:xfrm>
          <a:prstGeom prst="rect">
            <a:avLst/>
          </a:prstGeom>
          <a:noFill/>
        </p:spPr>
        <p:txBody>
          <a:bodyPr wrap="square" rtlCol="0">
            <a:spAutoFit/>
          </a:bodyPr>
          <a:lstStyle>
            <a:defPPr>
              <a:defRPr lang="en-US"/>
            </a:defPPr>
            <a:lvl1pPr marL="285750" indent="-285750">
              <a:buClr>
                <a:schemeClr val="tx2"/>
              </a:buClr>
              <a:buFont typeface="Arial" panose="020B0604020202020204" pitchFamily="34" charset="0"/>
              <a:buChar char="•"/>
              <a:defRPr kumimoji="0" sz="1300" b="0" i="0" u="none" strike="noStrike" cap="none" spc="0" normalizeH="0" baseline="0">
                <a:ln>
                  <a:noFill/>
                </a:ln>
                <a:solidFill>
                  <a:srgbClr val="4D4E53"/>
                </a:solidFill>
                <a:effectLst/>
                <a:uLnTx/>
                <a:uFillTx/>
              </a:defRPr>
            </a:lvl1pPr>
          </a:lstStyle>
          <a:p>
            <a:r>
              <a:rPr lang="en-GB" dirty="0"/>
              <a:t>Proven private equity managers in North American and Asia</a:t>
            </a:r>
          </a:p>
          <a:p>
            <a:r>
              <a:rPr lang="en-GB" dirty="0"/>
              <a:t>Portfolio of &gt;600 companies</a:t>
            </a:r>
          </a:p>
          <a:p>
            <a:r>
              <a:rPr lang="en-GB" dirty="0"/>
              <a:t>Returns of </a:t>
            </a:r>
            <a:r>
              <a:rPr lang="en-GB" b="1" dirty="0">
                <a:solidFill>
                  <a:schemeClr val="tx2"/>
                </a:solidFill>
              </a:rPr>
              <a:t>13.3% p.a. </a:t>
            </a:r>
            <a:r>
              <a:rPr lang="en-GB" dirty="0"/>
              <a:t>over 10 years</a:t>
            </a:r>
          </a:p>
          <a:p>
            <a:endParaRPr lang="en-GB" dirty="0"/>
          </a:p>
        </p:txBody>
      </p:sp>
      <p:sp>
        <p:nvSpPr>
          <p:cNvPr id="20" name="TextBox 19">
            <a:extLst>
              <a:ext uri="{FF2B5EF4-FFF2-40B4-BE49-F238E27FC236}">
                <a16:creationId xmlns:a16="http://schemas.microsoft.com/office/drawing/2014/main" id="{FF194A64-61DC-C6BD-C081-1E78168E5656}"/>
              </a:ext>
            </a:extLst>
          </p:cNvPr>
          <p:cNvSpPr txBox="1"/>
          <p:nvPr/>
        </p:nvSpPr>
        <p:spPr>
          <a:xfrm>
            <a:off x="445615" y="6379532"/>
            <a:ext cx="2400016" cy="338554"/>
          </a:xfrm>
          <a:prstGeom prst="rect">
            <a:avLst/>
          </a:prstGeom>
          <a:noFill/>
        </p:spPr>
        <p:txBody>
          <a:bodyPr wrap="none" rtlCol="0">
            <a:spAutoFit/>
          </a:bodyPr>
          <a:lstStyle/>
          <a:p>
            <a:r>
              <a:rPr lang="en-GB" sz="800" dirty="0"/>
              <a:t>Past performance is not indicative of future results</a:t>
            </a:r>
          </a:p>
          <a:p>
            <a:r>
              <a:rPr lang="en-GB" sz="800" dirty="0"/>
              <a:t>Caledonia financial information at 31 March 2025</a:t>
            </a:r>
          </a:p>
        </p:txBody>
      </p:sp>
    </p:spTree>
    <p:extLst>
      <p:ext uri="{BB962C8B-B14F-4D97-AF65-F5344CB8AC3E}">
        <p14:creationId xmlns:p14="http://schemas.microsoft.com/office/powerpoint/2010/main" val="238581407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Rectangle 62">
            <a:extLst>
              <a:ext uri="{FF2B5EF4-FFF2-40B4-BE49-F238E27FC236}">
                <a16:creationId xmlns:a16="http://schemas.microsoft.com/office/drawing/2014/main" id="{E07FEDDE-CACF-EB91-0779-AD029E5B15CF}"/>
              </a:ext>
            </a:extLst>
          </p:cNvPr>
          <p:cNvSpPr/>
          <p:nvPr/>
        </p:nvSpPr>
        <p:spPr>
          <a:xfrm>
            <a:off x="519824" y="3138021"/>
            <a:ext cx="4830931" cy="1449706"/>
          </a:xfrm>
          <a:prstGeom prst="rect">
            <a:avLst/>
          </a:prstGeom>
          <a:solidFill>
            <a:srgbClr val="C3AC78">
              <a:alpha val="1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6" name="Rectangle 65">
            <a:extLst>
              <a:ext uri="{FF2B5EF4-FFF2-40B4-BE49-F238E27FC236}">
                <a16:creationId xmlns:a16="http://schemas.microsoft.com/office/drawing/2014/main" id="{2CE20920-6597-EC51-25F7-92AA341AFD02}"/>
              </a:ext>
            </a:extLst>
          </p:cNvPr>
          <p:cNvSpPr/>
          <p:nvPr/>
        </p:nvSpPr>
        <p:spPr>
          <a:xfrm>
            <a:off x="493611" y="4790194"/>
            <a:ext cx="4830931" cy="1449706"/>
          </a:xfrm>
          <a:prstGeom prst="rect">
            <a:avLst/>
          </a:prstGeom>
          <a:solidFill>
            <a:srgbClr val="C3AC78">
              <a:alpha val="1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8" name="Rectangle 67">
            <a:extLst>
              <a:ext uri="{FF2B5EF4-FFF2-40B4-BE49-F238E27FC236}">
                <a16:creationId xmlns:a16="http://schemas.microsoft.com/office/drawing/2014/main" id="{F07B4284-997C-8C40-5ABB-898195D54992}"/>
              </a:ext>
            </a:extLst>
          </p:cNvPr>
          <p:cNvSpPr/>
          <p:nvPr/>
        </p:nvSpPr>
        <p:spPr>
          <a:xfrm>
            <a:off x="511123" y="1459306"/>
            <a:ext cx="4830931" cy="1449706"/>
          </a:xfrm>
          <a:prstGeom prst="rect">
            <a:avLst/>
          </a:prstGeom>
          <a:solidFill>
            <a:srgbClr val="C3AC78">
              <a:alpha val="1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8" name="think-cell data - do not delete" hidden="1">
            <a:extLst>
              <a:ext uri="{FF2B5EF4-FFF2-40B4-BE49-F238E27FC236}">
                <a16:creationId xmlns:a16="http://schemas.microsoft.com/office/drawing/2014/main" id="{643BFD99-5BA1-28AD-5E11-C387B48E078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31" imgH="232" progId="TCLayout.ActiveDocument.1">
                  <p:embed/>
                </p:oleObj>
              </mc:Choice>
              <mc:Fallback>
                <p:oleObj name="think-cell Slide" r:id="rId3" imgW="231" imgH="232" progId="TCLayout.ActiveDocument.1">
                  <p:embed/>
                  <p:pic>
                    <p:nvPicPr>
                      <p:cNvPr id="8" name="think-cell data - do not delete" hidden="1">
                        <a:extLst>
                          <a:ext uri="{FF2B5EF4-FFF2-40B4-BE49-F238E27FC236}">
                            <a16:creationId xmlns:a16="http://schemas.microsoft.com/office/drawing/2014/main" id="{643BFD99-5BA1-28AD-5E11-C387B48E078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B601CE9C-3FC5-C52F-224C-C96A8CF5D311}"/>
              </a:ext>
            </a:extLst>
          </p:cNvPr>
          <p:cNvSpPr>
            <a:spLocks noGrp="1"/>
          </p:cNvSpPr>
          <p:nvPr>
            <p:ph type="sldNum" sz="quarter" idx="12"/>
          </p:nvPr>
        </p:nvSpPr>
        <p:spPr/>
        <p:txBody>
          <a:bodyPr/>
          <a:lstStyle/>
          <a:p>
            <a:fld id="{BFCF0D39-BEE8-4D89-987A-40261FE54395}" type="slidenum">
              <a:rPr lang="en-GB" smtClean="0"/>
              <a:t>6</a:t>
            </a:fld>
            <a:endParaRPr lang="en-GB"/>
          </a:p>
        </p:txBody>
      </p:sp>
      <p:sp>
        <p:nvSpPr>
          <p:cNvPr id="9" name="TextBox 8">
            <a:extLst>
              <a:ext uri="{FF2B5EF4-FFF2-40B4-BE49-F238E27FC236}">
                <a16:creationId xmlns:a16="http://schemas.microsoft.com/office/drawing/2014/main" id="{171CCCF6-C213-90CB-C3F8-A5F62C41A1A5}"/>
              </a:ext>
            </a:extLst>
          </p:cNvPr>
          <p:cNvSpPr txBox="1"/>
          <p:nvPr/>
        </p:nvSpPr>
        <p:spPr>
          <a:xfrm>
            <a:off x="531692" y="360000"/>
            <a:ext cx="8374154" cy="468000"/>
          </a:xfrm>
          <a:prstGeom prst="rect">
            <a:avLst/>
          </a:prstGeom>
        </p:spPr>
        <p:txBody>
          <a:bodyPr vert="horz" lIns="0" tIns="0" rIns="0" bIns="0" rtlCol="0" anchor="b">
            <a:normAutofit/>
          </a:bodyPr>
          <a:lstStyle/>
          <a:p>
            <a:pPr marL="0" marR="0" lvl="0" indent="0" algn="l" defTabSz="1125444" rtl="0" eaLnBrk="1" fontAlgn="auto" latinLnBrk="0" hangingPunct="1">
              <a:lnSpc>
                <a:spcPct val="90000"/>
              </a:lnSpc>
              <a:spcBef>
                <a:spcPct val="0"/>
              </a:spcBef>
              <a:spcAft>
                <a:spcPts val="600"/>
              </a:spcAft>
              <a:buClrTx/>
              <a:buSzTx/>
              <a:buFontTx/>
              <a:buNone/>
              <a:tabLst/>
              <a:defRPr/>
            </a:pPr>
            <a:endParaRPr kumimoji="0" lang="en-US" sz="1600" b="0" i="0" u="none" strike="noStrike" kern="1200" cap="none" spc="0" normalizeH="0" baseline="0" noProof="0">
              <a:ln>
                <a:noFill/>
              </a:ln>
              <a:solidFill>
                <a:srgbClr val="002868"/>
              </a:solidFill>
              <a:effectLst/>
              <a:uLnTx/>
              <a:uFillTx/>
              <a:latin typeface="Cambria"/>
              <a:ea typeface="+mn-ea"/>
              <a:cs typeface="+mn-cs"/>
            </a:endParaRPr>
          </a:p>
        </p:txBody>
      </p:sp>
      <p:sp>
        <p:nvSpPr>
          <p:cNvPr id="14" name="Title 7">
            <a:extLst>
              <a:ext uri="{FF2B5EF4-FFF2-40B4-BE49-F238E27FC236}">
                <a16:creationId xmlns:a16="http://schemas.microsoft.com/office/drawing/2014/main" id="{EA0CE4BE-29C9-4C03-C838-CADB708D909A}"/>
              </a:ext>
            </a:extLst>
          </p:cNvPr>
          <p:cNvSpPr>
            <a:spLocks noGrp="1"/>
          </p:cNvSpPr>
          <p:nvPr>
            <p:ph type="title"/>
          </p:nvPr>
        </p:nvSpPr>
        <p:spPr>
          <a:xfrm>
            <a:off x="531692" y="360000"/>
            <a:ext cx="8374154" cy="468000"/>
          </a:xfrm>
        </p:spPr>
        <p:txBody>
          <a:bodyPr>
            <a:normAutofit/>
          </a:bodyPr>
          <a:lstStyle/>
          <a:p>
            <a:r>
              <a:rPr lang="en-GB" sz="3200" dirty="0"/>
              <a:t>Public Companies</a:t>
            </a:r>
            <a:endParaRPr lang="en-GB" sz="3200" dirty="0">
              <a:solidFill>
                <a:srgbClr val="FF0000"/>
              </a:solidFill>
            </a:endParaRPr>
          </a:p>
        </p:txBody>
      </p:sp>
      <p:sp>
        <p:nvSpPr>
          <p:cNvPr id="15" name="Text Placeholder 1">
            <a:extLst>
              <a:ext uri="{FF2B5EF4-FFF2-40B4-BE49-F238E27FC236}">
                <a16:creationId xmlns:a16="http://schemas.microsoft.com/office/drawing/2014/main" id="{2E8E1DAB-A06E-06B6-BCB0-7E9EE4D88135}"/>
              </a:ext>
            </a:extLst>
          </p:cNvPr>
          <p:cNvSpPr txBox="1">
            <a:spLocks/>
          </p:cNvSpPr>
          <p:nvPr/>
        </p:nvSpPr>
        <p:spPr>
          <a:xfrm>
            <a:off x="531692" y="827999"/>
            <a:ext cx="11308884" cy="404529"/>
          </a:xfrm>
          <a:prstGeom prst="rect">
            <a:avLst/>
          </a:prstGeom>
        </p:spPr>
        <p:txBody>
          <a:bodyPr vert="horz" wrap="square" lIns="0" tIns="0" rIns="0" bIns="0" rtlCol="0">
            <a:normAutofit/>
          </a:bodyPr>
          <a:lstStyle>
            <a:lvl1pPr marL="0" indent="0" algn="l" defTabSz="1125444" rtl="0" eaLnBrk="1" latinLnBrk="0" hangingPunct="1">
              <a:lnSpc>
                <a:spcPct val="90000"/>
              </a:lnSpc>
              <a:spcBef>
                <a:spcPts val="2215"/>
              </a:spcBef>
              <a:buFont typeface="Arial" panose="020B0604020202020204" pitchFamily="34" charset="0"/>
              <a:buNone/>
              <a:defRPr sz="2215" b="0" kern="1200">
                <a:solidFill>
                  <a:schemeClr val="tx1"/>
                </a:solidFill>
                <a:latin typeface="+mj-lt"/>
                <a:ea typeface="+mn-ea"/>
                <a:cs typeface="+mn-cs"/>
              </a:defRPr>
            </a:lvl1pPr>
            <a:lvl2pPr marL="562722" indent="0" algn="l" defTabSz="1125444" rtl="0" eaLnBrk="1" latinLnBrk="0" hangingPunct="1">
              <a:lnSpc>
                <a:spcPct val="90000"/>
              </a:lnSpc>
              <a:spcBef>
                <a:spcPts val="738"/>
              </a:spcBef>
              <a:buFont typeface="Arial" panose="020B0604020202020204" pitchFamily="34" charset="0"/>
              <a:buNone/>
              <a:defRPr sz="1723" kern="1200">
                <a:solidFill>
                  <a:schemeClr val="tx1"/>
                </a:solidFill>
                <a:latin typeface="+mn-lt"/>
                <a:ea typeface="+mn-ea"/>
                <a:cs typeface="+mn-cs"/>
              </a:defRPr>
            </a:lvl2pPr>
            <a:lvl3pPr marL="1125444" indent="0" algn="l" defTabSz="1125444" rtl="0" eaLnBrk="1" latinLnBrk="0" hangingPunct="1">
              <a:lnSpc>
                <a:spcPct val="90000"/>
              </a:lnSpc>
              <a:spcBef>
                <a:spcPts val="1477"/>
              </a:spcBef>
              <a:buClr>
                <a:schemeClr val="tx2"/>
              </a:buClr>
              <a:buFont typeface="Arial" panose="020B0604020202020204" pitchFamily="34" charset="0"/>
              <a:buNone/>
              <a:defRPr sz="1477" kern="1200">
                <a:solidFill>
                  <a:schemeClr val="tx1"/>
                </a:solidFill>
                <a:latin typeface="+mn-lt"/>
                <a:ea typeface="+mn-ea"/>
                <a:cs typeface="+mn-cs"/>
              </a:defRPr>
            </a:lvl3pPr>
            <a:lvl4pPr marL="1688165" indent="0" algn="l" defTabSz="1125444" rtl="0" eaLnBrk="1" latinLnBrk="0" hangingPunct="1">
              <a:lnSpc>
                <a:spcPct val="90000"/>
              </a:lnSpc>
              <a:spcBef>
                <a:spcPts val="738"/>
              </a:spcBef>
              <a:buFont typeface="Arial" panose="020B0604020202020204" pitchFamily="34" charset="0"/>
              <a:buNone/>
              <a:defRPr sz="1231" kern="1200">
                <a:solidFill>
                  <a:schemeClr val="tx1"/>
                </a:solidFill>
                <a:latin typeface="+mn-lt"/>
                <a:ea typeface="+mn-ea"/>
                <a:cs typeface="+mn-cs"/>
              </a:defRPr>
            </a:lvl4pPr>
            <a:lvl5pPr marL="2250887" indent="0" algn="l" defTabSz="1125444" rtl="0" eaLnBrk="1" latinLnBrk="0" hangingPunct="1">
              <a:lnSpc>
                <a:spcPct val="90000"/>
              </a:lnSpc>
              <a:spcBef>
                <a:spcPts val="369"/>
              </a:spcBef>
              <a:buFont typeface="Arial" panose="020B0604020202020204" pitchFamily="34" charset="0"/>
              <a:buNone/>
              <a:defRPr sz="1231" kern="1200">
                <a:solidFill>
                  <a:schemeClr val="tx1"/>
                </a:solidFill>
                <a:latin typeface="+mn-lt"/>
                <a:ea typeface="+mn-ea"/>
                <a:cs typeface="+mn-cs"/>
              </a:defRPr>
            </a:lvl5pPr>
            <a:lvl6pPr marL="2813609" indent="0" algn="l" defTabSz="1125444" rtl="0" eaLnBrk="1" latinLnBrk="0" hangingPunct="1">
              <a:lnSpc>
                <a:spcPct val="90000"/>
              </a:lnSpc>
              <a:spcBef>
                <a:spcPts val="615"/>
              </a:spcBef>
              <a:buFont typeface="Arial" panose="020B0604020202020204" pitchFamily="34" charset="0"/>
              <a:buNone/>
              <a:defRPr sz="1231" kern="1200">
                <a:solidFill>
                  <a:schemeClr val="tx1"/>
                </a:solidFill>
                <a:latin typeface="+mn-lt"/>
                <a:ea typeface="+mn-ea"/>
                <a:cs typeface="+mn-cs"/>
              </a:defRPr>
            </a:lvl6pPr>
            <a:lvl7pPr marL="3376331" indent="0" algn="l" defTabSz="1125444" rtl="0" eaLnBrk="1" latinLnBrk="0" hangingPunct="1">
              <a:lnSpc>
                <a:spcPct val="90000"/>
              </a:lnSpc>
              <a:spcBef>
                <a:spcPts val="615"/>
              </a:spcBef>
              <a:buFont typeface="Arial" panose="020B0604020202020204" pitchFamily="34" charset="0"/>
              <a:buNone/>
              <a:defRPr sz="1231" kern="1200">
                <a:solidFill>
                  <a:schemeClr val="tx1"/>
                </a:solidFill>
                <a:latin typeface="+mn-lt"/>
                <a:ea typeface="+mn-ea"/>
                <a:cs typeface="+mn-cs"/>
              </a:defRPr>
            </a:lvl7pPr>
            <a:lvl8pPr marL="3939052" indent="0" algn="l" defTabSz="1125444" rtl="0" eaLnBrk="1" latinLnBrk="0" hangingPunct="1">
              <a:lnSpc>
                <a:spcPct val="90000"/>
              </a:lnSpc>
              <a:spcBef>
                <a:spcPts val="615"/>
              </a:spcBef>
              <a:buFont typeface="Arial" panose="020B0604020202020204" pitchFamily="34" charset="0"/>
              <a:buNone/>
              <a:defRPr sz="1231" kern="1200">
                <a:solidFill>
                  <a:schemeClr val="tx1"/>
                </a:solidFill>
                <a:latin typeface="+mn-lt"/>
                <a:ea typeface="+mn-ea"/>
                <a:cs typeface="+mn-cs"/>
              </a:defRPr>
            </a:lvl8pPr>
            <a:lvl9pPr marL="4501774" indent="0" algn="l" defTabSz="1125444" rtl="0" eaLnBrk="1" latinLnBrk="0" hangingPunct="1">
              <a:lnSpc>
                <a:spcPct val="90000"/>
              </a:lnSpc>
              <a:spcBef>
                <a:spcPts val="615"/>
              </a:spcBef>
              <a:buFont typeface="Arial" panose="020B0604020202020204" pitchFamily="34" charset="0"/>
              <a:buNone/>
              <a:defRPr sz="1231" kern="1200">
                <a:solidFill>
                  <a:schemeClr val="tx1"/>
                </a:solidFill>
                <a:latin typeface="+mn-lt"/>
                <a:ea typeface="+mn-ea"/>
                <a:cs typeface="+mn-cs"/>
              </a:defRPr>
            </a:lvl9pPr>
          </a:lstStyle>
          <a:p>
            <a:pPr lvl="0">
              <a:defRPr/>
            </a:pPr>
            <a:r>
              <a:rPr lang="en-US" sz="1800" b="1" dirty="0" err="1">
                <a:solidFill>
                  <a:srgbClr val="4D4E53"/>
                </a:solidFill>
              </a:rPr>
              <a:t>Watsco</a:t>
            </a:r>
            <a:r>
              <a:rPr lang="en-US" sz="1800" dirty="0">
                <a:solidFill>
                  <a:srgbClr val="4D4E53"/>
                </a:solidFill>
              </a:rPr>
              <a:t>: Distributor of air conditioning, heating and refrigeration equipment (largest in North America)</a:t>
            </a:r>
          </a:p>
        </p:txBody>
      </p:sp>
      <p:grpSp>
        <p:nvGrpSpPr>
          <p:cNvPr id="54" name="Group 53">
            <a:extLst>
              <a:ext uri="{FF2B5EF4-FFF2-40B4-BE49-F238E27FC236}">
                <a16:creationId xmlns:a16="http://schemas.microsoft.com/office/drawing/2014/main" id="{F3E17814-033B-AD5E-7A2D-6E00E995DCBC}"/>
              </a:ext>
            </a:extLst>
          </p:cNvPr>
          <p:cNvGrpSpPr/>
          <p:nvPr/>
        </p:nvGrpSpPr>
        <p:grpSpPr>
          <a:xfrm>
            <a:off x="462165" y="1474724"/>
            <a:ext cx="5261212" cy="1535432"/>
            <a:chOff x="462165" y="1474724"/>
            <a:chExt cx="5261212" cy="1535432"/>
          </a:xfrm>
        </p:grpSpPr>
        <p:pic>
          <p:nvPicPr>
            <p:cNvPr id="5" name="Graphic 4" descr="Bar graph with upward trend outline">
              <a:extLst>
                <a:ext uri="{FF2B5EF4-FFF2-40B4-BE49-F238E27FC236}">
                  <a16:creationId xmlns:a16="http://schemas.microsoft.com/office/drawing/2014/main" id="{2C895C87-5918-B264-E9DA-F770C88F939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62165" y="1523098"/>
              <a:ext cx="450000" cy="450000"/>
            </a:xfrm>
            <a:prstGeom prst="rect">
              <a:avLst/>
            </a:prstGeom>
          </p:spPr>
        </p:pic>
        <p:cxnSp>
          <p:nvCxnSpPr>
            <p:cNvPr id="42" name="Straight Connector 41">
              <a:extLst>
                <a:ext uri="{FF2B5EF4-FFF2-40B4-BE49-F238E27FC236}">
                  <a16:creationId xmlns:a16="http://schemas.microsoft.com/office/drawing/2014/main" id="{A8F90D26-ED9C-38CF-813C-459371DC8C03}"/>
                </a:ext>
              </a:extLst>
            </p:cNvPr>
            <p:cNvCxnSpPr>
              <a:cxnSpLocks/>
            </p:cNvCxnSpPr>
            <p:nvPr/>
          </p:nvCxnSpPr>
          <p:spPr>
            <a:xfrm>
              <a:off x="511174" y="1474724"/>
              <a:ext cx="4830880" cy="0"/>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sp>
          <p:nvSpPr>
            <p:cNvPr id="38" name="Content Placeholder 6">
              <a:extLst>
                <a:ext uri="{FF2B5EF4-FFF2-40B4-BE49-F238E27FC236}">
                  <a16:creationId xmlns:a16="http://schemas.microsoft.com/office/drawing/2014/main" id="{B3261E03-6B33-76E5-BC4B-56FCBF9E4ED2}"/>
                </a:ext>
              </a:extLst>
            </p:cNvPr>
            <p:cNvSpPr>
              <a:spLocks/>
            </p:cNvSpPr>
            <p:nvPr/>
          </p:nvSpPr>
          <p:spPr>
            <a:xfrm>
              <a:off x="490814" y="1910560"/>
              <a:ext cx="5232563" cy="1099596"/>
            </a:xfrm>
            <a:prstGeom prst="rect">
              <a:avLst/>
            </a:prstGeom>
            <a:noFill/>
            <a:ln w="12700">
              <a:noFill/>
            </a:ln>
          </p:spPr>
          <p:txBody>
            <a:bodyPr/>
            <a:lstStyle/>
            <a:p>
              <a:pPr marL="180975" marR="0" lvl="0" indent="-180975" algn="l" defTabSz="576072" rtl="0" eaLnBrk="1" fontAlgn="auto" latinLnBrk="0" hangingPunct="1">
                <a:lnSpc>
                  <a:spcPct val="103000"/>
                </a:lnSpc>
                <a:buClrTx/>
                <a:buSzTx/>
                <a:buFont typeface="Arial" panose="020B0604020202020204" pitchFamily="34" charset="0"/>
                <a:buChar char="•"/>
                <a:tabLst/>
                <a:defRPr/>
              </a:pPr>
              <a:r>
                <a:rPr kumimoji="0" lang="en-GB" sz="1550" b="0" i="0" u="none" strike="noStrike" kern="1200" cap="none" spc="0" normalizeH="0" baseline="0" noProof="0" dirty="0">
                  <a:ln>
                    <a:noFill/>
                  </a:ln>
                  <a:effectLst/>
                  <a:uLnTx/>
                  <a:uFillTx/>
                  <a:latin typeface="Cambria"/>
                  <a:ea typeface="+mn-ea"/>
                  <a:cs typeface="+mn-cs"/>
                </a:rPr>
                <a:t>Market leader with strong compounding of earnings</a:t>
              </a:r>
              <a:endParaRPr lang="en-GB" sz="1550" dirty="0">
                <a:latin typeface="Cambria"/>
              </a:endParaRPr>
            </a:p>
            <a:p>
              <a:pPr marL="180975" marR="0" lvl="0" indent="-180975" algn="l" defTabSz="576072" rtl="0" eaLnBrk="1" fontAlgn="auto" latinLnBrk="0" hangingPunct="1">
                <a:lnSpc>
                  <a:spcPct val="103000"/>
                </a:lnSpc>
                <a:buClrTx/>
                <a:buSzTx/>
                <a:buFont typeface="Arial" panose="020B0604020202020204" pitchFamily="34" charset="0"/>
                <a:buChar char="•"/>
                <a:tabLst/>
                <a:defRPr/>
              </a:pPr>
              <a:r>
                <a:rPr kumimoji="0" lang="en-GB" sz="1550" b="0" i="0" u="none" strike="noStrike" kern="1200" cap="none" spc="0" normalizeH="0" baseline="0" noProof="0" dirty="0">
                  <a:ln>
                    <a:noFill/>
                  </a:ln>
                  <a:effectLst/>
                  <a:uLnTx/>
                  <a:uFillTx/>
                  <a:latin typeface="Cambria"/>
                  <a:ea typeface="+mn-ea"/>
                  <a:cs typeface="+mn-cs"/>
                </a:rPr>
                <a:t>Significant investment in technology platform – </a:t>
              </a:r>
              <a:br>
                <a:rPr kumimoji="0" lang="en-GB" sz="1550" b="0" i="0" u="none" strike="noStrike" kern="1200" cap="none" spc="0" normalizeH="0" baseline="0" noProof="0" dirty="0">
                  <a:ln>
                    <a:noFill/>
                  </a:ln>
                  <a:effectLst/>
                  <a:uLnTx/>
                  <a:uFillTx/>
                  <a:latin typeface="Cambria"/>
                  <a:ea typeface="+mn-ea"/>
                  <a:cs typeface="+mn-cs"/>
                </a:rPr>
              </a:br>
              <a:r>
                <a:rPr kumimoji="0" lang="en-GB" sz="1550" b="0" i="0" u="none" strike="noStrike" kern="1200" cap="none" spc="0" normalizeH="0" baseline="0" noProof="0" dirty="0">
                  <a:ln>
                    <a:noFill/>
                  </a:ln>
                  <a:effectLst/>
                  <a:uLnTx/>
                  <a:uFillTx/>
                  <a:latin typeface="Cambria"/>
                  <a:ea typeface="+mn-ea"/>
                  <a:cs typeface="+mn-cs"/>
                </a:rPr>
                <a:t>supports market share growth and improves margins</a:t>
              </a:r>
            </a:p>
          </p:txBody>
        </p:sp>
        <p:sp>
          <p:nvSpPr>
            <p:cNvPr id="2" name="TextBox 1">
              <a:extLst>
                <a:ext uri="{FF2B5EF4-FFF2-40B4-BE49-F238E27FC236}">
                  <a16:creationId xmlns:a16="http://schemas.microsoft.com/office/drawing/2014/main" id="{BC8264F1-ABE9-98D6-DB5E-938D4848BC1C}"/>
                </a:ext>
              </a:extLst>
            </p:cNvPr>
            <p:cNvSpPr txBox="1"/>
            <p:nvPr/>
          </p:nvSpPr>
          <p:spPr>
            <a:xfrm>
              <a:off x="1064143" y="1490035"/>
              <a:ext cx="4555353" cy="338554"/>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GB" sz="1600" b="1" dirty="0">
                  <a:solidFill>
                    <a:schemeClr val="tx2"/>
                  </a:solidFill>
                </a:rPr>
                <a:t>Strong</a:t>
              </a:r>
              <a:r>
                <a:rPr lang="en-GB" sz="1600" b="1" kern="1200" dirty="0">
                  <a:solidFill>
                    <a:schemeClr val="tx2"/>
                  </a:solidFill>
                  <a:latin typeface="+mn-lt"/>
                  <a:ea typeface="+mn-ea"/>
                  <a:cs typeface="+mn-cs"/>
                </a:rPr>
                <a:t> market position and fundamentals</a:t>
              </a:r>
            </a:p>
          </p:txBody>
        </p:sp>
      </p:grpSp>
      <p:grpSp>
        <p:nvGrpSpPr>
          <p:cNvPr id="52" name="Group 51">
            <a:extLst>
              <a:ext uri="{FF2B5EF4-FFF2-40B4-BE49-F238E27FC236}">
                <a16:creationId xmlns:a16="http://schemas.microsoft.com/office/drawing/2014/main" id="{11A32758-931C-4D15-38E8-387B38934B7B}"/>
              </a:ext>
            </a:extLst>
          </p:cNvPr>
          <p:cNvGrpSpPr/>
          <p:nvPr/>
        </p:nvGrpSpPr>
        <p:grpSpPr>
          <a:xfrm>
            <a:off x="495298" y="4800414"/>
            <a:ext cx="5228079" cy="1556284"/>
            <a:chOff x="495298" y="4655785"/>
            <a:chExt cx="5228079" cy="1556284"/>
          </a:xfrm>
        </p:grpSpPr>
        <p:cxnSp>
          <p:nvCxnSpPr>
            <p:cNvPr id="45" name="Straight Connector 44">
              <a:extLst>
                <a:ext uri="{FF2B5EF4-FFF2-40B4-BE49-F238E27FC236}">
                  <a16:creationId xmlns:a16="http://schemas.microsoft.com/office/drawing/2014/main" id="{5BB049E4-87C8-B2A2-0C37-A31F4B4BC477}"/>
                </a:ext>
              </a:extLst>
            </p:cNvPr>
            <p:cNvCxnSpPr>
              <a:cxnSpLocks/>
            </p:cNvCxnSpPr>
            <p:nvPr/>
          </p:nvCxnSpPr>
          <p:spPr>
            <a:xfrm>
              <a:off x="495298" y="4655785"/>
              <a:ext cx="4846756" cy="0"/>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68CFCCEB-2EC4-4566-1179-E08C43FE98CA}"/>
                </a:ext>
              </a:extLst>
            </p:cNvPr>
            <p:cNvSpPr txBox="1"/>
            <p:nvPr/>
          </p:nvSpPr>
          <p:spPr>
            <a:xfrm>
              <a:off x="1043823" y="4670785"/>
              <a:ext cx="4618575" cy="584775"/>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GB" sz="1600" b="1" kern="1200" dirty="0">
                  <a:solidFill>
                    <a:schemeClr val="tx2"/>
                  </a:solidFill>
                  <a:latin typeface="+mn-lt"/>
                  <a:ea typeface="+mn-ea"/>
                  <a:cs typeface="+mn-cs"/>
                </a:rPr>
                <a:t>Well managed with strong alignment</a:t>
              </a:r>
            </a:p>
            <a:p>
              <a:endParaRPr lang="en-GB" sz="1600" dirty="0"/>
            </a:p>
          </p:txBody>
        </p:sp>
        <p:pic>
          <p:nvPicPr>
            <p:cNvPr id="11" name="Graphic 10" descr="Boardroom outline">
              <a:extLst>
                <a:ext uri="{FF2B5EF4-FFF2-40B4-BE49-F238E27FC236}">
                  <a16:creationId xmlns:a16="http://schemas.microsoft.com/office/drawing/2014/main" id="{AEE38DD1-0964-0810-FA68-969B150D63F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22631" y="4703113"/>
              <a:ext cx="450000" cy="450000"/>
            </a:xfrm>
            <a:prstGeom prst="rect">
              <a:avLst/>
            </a:prstGeom>
          </p:spPr>
        </p:pic>
        <p:sp>
          <p:nvSpPr>
            <p:cNvPr id="50" name="Content Placeholder 6">
              <a:extLst>
                <a:ext uri="{FF2B5EF4-FFF2-40B4-BE49-F238E27FC236}">
                  <a16:creationId xmlns:a16="http://schemas.microsoft.com/office/drawing/2014/main" id="{C9B407A8-5D6F-D931-0560-95B7A29D27BD}"/>
                </a:ext>
              </a:extLst>
            </p:cNvPr>
            <p:cNvSpPr>
              <a:spLocks/>
            </p:cNvSpPr>
            <p:nvPr/>
          </p:nvSpPr>
          <p:spPr>
            <a:xfrm>
              <a:off x="545399" y="5112473"/>
              <a:ext cx="5177978" cy="1099596"/>
            </a:xfrm>
            <a:prstGeom prst="rect">
              <a:avLst/>
            </a:prstGeom>
            <a:noFill/>
            <a:ln w="12700">
              <a:noFill/>
            </a:ln>
          </p:spPr>
          <p:txBody>
            <a:bodyPr/>
            <a:lstStyle/>
            <a:p>
              <a:pPr marL="180975" marR="0" lvl="0" indent="-180975" algn="l" defTabSz="576072" rtl="0" eaLnBrk="1" fontAlgn="auto" latinLnBrk="0" hangingPunct="1">
                <a:lnSpc>
                  <a:spcPct val="103000"/>
                </a:lnSpc>
                <a:buClrTx/>
                <a:buSzTx/>
                <a:buFont typeface="Arial" panose="020B0604020202020204" pitchFamily="34" charset="0"/>
                <a:buChar char="•"/>
                <a:tabLst/>
                <a:defRPr/>
              </a:pPr>
              <a:r>
                <a:rPr kumimoji="0" lang="en-GB" sz="1550" b="0" i="0" u="none" strike="noStrike" kern="1200" cap="none" spc="0" normalizeH="0" baseline="0" noProof="0" dirty="0">
                  <a:ln>
                    <a:noFill/>
                  </a:ln>
                  <a:effectLst/>
                  <a:uLnTx/>
                  <a:uFillTx/>
                  <a:latin typeface="Cambria"/>
                  <a:ea typeface="+mn-ea"/>
                  <a:cs typeface="+mn-cs"/>
                </a:rPr>
                <a:t>Entrepreneurial culture</a:t>
              </a:r>
            </a:p>
            <a:p>
              <a:pPr marL="180975" marR="0" lvl="0" indent="-180975" algn="l" defTabSz="576072" rtl="0" eaLnBrk="1" fontAlgn="auto" latinLnBrk="0" hangingPunct="1">
                <a:lnSpc>
                  <a:spcPct val="103000"/>
                </a:lnSpc>
                <a:buClrTx/>
                <a:buSzTx/>
                <a:buFont typeface="Arial" panose="020B0604020202020204" pitchFamily="34" charset="0"/>
                <a:buChar char="•"/>
                <a:tabLst/>
                <a:defRPr/>
              </a:pPr>
              <a:r>
                <a:rPr lang="en-GB" sz="1550" dirty="0">
                  <a:latin typeface="Cambria"/>
                </a:rPr>
                <a:t>Decentralised </a:t>
              </a:r>
            </a:p>
            <a:p>
              <a:pPr marL="180975" marR="0" lvl="0" indent="-180975" algn="l" defTabSz="576072" rtl="0" eaLnBrk="1" fontAlgn="auto" latinLnBrk="0" hangingPunct="1">
                <a:lnSpc>
                  <a:spcPct val="103000"/>
                </a:lnSpc>
                <a:buClrTx/>
                <a:buSzTx/>
                <a:buFont typeface="Arial" panose="020B0604020202020204" pitchFamily="34" charset="0"/>
                <a:buChar char="•"/>
                <a:tabLst/>
                <a:defRPr/>
              </a:pPr>
              <a:r>
                <a:rPr kumimoji="0" lang="en-GB" sz="1550" b="0" i="0" u="none" strike="noStrike" kern="1200" cap="none" spc="0" normalizeH="0" baseline="0" noProof="0" dirty="0">
                  <a:ln>
                    <a:noFill/>
                  </a:ln>
                  <a:effectLst/>
                  <a:uLnTx/>
                  <a:uFillTx/>
                  <a:latin typeface="Cambria"/>
                  <a:ea typeface="+mn-ea"/>
                  <a:cs typeface="+mn-cs"/>
                </a:rPr>
                <a:t>Differentiated ownership culture</a:t>
              </a:r>
            </a:p>
          </p:txBody>
        </p:sp>
      </p:grpSp>
      <p:grpSp>
        <p:nvGrpSpPr>
          <p:cNvPr id="53" name="Group 52">
            <a:extLst>
              <a:ext uri="{FF2B5EF4-FFF2-40B4-BE49-F238E27FC236}">
                <a16:creationId xmlns:a16="http://schemas.microsoft.com/office/drawing/2014/main" id="{2181E559-BFA5-0BAE-7E2A-3863364934C9}"/>
              </a:ext>
            </a:extLst>
          </p:cNvPr>
          <p:cNvGrpSpPr/>
          <p:nvPr/>
        </p:nvGrpSpPr>
        <p:grpSpPr>
          <a:xfrm>
            <a:off x="511124" y="3125420"/>
            <a:ext cx="5304524" cy="1518862"/>
            <a:chOff x="511124" y="3065254"/>
            <a:chExt cx="5304524" cy="1518862"/>
          </a:xfrm>
        </p:grpSpPr>
        <p:cxnSp>
          <p:nvCxnSpPr>
            <p:cNvPr id="44" name="Straight Connector 43">
              <a:extLst>
                <a:ext uri="{FF2B5EF4-FFF2-40B4-BE49-F238E27FC236}">
                  <a16:creationId xmlns:a16="http://schemas.microsoft.com/office/drawing/2014/main" id="{153539FC-5443-A001-3383-24AE3C4EC9A8}"/>
                </a:ext>
              </a:extLst>
            </p:cNvPr>
            <p:cNvCxnSpPr>
              <a:cxnSpLocks/>
            </p:cNvCxnSpPr>
            <p:nvPr/>
          </p:nvCxnSpPr>
          <p:spPr>
            <a:xfrm>
              <a:off x="511174" y="3065254"/>
              <a:ext cx="4850631" cy="0"/>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9E308C18-0268-142D-BB15-B035E755ABCB}"/>
                </a:ext>
              </a:extLst>
            </p:cNvPr>
            <p:cNvSpPr txBox="1"/>
            <p:nvPr/>
          </p:nvSpPr>
          <p:spPr>
            <a:xfrm>
              <a:off x="1053983" y="3085048"/>
              <a:ext cx="4761665" cy="584775"/>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GB" sz="1600" b="1" kern="1200" dirty="0">
                  <a:solidFill>
                    <a:schemeClr val="tx2"/>
                  </a:solidFill>
                  <a:latin typeface="+mn-lt"/>
                  <a:ea typeface="+mn-ea"/>
                  <a:cs typeface="+mn-cs"/>
                </a:rPr>
                <a:t>Attractive underlying markets</a:t>
              </a:r>
            </a:p>
            <a:p>
              <a:endParaRPr lang="en-GB" sz="1600" dirty="0"/>
            </a:p>
          </p:txBody>
        </p:sp>
        <p:pic>
          <p:nvPicPr>
            <p:cNvPr id="16" name="Graphic 15" descr="Bullseye outline">
              <a:extLst>
                <a:ext uri="{FF2B5EF4-FFF2-40B4-BE49-F238E27FC236}">
                  <a16:creationId xmlns:a16="http://schemas.microsoft.com/office/drawing/2014/main" id="{5DCA53FF-A582-39CC-54F0-4BBA8018E6D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11124" y="3098667"/>
              <a:ext cx="450000" cy="450000"/>
            </a:xfrm>
            <a:prstGeom prst="rect">
              <a:avLst/>
            </a:prstGeom>
          </p:spPr>
        </p:pic>
        <p:sp>
          <p:nvSpPr>
            <p:cNvPr id="51" name="Content Placeholder 6">
              <a:extLst>
                <a:ext uri="{FF2B5EF4-FFF2-40B4-BE49-F238E27FC236}">
                  <a16:creationId xmlns:a16="http://schemas.microsoft.com/office/drawing/2014/main" id="{D210D1C4-8F95-A0D8-52F1-4BDDD27EE289}"/>
                </a:ext>
              </a:extLst>
            </p:cNvPr>
            <p:cNvSpPr>
              <a:spLocks/>
            </p:cNvSpPr>
            <p:nvPr/>
          </p:nvSpPr>
          <p:spPr>
            <a:xfrm>
              <a:off x="520348" y="3484520"/>
              <a:ext cx="5237382" cy="1099596"/>
            </a:xfrm>
            <a:prstGeom prst="rect">
              <a:avLst/>
            </a:prstGeom>
            <a:noFill/>
            <a:ln w="12700">
              <a:noFill/>
            </a:ln>
          </p:spPr>
          <p:txBody>
            <a:bodyPr/>
            <a:lstStyle/>
            <a:p>
              <a:pPr marL="180975" marR="0" lvl="0" indent="-180975" algn="l" defTabSz="576072" rtl="0" eaLnBrk="1" fontAlgn="auto" latinLnBrk="0" hangingPunct="1">
                <a:lnSpc>
                  <a:spcPct val="103000"/>
                </a:lnSpc>
                <a:buClrTx/>
                <a:buSzTx/>
                <a:buFont typeface="Arial" panose="020B0604020202020204" pitchFamily="34" charset="0"/>
                <a:buChar char="•"/>
                <a:tabLst/>
                <a:defRPr/>
              </a:pPr>
              <a:r>
                <a:rPr lang="en-GB" sz="1550" dirty="0">
                  <a:latin typeface="Cambria"/>
                </a:rPr>
                <a:t>Product necessity </a:t>
              </a:r>
            </a:p>
            <a:p>
              <a:pPr marL="180975" marR="0" lvl="0" indent="-180975" algn="l" defTabSz="576072" rtl="0" eaLnBrk="1" fontAlgn="auto" latinLnBrk="0" hangingPunct="1">
                <a:lnSpc>
                  <a:spcPct val="103000"/>
                </a:lnSpc>
                <a:buClrTx/>
                <a:buSzTx/>
                <a:buFont typeface="Arial" panose="020B0604020202020204" pitchFamily="34" charset="0"/>
                <a:buChar char="•"/>
                <a:tabLst/>
                <a:defRPr/>
              </a:pPr>
              <a:r>
                <a:rPr lang="en-GB" sz="1550" dirty="0">
                  <a:latin typeface="Cambria"/>
                </a:rPr>
                <a:t>H</a:t>
              </a:r>
              <a:r>
                <a:rPr kumimoji="0" lang="en-GB" sz="1550" b="0" i="0" u="none" strike="noStrike" kern="1200" cap="none" spc="0" normalizeH="0" baseline="0" noProof="0" dirty="0" err="1">
                  <a:ln>
                    <a:noFill/>
                  </a:ln>
                  <a:effectLst/>
                  <a:uLnTx/>
                  <a:uFillTx/>
                  <a:latin typeface="Cambria"/>
                  <a:ea typeface="+mn-ea"/>
                  <a:cs typeface="+mn-cs"/>
                </a:rPr>
                <a:t>ighly</a:t>
              </a:r>
              <a:r>
                <a:rPr kumimoji="0" lang="en-GB" sz="1550" b="0" i="0" u="none" strike="noStrike" kern="1200" cap="none" spc="0" normalizeH="0" baseline="0" noProof="0" dirty="0">
                  <a:ln>
                    <a:noFill/>
                  </a:ln>
                  <a:effectLst/>
                  <a:uLnTx/>
                  <a:uFillTx/>
                  <a:latin typeface="Cambria"/>
                  <a:ea typeface="+mn-ea"/>
                  <a:cs typeface="+mn-cs"/>
                </a:rPr>
                <a:t> fragmented $60bn+ distribution industry with high barriers to entry</a:t>
              </a:r>
            </a:p>
            <a:p>
              <a:pPr marL="180975" marR="0" lvl="0" indent="-180975" algn="l" defTabSz="576072" rtl="0" eaLnBrk="1" fontAlgn="auto" latinLnBrk="0" hangingPunct="1">
                <a:lnSpc>
                  <a:spcPct val="103000"/>
                </a:lnSpc>
                <a:buClrTx/>
                <a:buSzTx/>
                <a:buFont typeface="Arial" panose="020B0604020202020204" pitchFamily="34" charset="0"/>
                <a:buChar char="•"/>
                <a:tabLst/>
                <a:defRPr/>
              </a:pPr>
              <a:r>
                <a:rPr lang="en-GB" sz="1550" dirty="0">
                  <a:latin typeface="Cambria"/>
                </a:rPr>
                <a:t>Attractive as a buyer of smaller distributors</a:t>
              </a:r>
              <a:endParaRPr kumimoji="0" lang="en-GB" sz="1550" b="0" i="0" u="none" strike="noStrike" kern="1200" cap="none" spc="0" normalizeH="0" baseline="0" noProof="0" dirty="0">
                <a:ln>
                  <a:noFill/>
                </a:ln>
                <a:effectLst/>
                <a:uLnTx/>
                <a:uFillTx/>
                <a:latin typeface="Cambria"/>
                <a:ea typeface="+mn-ea"/>
                <a:cs typeface="+mn-cs"/>
              </a:endParaRPr>
            </a:p>
          </p:txBody>
        </p:sp>
      </p:grpSp>
      <p:cxnSp>
        <p:nvCxnSpPr>
          <p:cNvPr id="13" name="Straight Connector 12">
            <a:extLst>
              <a:ext uri="{FF2B5EF4-FFF2-40B4-BE49-F238E27FC236}">
                <a16:creationId xmlns:a16="http://schemas.microsoft.com/office/drawing/2014/main" id="{CE471B38-08AF-1D14-8A9F-C457687E6787}"/>
              </a:ext>
            </a:extLst>
          </p:cNvPr>
          <p:cNvCxnSpPr>
            <a:cxnSpLocks/>
          </p:cNvCxnSpPr>
          <p:nvPr/>
        </p:nvCxnSpPr>
        <p:spPr>
          <a:xfrm>
            <a:off x="526732" y="1238874"/>
            <a:ext cx="1340168" cy="0"/>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BDA82DBC-E563-A09A-D941-7EA93D07D2FD}"/>
              </a:ext>
            </a:extLst>
          </p:cNvPr>
          <p:cNvPicPr>
            <a:picLocks noChangeAspect="1"/>
          </p:cNvPicPr>
          <p:nvPr/>
        </p:nvPicPr>
        <p:blipFill>
          <a:blip r:embed="rId11"/>
          <a:stretch>
            <a:fillRect/>
          </a:stretch>
        </p:blipFill>
        <p:spPr>
          <a:xfrm>
            <a:off x="6603849" y="2558151"/>
            <a:ext cx="4603993" cy="3072665"/>
          </a:xfrm>
          <a:prstGeom prst="rect">
            <a:avLst/>
          </a:prstGeom>
        </p:spPr>
      </p:pic>
      <p:pic>
        <p:nvPicPr>
          <p:cNvPr id="39" name="Picture 38">
            <a:extLst>
              <a:ext uri="{FF2B5EF4-FFF2-40B4-BE49-F238E27FC236}">
                <a16:creationId xmlns:a16="http://schemas.microsoft.com/office/drawing/2014/main" id="{81BDA5D4-C214-8516-4E51-D64C6DA862D5}"/>
              </a:ext>
            </a:extLst>
          </p:cNvPr>
          <p:cNvPicPr>
            <a:picLocks noChangeAspect="1"/>
          </p:cNvPicPr>
          <p:nvPr/>
        </p:nvPicPr>
        <p:blipFill rotWithShape="1">
          <a:blip r:embed="rId12"/>
          <a:srcRect l="8669" t="30668" r="7660" b="25894"/>
          <a:stretch/>
        </p:blipFill>
        <p:spPr>
          <a:xfrm>
            <a:off x="6572506" y="1756852"/>
            <a:ext cx="2141898" cy="584793"/>
          </a:xfrm>
          <a:prstGeom prst="rect">
            <a:avLst/>
          </a:prstGeom>
        </p:spPr>
      </p:pic>
      <p:sp>
        <p:nvSpPr>
          <p:cNvPr id="7" name="TextBox 6">
            <a:extLst>
              <a:ext uri="{FF2B5EF4-FFF2-40B4-BE49-F238E27FC236}">
                <a16:creationId xmlns:a16="http://schemas.microsoft.com/office/drawing/2014/main" id="{B0FD3D86-524D-395B-A49D-59B4C49EC045}"/>
              </a:ext>
            </a:extLst>
          </p:cNvPr>
          <p:cNvSpPr txBox="1"/>
          <p:nvPr/>
        </p:nvSpPr>
        <p:spPr>
          <a:xfrm>
            <a:off x="457609" y="6368534"/>
            <a:ext cx="6122894" cy="338554"/>
          </a:xfrm>
          <a:prstGeom prst="rect">
            <a:avLst/>
          </a:prstGeom>
          <a:noFill/>
        </p:spPr>
        <p:txBody>
          <a:bodyPr wrap="square">
            <a:spAutoFit/>
          </a:bodyPr>
          <a:lstStyle/>
          <a:p>
            <a:r>
              <a:rPr lang="en-US" sz="800" dirty="0">
                <a:solidFill>
                  <a:schemeClr val="tx1"/>
                </a:solidFill>
                <a:latin typeface="Cambria" panose="02040503050406030204" pitchFamily="18" charset="0"/>
                <a:ea typeface="Cambria" panose="02040503050406030204" pitchFamily="18" charset="0"/>
              </a:rPr>
              <a:t>Past performance is not a reliable indicator of future results</a:t>
            </a:r>
          </a:p>
          <a:p>
            <a:r>
              <a:rPr lang="en-US" sz="800" dirty="0">
                <a:latin typeface="Cambria" panose="02040503050406030204" pitchFamily="18" charset="0"/>
                <a:ea typeface="Cambria" panose="02040503050406030204" pitchFamily="18" charset="0"/>
              </a:rPr>
              <a:t>Caledonia financial information at 31 March 2025</a:t>
            </a:r>
            <a:endParaRPr lang="en-GB" sz="800" dirty="0"/>
          </a:p>
        </p:txBody>
      </p:sp>
    </p:spTree>
    <p:extLst>
      <p:ext uri="{BB962C8B-B14F-4D97-AF65-F5344CB8AC3E}">
        <p14:creationId xmlns:p14="http://schemas.microsoft.com/office/powerpoint/2010/main" val="341460503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43BFD99-5BA1-28AD-5E11-C387B48E078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31" imgH="232" progId="TCLayout.ActiveDocument.1">
                  <p:embed/>
                </p:oleObj>
              </mc:Choice>
              <mc:Fallback>
                <p:oleObj name="think-cell Slide" r:id="rId3" imgW="231" imgH="232" progId="TCLayout.ActiveDocument.1">
                  <p:embed/>
                  <p:pic>
                    <p:nvPicPr>
                      <p:cNvPr id="8" name="think-cell data - do not delete" hidden="1">
                        <a:extLst>
                          <a:ext uri="{FF2B5EF4-FFF2-40B4-BE49-F238E27FC236}">
                            <a16:creationId xmlns:a16="http://schemas.microsoft.com/office/drawing/2014/main" id="{643BFD99-5BA1-28AD-5E11-C387B48E078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B601CE9C-3FC5-C52F-224C-C96A8CF5D311}"/>
              </a:ext>
            </a:extLst>
          </p:cNvPr>
          <p:cNvSpPr>
            <a:spLocks noGrp="1"/>
          </p:cNvSpPr>
          <p:nvPr>
            <p:ph type="sldNum" sz="quarter" idx="12"/>
          </p:nvPr>
        </p:nvSpPr>
        <p:spPr/>
        <p:txBody>
          <a:bodyPr/>
          <a:lstStyle/>
          <a:p>
            <a:fld id="{BFCF0D39-BEE8-4D89-987A-40261FE54395}" type="slidenum">
              <a:rPr lang="en-GB" smtClean="0"/>
              <a:t>7</a:t>
            </a:fld>
            <a:endParaRPr lang="en-GB" dirty="0"/>
          </a:p>
        </p:txBody>
      </p:sp>
      <p:sp>
        <p:nvSpPr>
          <p:cNvPr id="9" name="TextBox 8">
            <a:extLst>
              <a:ext uri="{FF2B5EF4-FFF2-40B4-BE49-F238E27FC236}">
                <a16:creationId xmlns:a16="http://schemas.microsoft.com/office/drawing/2014/main" id="{171CCCF6-C213-90CB-C3F8-A5F62C41A1A5}"/>
              </a:ext>
            </a:extLst>
          </p:cNvPr>
          <p:cNvSpPr txBox="1"/>
          <p:nvPr/>
        </p:nvSpPr>
        <p:spPr>
          <a:xfrm>
            <a:off x="531692" y="360000"/>
            <a:ext cx="8374154" cy="468000"/>
          </a:xfrm>
          <a:prstGeom prst="rect">
            <a:avLst/>
          </a:prstGeom>
        </p:spPr>
        <p:txBody>
          <a:bodyPr vert="horz" lIns="0" tIns="0" rIns="0" bIns="0" rtlCol="0" anchor="b">
            <a:normAutofit/>
          </a:bodyPr>
          <a:lstStyle/>
          <a:p>
            <a:pPr marL="0" marR="0" lvl="0" indent="0" algn="l" defTabSz="1125444" rtl="0" eaLnBrk="1" fontAlgn="auto" latinLnBrk="0" hangingPunct="1">
              <a:lnSpc>
                <a:spcPct val="90000"/>
              </a:lnSpc>
              <a:spcBef>
                <a:spcPct val="0"/>
              </a:spcBef>
              <a:spcAft>
                <a:spcPts val="600"/>
              </a:spcAft>
              <a:buClrTx/>
              <a:buSzTx/>
              <a:buFontTx/>
              <a:buNone/>
              <a:tabLst/>
              <a:defRPr/>
            </a:pPr>
            <a:endParaRPr kumimoji="0" lang="en-US" sz="1600" b="0" i="0" u="none" strike="noStrike" kern="1200" cap="none" spc="0" normalizeH="0" baseline="0" noProof="0">
              <a:ln>
                <a:noFill/>
              </a:ln>
              <a:solidFill>
                <a:srgbClr val="002868"/>
              </a:solidFill>
              <a:effectLst/>
              <a:uLnTx/>
              <a:uFillTx/>
              <a:latin typeface="Cambria"/>
              <a:ea typeface="+mn-ea"/>
              <a:cs typeface="+mn-cs"/>
            </a:endParaRPr>
          </a:p>
        </p:txBody>
      </p:sp>
      <p:sp>
        <p:nvSpPr>
          <p:cNvPr id="10" name="Footer Placeholder 4">
            <a:extLst>
              <a:ext uri="{FF2B5EF4-FFF2-40B4-BE49-F238E27FC236}">
                <a16:creationId xmlns:a16="http://schemas.microsoft.com/office/drawing/2014/main" id="{BB2677B0-9CAC-3FF9-CACE-C982325460DC}"/>
              </a:ext>
            </a:extLst>
          </p:cNvPr>
          <p:cNvSpPr txBox="1">
            <a:spLocks/>
          </p:cNvSpPr>
          <p:nvPr/>
        </p:nvSpPr>
        <p:spPr>
          <a:xfrm>
            <a:off x="4005897" y="6291788"/>
            <a:ext cx="8005606" cy="692497"/>
          </a:xfrm>
          <a:prstGeom prst="rect">
            <a:avLst/>
          </a:prstGeom>
        </p:spPr>
        <p:txBody>
          <a:bodyPr vert="horz" lIns="0" tIns="0" rIns="0" bIns="0" rtlCol="0" anchor="b">
            <a:spAutoFit/>
          </a:bodyPr>
          <a:lstStyle>
            <a:defPPr>
              <a:defRPr lang="en-US"/>
            </a:defPPr>
            <a:lvl1pPr marL="0" algn="l" defTabSz="914400" rtl="0" eaLnBrk="1" latinLnBrk="0" hangingPunct="1">
              <a:defRPr sz="1000" kern="1200" cap="none" spc="62" baseline="0">
                <a:solidFill>
                  <a:schemeClr val="tx1">
                    <a:lumMod val="60000"/>
                    <a:lumOff val="4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sz="900" spc="0" baseline="30000" dirty="0">
                <a:solidFill>
                  <a:srgbClr val="4D4E53"/>
                </a:solidFill>
                <a:latin typeface="Cambria"/>
              </a:rPr>
              <a:t>1  </a:t>
            </a:r>
            <a:r>
              <a:rPr lang="en-GB" sz="900" spc="0" dirty="0">
                <a:solidFill>
                  <a:srgbClr val="4D4E53"/>
                </a:solidFill>
                <a:latin typeface="Cambria"/>
              </a:rPr>
              <a:t>Weighted average across Capital and Income portfolios</a:t>
            </a:r>
          </a:p>
          <a:p>
            <a:pPr>
              <a:defRPr/>
            </a:pPr>
            <a:r>
              <a:rPr lang="en-US" sz="900" spc="0" baseline="30000" dirty="0">
                <a:solidFill>
                  <a:srgbClr val="4D4E53"/>
                </a:solidFill>
                <a:latin typeface="Cambria"/>
              </a:rPr>
              <a:t>2</a:t>
            </a:r>
            <a:r>
              <a:rPr lang="en-US" sz="900" spc="0" dirty="0">
                <a:solidFill>
                  <a:srgbClr val="4D4E53"/>
                </a:solidFill>
                <a:latin typeface="Cambria"/>
              </a:rPr>
              <a:t> From December 2017 to March 2025</a:t>
            </a:r>
          </a:p>
          <a:p>
            <a:pPr>
              <a:defRPr/>
            </a:pPr>
            <a:r>
              <a:rPr lang="en-US" sz="900" spc="0" baseline="30000" dirty="0">
                <a:solidFill>
                  <a:srgbClr val="4D4E53"/>
                </a:solidFill>
                <a:latin typeface="Cambria"/>
              </a:rPr>
              <a:t>3 </a:t>
            </a:r>
            <a:r>
              <a:rPr lang="en-US" sz="900" spc="0" dirty="0">
                <a:solidFill>
                  <a:srgbClr val="4D4E53"/>
                </a:solidFill>
                <a:latin typeface="Cambria"/>
              </a:rPr>
              <a:t>As at 31 March 2025</a:t>
            </a:r>
          </a:p>
          <a:p>
            <a:pPr>
              <a:defRPr/>
            </a:pPr>
            <a:endParaRPr lang="en-US" sz="900" spc="0" dirty="0">
              <a:solidFill>
                <a:srgbClr val="4D4E53"/>
              </a:solidFill>
              <a:latin typeface="Cambria"/>
            </a:endParaRPr>
          </a:p>
          <a:p>
            <a:pPr>
              <a:defRPr/>
            </a:pPr>
            <a:endParaRPr lang="en-GB" sz="900" spc="0" dirty="0">
              <a:solidFill>
                <a:srgbClr val="4D4E53"/>
              </a:solidFill>
              <a:latin typeface="Cambria"/>
            </a:endParaRPr>
          </a:p>
        </p:txBody>
      </p:sp>
      <p:sp>
        <p:nvSpPr>
          <p:cNvPr id="12" name="Content Placeholder 6">
            <a:extLst>
              <a:ext uri="{FF2B5EF4-FFF2-40B4-BE49-F238E27FC236}">
                <a16:creationId xmlns:a16="http://schemas.microsoft.com/office/drawing/2014/main" id="{65D31094-5DBC-099B-F260-C029A44CDE55}"/>
              </a:ext>
            </a:extLst>
          </p:cNvPr>
          <p:cNvSpPr>
            <a:spLocks/>
          </p:cNvSpPr>
          <p:nvPr/>
        </p:nvSpPr>
        <p:spPr>
          <a:xfrm>
            <a:off x="519456" y="3436699"/>
            <a:ext cx="3373617" cy="2073683"/>
          </a:xfrm>
          <a:prstGeom prst="rect">
            <a:avLst/>
          </a:prstGeom>
          <a:solidFill>
            <a:schemeClr val="accent3"/>
          </a:solidFill>
          <a:ln w="12700">
            <a:solidFill>
              <a:schemeClr val="accent3"/>
            </a:solidFill>
          </a:ln>
        </p:spPr>
        <p:txBody>
          <a:bodyPr/>
          <a:lstStyle/>
          <a:p>
            <a:pPr marL="0" marR="0" lvl="0" indent="0" algn="l" defTabSz="576072" rtl="0" eaLnBrk="1" fontAlgn="auto" latinLnBrk="0" hangingPunct="1">
              <a:lnSpc>
                <a:spcPct val="100000"/>
              </a:lnSpc>
              <a:spcBef>
                <a:spcPts val="0"/>
              </a:spcBef>
              <a:spcAft>
                <a:spcPts val="600"/>
              </a:spcAft>
              <a:buClrTx/>
              <a:buSzTx/>
              <a:buFontTx/>
              <a:buNone/>
              <a:tabLst/>
              <a:defRPr/>
            </a:pPr>
            <a:r>
              <a:rPr kumimoji="0" lang="en-GB" sz="1600" b="1" i="0" u="none" strike="noStrike" kern="1200" cap="none" spc="0" normalizeH="0" baseline="0" noProof="0" dirty="0">
                <a:ln>
                  <a:noFill/>
                </a:ln>
                <a:solidFill>
                  <a:schemeClr val="bg1"/>
                </a:solidFill>
                <a:effectLst/>
                <a:uLnTx/>
                <a:uFillTx/>
                <a:latin typeface="Cambria"/>
                <a:ea typeface="+mn-ea"/>
                <a:cs typeface="+mn-cs"/>
              </a:rPr>
              <a:t>Performance:​</a:t>
            </a:r>
            <a:r>
              <a:rPr lang="en-GB" sz="1600" baseline="30000" dirty="0">
                <a:solidFill>
                  <a:schemeClr val="bg1"/>
                </a:solidFill>
                <a:latin typeface="Cambria"/>
              </a:rPr>
              <a:t>2</a:t>
            </a:r>
            <a:endParaRPr kumimoji="0" lang="en-GB" sz="1600" i="0" u="none" strike="noStrike" kern="1200" cap="none" spc="0" normalizeH="0" baseline="30000" noProof="0" dirty="0">
              <a:ln>
                <a:noFill/>
              </a:ln>
              <a:solidFill>
                <a:schemeClr val="bg1"/>
              </a:solidFill>
              <a:effectLst/>
              <a:uLnTx/>
              <a:uFillTx/>
              <a:latin typeface="Cambria"/>
              <a:ea typeface="+mn-ea"/>
              <a:cs typeface="+mn-cs"/>
            </a:endParaRPr>
          </a:p>
          <a:p>
            <a:pPr marL="285750" marR="0" lvl="0" indent="-285750" algn="l" defTabSz="576072"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chemeClr val="bg1"/>
                </a:solidFill>
                <a:effectLst/>
                <a:uLnTx/>
                <a:uFillTx/>
                <a:latin typeface="Cambria"/>
                <a:ea typeface="+mn-ea"/>
                <a:cs typeface="+mn-cs"/>
              </a:rPr>
              <a:t>Revenue +77% from $4.3bn to $7.6bn </a:t>
            </a:r>
          </a:p>
          <a:p>
            <a:pPr marL="285750" marR="0" lvl="0" indent="-285750" algn="l" defTabSz="576072"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chemeClr val="bg1"/>
                </a:solidFill>
                <a:effectLst/>
                <a:uLnTx/>
                <a:uFillTx/>
                <a:latin typeface="Cambria"/>
                <a:ea typeface="+mn-ea"/>
                <a:cs typeface="+mn-cs"/>
              </a:rPr>
              <a:t>EBIT margins +210bps to 10.3%</a:t>
            </a:r>
          </a:p>
          <a:p>
            <a:pPr marL="285750" marR="0" lvl="0" indent="-285750" algn="l" defTabSz="576072"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chemeClr val="bg1"/>
                </a:solidFill>
                <a:effectLst/>
                <a:uLnTx/>
                <a:uFillTx/>
                <a:latin typeface="Cambria"/>
                <a:ea typeface="+mn-ea"/>
                <a:cs typeface="+mn-cs"/>
              </a:rPr>
              <a:t>Since initial investment, share price &gt; tripled – market cap $20.53bn</a:t>
            </a:r>
            <a:r>
              <a:rPr lang="en-GB" sz="1600" baseline="30000" dirty="0">
                <a:solidFill>
                  <a:schemeClr val="bg1"/>
                </a:solidFill>
                <a:latin typeface="Cambria"/>
              </a:rPr>
              <a:t>3</a:t>
            </a:r>
            <a:endParaRPr kumimoji="0" lang="en-GB" sz="1600" b="0" i="0" u="none" strike="noStrike" kern="1200" cap="none" spc="0" normalizeH="0" baseline="0" noProof="0" dirty="0">
              <a:ln>
                <a:noFill/>
              </a:ln>
              <a:solidFill>
                <a:schemeClr val="bg1"/>
              </a:solidFill>
              <a:effectLst/>
              <a:uLnTx/>
              <a:uFillTx/>
              <a:latin typeface="Cambria"/>
              <a:ea typeface="+mn-ea"/>
              <a:cs typeface="+mn-cs"/>
            </a:endParaRPr>
          </a:p>
        </p:txBody>
      </p:sp>
      <p:cxnSp>
        <p:nvCxnSpPr>
          <p:cNvPr id="13" name="Straight Connector 12">
            <a:extLst>
              <a:ext uri="{FF2B5EF4-FFF2-40B4-BE49-F238E27FC236}">
                <a16:creationId xmlns:a16="http://schemas.microsoft.com/office/drawing/2014/main" id="{CE471B38-08AF-1D14-8A9F-C457687E6787}"/>
              </a:ext>
            </a:extLst>
          </p:cNvPr>
          <p:cNvCxnSpPr>
            <a:cxnSpLocks/>
          </p:cNvCxnSpPr>
          <p:nvPr/>
        </p:nvCxnSpPr>
        <p:spPr>
          <a:xfrm>
            <a:off x="526732" y="1238874"/>
            <a:ext cx="1340168" cy="0"/>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4" name="Title 7">
            <a:extLst>
              <a:ext uri="{FF2B5EF4-FFF2-40B4-BE49-F238E27FC236}">
                <a16:creationId xmlns:a16="http://schemas.microsoft.com/office/drawing/2014/main" id="{EA0CE4BE-29C9-4C03-C838-CADB708D909A}"/>
              </a:ext>
            </a:extLst>
          </p:cNvPr>
          <p:cNvSpPr>
            <a:spLocks noGrp="1"/>
          </p:cNvSpPr>
          <p:nvPr>
            <p:ph type="title"/>
          </p:nvPr>
        </p:nvSpPr>
        <p:spPr>
          <a:xfrm>
            <a:off x="531692" y="360000"/>
            <a:ext cx="8374154" cy="468000"/>
          </a:xfrm>
        </p:spPr>
        <p:txBody>
          <a:bodyPr>
            <a:normAutofit/>
          </a:bodyPr>
          <a:lstStyle/>
          <a:p>
            <a:r>
              <a:rPr lang="en-GB" sz="3200" dirty="0"/>
              <a:t>Public Companies (cont’d)</a:t>
            </a:r>
            <a:endParaRPr lang="en-GB" sz="3200" dirty="0">
              <a:solidFill>
                <a:srgbClr val="FF0000"/>
              </a:solidFill>
            </a:endParaRPr>
          </a:p>
        </p:txBody>
      </p:sp>
      <p:sp>
        <p:nvSpPr>
          <p:cNvPr id="15" name="Text Placeholder 1">
            <a:extLst>
              <a:ext uri="{FF2B5EF4-FFF2-40B4-BE49-F238E27FC236}">
                <a16:creationId xmlns:a16="http://schemas.microsoft.com/office/drawing/2014/main" id="{2E8E1DAB-A06E-06B6-BCB0-7E9EE4D88135}"/>
              </a:ext>
            </a:extLst>
          </p:cNvPr>
          <p:cNvSpPr txBox="1">
            <a:spLocks/>
          </p:cNvSpPr>
          <p:nvPr/>
        </p:nvSpPr>
        <p:spPr>
          <a:xfrm>
            <a:off x="531692" y="828000"/>
            <a:ext cx="8220798" cy="324000"/>
          </a:xfrm>
          <a:prstGeom prst="rect">
            <a:avLst/>
          </a:prstGeom>
        </p:spPr>
        <p:txBody>
          <a:bodyPr vert="horz" wrap="square" lIns="0" tIns="0" rIns="0" bIns="0" rtlCol="0">
            <a:normAutofit/>
          </a:bodyPr>
          <a:lstStyle>
            <a:lvl1pPr marL="0" indent="0" algn="l" defTabSz="1125444" rtl="0" eaLnBrk="1" latinLnBrk="0" hangingPunct="1">
              <a:lnSpc>
                <a:spcPct val="90000"/>
              </a:lnSpc>
              <a:spcBef>
                <a:spcPts val="2215"/>
              </a:spcBef>
              <a:buFont typeface="Arial" panose="020B0604020202020204" pitchFamily="34" charset="0"/>
              <a:buNone/>
              <a:defRPr sz="2215" b="0" kern="1200">
                <a:solidFill>
                  <a:schemeClr val="tx1"/>
                </a:solidFill>
                <a:latin typeface="+mj-lt"/>
                <a:ea typeface="+mn-ea"/>
                <a:cs typeface="+mn-cs"/>
              </a:defRPr>
            </a:lvl1pPr>
            <a:lvl2pPr marL="562722" indent="0" algn="l" defTabSz="1125444" rtl="0" eaLnBrk="1" latinLnBrk="0" hangingPunct="1">
              <a:lnSpc>
                <a:spcPct val="90000"/>
              </a:lnSpc>
              <a:spcBef>
                <a:spcPts val="738"/>
              </a:spcBef>
              <a:buFont typeface="Arial" panose="020B0604020202020204" pitchFamily="34" charset="0"/>
              <a:buNone/>
              <a:defRPr sz="1723" kern="1200">
                <a:solidFill>
                  <a:schemeClr val="tx1"/>
                </a:solidFill>
                <a:latin typeface="+mn-lt"/>
                <a:ea typeface="+mn-ea"/>
                <a:cs typeface="+mn-cs"/>
              </a:defRPr>
            </a:lvl2pPr>
            <a:lvl3pPr marL="1125444" indent="0" algn="l" defTabSz="1125444" rtl="0" eaLnBrk="1" latinLnBrk="0" hangingPunct="1">
              <a:lnSpc>
                <a:spcPct val="90000"/>
              </a:lnSpc>
              <a:spcBef>
                <a:spcPts val="1477"/>
              </a:spcBef>
              <a:buClr>
                <a:schemeClr val="tx2"/>
              </a:buClr>
              <a:buFont typeface="Arial" panose="020B0604020202020204" pitchFamily="34" charset="0"/>
              <a:buNone/>
              <a:defRPr sz="1477" kern="1200">
                <a:solidFill>
                  <a:schemeClr val="tx1"/>
                </a:solidFill>
                <a:latin typeface="+mn-lt"/>
                <a:ea typeface="+mn-ea"/>
                <a:cs typeface="+mn-cs"/>
              </a:defRPr>
            </a:lvl3pPr>
            <a:lvl4pPr marL="1688165" indent="0" algn="l" defTabSz="1125444" rtl="0" eaLnBrk="1" latinLnBrk="0" hangingPunct="1">
              <a:lnSpc>
                <a:spcPct val="90000"/>
              </a:lnSpc>
              <a:spcBef>
                <a:spcPts val="738"/>
              </a:spcBef>
              <a:buFont typeface="Arial" panose="020B0604020202020204" pitchFamily="34" charset="0"/>
              <a:buNone/>
              <a:defRPr sz="1231" kern="1200">
                <a:solidFill>
                  <a:schemeClr val="tx1"/>
                </a:solidFill>
                <a:latin typeface="+mn-lt"/>
                <a:ea typeface="+mn-ea"/>
                <a:cs typeface="+mn-cs"/>
              </a:defRPr>
            </a:lvl4pPr>
            <a:lvl5pPr marL="2250887" indent="0" algn="l" defTabSz="1125444" rtl="0" eaLnBrk="1" latinLnBrk="0" hangingPunct="1">
              <a:lnSpc>
                <a:spcPct val="90000"/>
              </a:lnSpc>
              <a:spcBef>
                <a:spcPts val="369"/>
              </a:spcBef>
              <a:buFont typeface="Arial" panose="020B0604020202020204" pitchFamily="34" charset="0"/>
              <a:buNone/>
              <a:defRPr sz="1231" kern="1200">
                <a:solidFill>
                  <a:schemeClr val="tx1"/>
                </a:solidFill>
                <a:latin typeface="+mn-lt"/>
                <a:ea typeface="+mn-ea"/>
                <a:cs typeface="+mn-cs"/>
              </a:defRPr>
            </a:lvl5pPr>
            <a:lvl6pPr marL="2813609" indent="0" algn="l" defTabSz="1125444" rtl="0" eaLnBrk="1" latinLnBrk="0" hangingPunct="1">
              <a:lnSpc>
                <a:spcPct val="90000"/>
              </a:lnSpc>
              <a:spcBef>
                <a:spcPts val="615"/>
              </a:spcBef>
              <a:buFont typeface="Arial" panose="020B0604020202020204" pitchFamily="34" charset="0"/>
              <a:buNone/>
              <a:defRPr sz="1231" kern="1200">
                <a:solidFill>
                  <a:schemeClr val="tx1"/>
                </a:solidFill>
                <a:latin typeface="+mn-lt"/>
                <a:ea typeface="+mn-ea"/>
                <a:cs typeface="+mn-cs"/>
              </a:defRPr>
            </a:lvl6pPr>
            <a:lvl7pPr marL="3376331" indent="0" algn="l" defTabSz="1125444" rtl="0" eaLnBrk="1" latinLnBrk="0" hangingPunct="1">
              <a:lnSpc>
                <a:spcPct val="90000"/>
              </a:lnSpc>
              <a:spcBef>
                <a:spcPts val="615"/>
              </a:spcBef>
              <a:buFont typeface="Arial" panose="020B0604020202020204" pitchFamily="34" charset="0"/>
              <a:buNone/>
              <a:defRPr sz="1231" kern="1200">
                <a:solidFill>
                  <a:schemeClr val="tx1"/>
                </a:solidFill>
                <a:latin typeface="+mn-lt"/>
                <a:ea typeface="+mn-ea"/>
                <a:cs typeface="+mn-cs"/>
              </a:defRPr>
            </a:lvl7pPr>
            <a:lvl8pPr marL="3939052" indent="0" algn="l" defTabSz="1125444" rtl="0" eaLnBrk="1" latinLnBrk="0" hangingPunct="1">
              <a:lnSpc>
                <a:spcPct val="90000"/>
              </a:lnSpc>
              <a:spcBef>
                <a:spcPts val="615"/>
              </a:spcBef>
              <a:buFont typeface="Arial" panose="020B0604020202020204" pitchFamily="34" charset="0"/>
              <a:buNone/>
              <a:defRPr sz="1231" kern="1200">
                <a:solidFill>
                  <a:schemeClr val="tx1"/>
                </a:solidFill>
                <a:latin typeface="+mn-lt"/>
                <a:ea typeface="+mn-ea"/>
                <a:cs typeface="+mn-cs"/>
              </a:defRPr>
            </a:lvl8pPr>
            <a:lvl9pPr marL="4501774" indent="0" algn="l" defTabSz="1125444" rtl="0" eaLnBrk="1" latinLnBrk="0" hangingPunct="1">
              <a:lnSpc>
                <a:spcPct val="90000"/>
              </a:lnSpc>
              <a:spcBef>
                <a:spcPts val="615"/>
              </a:spcBef>
              <a:buFont typeface="Arial" panose="020B0604020202020204" pitchFamily="34" charset="0"/>
              <a:buNone/>
              <a:defRPr sz="1231" kern="1200">
                <a:solidFill>
                  <a:schemeClr val="tx1"/>
                </a:solidFill>
                <a:latin typeface="+mn-lt"/>
                <a:ea typeface="+mn-ea"/>
                <a:cs typeface="+mn-cs"/>
              </a:defRPr>
            </a:lvl9pPr>
          </a:lstStyle>
          <a:p>
            <a:pPr marL="0" marR="0" lvl="0" indent="0" algn="l" defTabSz="1125444" rtl="0" eaLnBrk="1" fontAlgn="auto" latinLnBrk="0" hangingPunct="1">
              <a:lnSpc>
                <a:spcPct val="90000"/>
              </a:lnSpc>
              <a:spcBef>
                <a:spcPts val="2215"/>
              </a:spcBef>
              <a:spcAft>
                <a:spcPts val="0"/>
              </a:spcAft>
              <a:buClrTx/>
              <a:buSzTx/>
              <a:buFont typeface="Arial" panose="020B0604020202020204" pitchFamily="34" charset="0"/>
              <a:buNone/>
              <a:tabLst/>
              <a:defRPr/>
            </a:pPr>
            <a:r>
              <a:rPr kumimoji="0" lang="en-US" sz="1800" b="1" i="0" u="none" strike="noStrike" kern="1200" cap="none" spc="0" normalizeH="0" baseline="0" noProof="0" dirty="0">
                <a:ln>
                  <a:noFill/>
                </a:ln>
                <a:solidFill>
                  <a:srgbClr val="4D4E53"/>
                </a:solidFill>
                <a:effectLst/>
                <a:uLnTx/>
                <a:uFillTx/>
                <a:latin typeface="Cambria"/>
                <a:ea typeface="+mn-ea"/>
                <a:cs typeface="+mn-cs"/>
              </a:rPr>
              <a:t>Watsco</a:t>
            </a:r>
            <a:r>
              <a:rPr kumimoji="0" lang="en-US" sz="1800" b="0" i="0" u="none" strike="noStrike" kern="1200" cap="none" spc="0" normalizeH="0" baseline="0" noProof="0" dirty="0">
                <a:ln>
                  <a:noFill/>
                </a:ln>
                <a:solidFill>
                  <a:srgbClr val="4D4E53"/>
                </a:solidFill>
                <a:effectLst/>
                <a:uLnTx/>
                <a:uFillTx/>
                <a:latin typeface="Cambria"/>
                <a:ea typeface="+mn-ea"/>
                <a:cs typeface="+mn-cs"/>
              </a:rPr>
              <a:t>: 25% annualised total return since first investment</a:t>
            </a:r>
          </a:p>
        </p:txBody>
      </p:sp>
      <p:sp>
        <p:nvSpPr>
          <p:cNvPr id="5" name="Content Placeholder 2">
            <a:extLst>
              <a:ext uri="{FF2B5EF4-FFF2-40B4-BE49-F238E27FC236}">
                <a16:creationId xmlns:a16="http://schemas.microsoft.com/office/drawing/2014/main" id="{7BBA5333-FF32-24AC-16B8-FFB616305A56}"/>
              </a:ext>
            </a:extLst>
          </p:cNvPr>
          <p:cNvSpPr>
            <a:spLocks/>
          </p:cNvSpPr>
          <p:nvPr/>
        </p:nvSpPr>
        <p:spPr>
          <a:xfrm>
            <a:off x="519456" y="1843740"/>
            <a:ext cx="3373618" cy="932118"/>
          </a:xfrm>
          <a:prstGeom prst="rect">
            <a:avLst/>
          </a:prstGeom>
          <a:solidFill>
            <a:schemeClr val="accent1">
              <a:alpha val="30000"/>
            </a:schemeClr>
          </a:solidFill>
          <a:ln w="12700">
            <a:noFill/>
          </a:ln>
        </p:spPr>
        <p:txBody>
          <a:bodyPr/>
          <a:lstStyle/>
          <a:p>
            <a:pPr>
              <a:tabLst>
                <a:tab pos="2330450" algn="l"/>
              </a:tabLst>
            </a:pPr>
            <a:r>
              <a:rPr lang="en-GB" sz="1600" b="1" dirty="0">
                <a:solidFill>
                  <a:schemeClr val="tx2"/>
                </a:solidFill>
              </a:rPr>
              <a:t>Cost</a:t>
            </a:r>
            <a:r>
              <a:rPr lang="en-GB" sz="1600" b="1" baseline="30000" dirty="0">
                <a:solidFill>
                  <a:schemeClr val="tx2"/>
                </a:solidFill>
              </a:rPr>
              <a:t>1</a:t>
            </a:r>
            <a:r>
              <a:rPr lang="en-GB" sz="1600" b="1" dirty="0">
                <a:solidFill>
                  <a:schemeClr val="tx2"/>
                </a:solidFill>
              </a:rPr>
              <a:t>:	£24m</a:t>
            </a:r>
          </a:p>
          <a:p>
            <a:pPr>
              <a:tabLst>
                <a:tab pos="2330450" algn="l"/>
              </a:tabLst>
            </a:pPr>
            <a:r>
              <a:rPr lang="en-GB" sz="1600" b="1" dirty="0">
                <a:solidFill>
                  <a:schemeClr val="tx2"/>
                </a:solidFill>
              </a:rPr>
              <a:t>31 March 2025 Value:	£77m </a:t>
            </a:r>
          </a:p>
          <a:p>
            <a:pPr defTabSz="777875"/>
            <a:r>
              <a:rPr lang="en-GB" sz="1600" b="1" dirty="0">
                <a:solidFill>
                  <a:schemeClr val="tx2"/>
                </a:solidFill>
              </a:rPr>
              <a:t>(% NAV):		2.6%</a:t>
            </a:r>
          </a:p>
        </p:txBody>
      </p:sp>
      <p:sp>
        <p:nvSpPr>
          <p:cNvPr id="2" name="TextBox 1">
            <a:extLst>
              <a:ext uri="{FF2B5EF4-FFF2-40B4-BE49-F238E27FC236}">
                <a16:creationId xmlns:a16="http://schemas.microsoft.com/office/drawing/2014/main" id="{F8A59096-D77C-9733-E666-B27DB13E3F1F}"/>
              </a:ext>
            </a:extLst>
          </p:cNvPr>
          <p:cNvSpPr txBox="1"/>
          <p:nvPr/>
        </p:nvSpPr>
        <p:spPr>
          <a:xfrm>
            <a:off x="445615" y="6379532"/>
            <a:ext cx="2791149" cy="461665"/>
          </a:xfrm>
          <a:prstGeom prst="rect">
            <a:avLst/>
          </a:prstGeom>
          <a:noFill/>
        </p:spPr>
        <p:txBody>
          <a:bodyPr wrap="none" rtlCol="0">
            <a:spAutoFit/>
          </a:bodyPr>
          <a:lstStyle/>
          <a:p>
            <a:r>
              <a:rPr lang="en-US" sz="800" dirty="0">
                <a:solidFill>
                  <a:schemeClr val="tx1"/>
                </a:solidFill>
                <a:latin typeface="Cambria" panose="02040503050406030204" pitchFamily="18" charset="0"/>
                <a:ea typeface="Cambria" panose="02040503050406030204" pitchFamily="18" charset="0"/>
              </a:rPr>
              <a:t>Past performance is not a reliable indicator of future results</a:t>
            </a:r>
            <a:endParaRPr lang="en-GB" sz="800" dirty="0"/>
          </a:p>
          <a:p>
            <a:r>
              <a:rPr lang="en-GB" sz="800" dirty="0"/>
              <a:t>Caledonia financial information at 31 March 2025</a:t>
            </a:r>
          </a:p>
          <a:p>
            <a:endParaRPr lang="en-GB" sz="800" dirty="0"/>
          </a:p>
        </p:txBody>
      </p:sp>
      <p:sp>
        <p:nvSpPr>
          <p:cNvPr id="19" name="Footer Placeholder 4">
            <a:extLst>
              <a:ext uri="{FF2B5EF4-FFF2-40B4-BE49-F238E27FC236}">
                <a16:creationId xmlns:a16="http://schemas.microsoft.com/office/drawing/2014/main" id="{860EB843-D621-2551-574B-345F5DB8FFB8}"/>
              </a:ext>
            </a:extLst>
          </p:cNvPr>
          <p:cNvSpPr txBox="1">
            <a:spLocks/>
          </p:cNvSpPr>
          <p:nvPr/>
        </p:nvSpPr>
        <p:spPr>
          <a:xfrm>
            <a:off x="4016977" y="6722605"/>
            <a:ext cx="6932613" cy="123111"/>
          </a:xfrm>
          <a:prstGeom prst="rect">
            <a:avLst/>
          </a:prstGeom>
        </p:spPr>
        <p:txBody>
          <a:bodyPr vert="horz" wrap="square" lIns="0" tIns="0" rIns="0" bIns="0" rtlCol="0" anchor="b">
            <a:spAutoFit/>
          </a:bodyPr>
          <a:lstStyle>
            <a:defPPr>
              <a:defRPr lang="en-US"/>
            </a:defPPr>
            <a:lvl1pPr marL="0" algn="l" defTabSz="914400" rtl="0" eaLnBrk="1" latinLnBrk="0" hangingPunct="1">
              <a:defRPr sz="1000" kern="1200" cap="none" spc="50" baseline="0">
                <a:solidFill>
                  <a:schemeClr val="tx1">
                    <a:lumMod val="60000"/>
                    <a:lumOff val="4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800" dirty="0">
                <a:solidFill>
                  <a:srgbClr val="000000"/>
                </a:solidFill>
              </a:rPr>
              <a:t>Data source: Bloomberg WSO NYSE. Caledonia first investment February 2017 </a:t>
            </a:r>
            <a:endParaRPr lang="en-GB" sz="800" dirty="0">
              <a:solidFill>
                <a:srgbClr val="000000"/>
              </a:solidFill>
              <a:highlight>
                <a:srgbClr val="FFFF00"/>
              </a:highlight>
            </a:endParaRPr>
          </a:p>
        </p:txBody>
      </p:sp>
      <p:graphicFrame>
        <p:nvGraphicFramePr>
          <p:cNvPr id="33" name="Chart 32">
            <a:extLst>
              <a:ext uri="{FF2B5EF4-FFF2-40B4-BE49-F238E27FC236}">
                <a16:creationId xmlns:a16="http://schemas.microsoft.com/office/drawing/2014/main" id="{5AAD0AC5-B0B6-F589-2453-660109B8F84D}"/>
              </a:ext>
            </a:extLst>
          </p:cNvPr>
          <p:cNvGraphicFramePr>
            <a:graphicFrameLocks/>
          </p:cNvGraphicFramePr>
          <p:nvPr/>
        </p:nvGraphicFramePr>
        <p:xfrm>
          <a:off x="4308425" y="1641259"/>
          <a:ext cx="7285477" cy="4507441"/>
        </p:xfrm>
        <a:graphic>
          <a:graphicData uri="http://schemas.openxmlformats.org/drawingml/2006/chart">
            <c:chart xmlns:c="http://schemas.openxmlformats.org/drawingml/2006/chart" xmlns:r="http://schemas.openxmlformats.org/officeDocument/2006/relationships" r:id="rId5"/>
          </a:graphicData>
        </a:graphic>
      </p:graphicFrame>
      <p:sp>
        <p:nvSpPr>
          <p:cNvPr id="34" name="TextBox 33">
            <a:extLst>
              <a:ext uri="{FF2B5EF4-FFF2-40B4-BE49-F238E27FC236}">
                <a16:creationId xmlns:a16="http://schemas.microsoft.com/office/drawing/2014/main" id="{B7FBA5E6-712A-48B7-41D6-F2ABCF978893}"/>
              </a:ext>
            </a:extLst>
          </p:cNvPr>
          <p:cNvSpPr txBox="1"/>
          <p:nvPr/>
        </p:nvSpPr>
        <p:spPr>
          <a:xfrm rot="18835845">
            <a:off x="11207645" y="5741661"/>
            <a:ext cx="638927"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898A92"/>
                </a:solidFill>
                <a:effectLst/>
                <a:uLnTx/>
                <a:uFillTx/>
                <a:latin typeface="Cambria"/>
                <a:ea typeface="+mn-ea"/>
                <a:cs typeface="+mn-cs"/>
              </a:rPr>
              <a:t>Mar 25</a:t>
            </a:r>
          </a:p>
        </p:txBody>
      </p:sp>
      <p:cxnSp>
        <p:nvCxnSpPr>
          <p:cNvPr id="38" name="Straight Arrow Connector 37">
            <a:extLst>
              <a:ext uri="{FF2B5EF4-FFF2-40B4-BE49-F238E27FC236}">
                <a16:creationId xmlns:a16="http://schemas.microsoft.com/office/drawing/2014/main" id="{ACEDAD64-4BA2-61F6-7C3A-763D907DB9D0}"/>
              </a:ext>
            </a:extLst>
          </p:cNvPr>
          <p:cNvCxnSpPr>
            <a:cxnSpLocks/>
          </p:cNvCxnSpPr>
          <p:nvPr/>
        </p:nvCxnSpPr>
        <p:spPr>
          <a:xfrm>
            <a:off x="4718769" y="5322498"/>
            <a:ext cx="6875133"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41FD5487-70AA-7A5E-EEE2-7A922EDEA4A8}"/>
              </a:ext>
            </a:extLst>
          </p:cNvPr>
          <p:cNvSpPr txBox="1"/>
          <p:nvPr/>
        </p:nvSpPr>
        <p:spPr>
          <a:xfrm>
            <a:off x="7013275" y="4980284"/>
            <a:ext cx="2810193"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4D4E53"/>
                </a:solidFill>
                <a:effectLst/>
                <a:uLnTx/>
                <a:uFillTx/>
                <a:latin typeface="Cambria"/>
                <a:ea typeface="+mn-ea"/>
                <a:cs typeface="+mn-cs"/>
              </a:rPr>
              <a:t>25% annualised return (£)</a:t>
            </a:r>
          </a:p>
        </p:txBody>
      </p:sp>
      <p:cxnSp>
        <p:nvCxnSpPr>
          <p:cNvPr id="40" name="Straight Connector 39">
            <a:extLst>
              <a:ext uri="{FF2B5EF4-FFF2-40B4-BE49-F238E27FC236}">
                <a16:creationId xmlns:a16="http://schemas.microsoft.com/office/drawing/2014/main" id="{9FC2A80D-A4ED-1712-D3A3-3B118E1B409A}"/>
              </a:ext>
            </a:extLst>
          </p:cNvPr>
          <p:cNvCxnSpPr>
            <a:cxnSpLocks/>
          </p:cNvCxnSpPr>
          <p:nvPr/>
        </p:nvCxnSpPr>
        <p:spPr>
          <a:xfrm flipH="1">
            <a:off x="4676717" y="2600325"/>
            <a:ext cx="2" cy="2722173"/>
          </a:xfrm>
          <a:prstGeom prst="line">
            <a:avLst/>
          </a:prstGeom>
          <a:ln>
            <a:solidFill>
              <a:schemeClr val="tx2"/>
            </a:solidFill>
            <a:prstDash val="dash"/>
          </a:ln>
        </p:spPr>
        <p:style>
          <a:lnRef idx="1">
            <a:schemeClr val="dk1"/>
          </a:lnRef>
          <a:fillRef idx="0">
            <a:schemeClr val="dk1"/>
          </a:fillRef>
          <a:effectRef idx="0">
            <a:schemeClr val="dk1"/>
          </a:effectRef>
          <a:fontRef idx="minor">
            <a:schemeClr val="tx1"/>
          </a:fontRef>
        </p:style>
      </p:cxnSp>
      <p:cxnSp>
        <p:nvCxnSpPr>
          <p:cNvPr id="41" name="Straight Connector 40">
            <a:extLst>
              <a:ext uri="{FF2B5EF4-FFF2-40B4-BE49-F238E27FC236}">
                <a16:creationId xmlns:a16="http://schemas.microsoft.com/office/drawing/2014/main" id="{079B1EB5-5D62-0081-8039-4E6C21266B43}"/>
              </a:ext>
            </a:extLst>
          </p:cNvPr>
          <p:cNvCxnSpPr>
            <a:cxnSpLocks/>
          </p:cNvCxnSpPr>
          <p:nvPr/>
        </p:nvCxnSpPr>
        <p:spPr>
          <a:xfrm>
            <a:off x="4887522" y="2600325"/>
            <a:ext cx="0" cy="2722173"/>
          </a:xfrm>
          <a:prstGeom prst="line">
            <a:avLst/>
          </a:prstGeom>
          <a:ln>
            <a:solidFill>
              <a:schemeClr val="tx2"/>
            </a:solidFill>
            <a:prstDash val="dash"/>
          </a:ln>
        </p:spPr>
        <p:style>
          <a:lnRef idx="1">
            <a:schemeClr val="dk1"/>
          </a:lnRef>
          <a:fillRef idx="0">
            <a:schemeClr val="dk1"/>
          </a:fillRef>
          <a:effectRef idx="0">
            <a:schemeClr val="dk1"/>
          </a:effectRef>
          <a:fontRef idx="minor">
            <a:schemeClr val="tx1"/>
          </a:fontRef>
        </p:style>
      </p:cxnSp>
      <p:sp>
        <p:nvSpPr>
          <p:cNvPr id="42" name="TextBox 41">
            <a:extLst>
              <a:ext uri="{FF2B5EF4-FFF2-40B4-BE49-F238E27FC236}">
                <a16:creationId xmlns:a16="http://schemas.microsoft.com/office/drawing/2014/main" id="{9BE34FB8-69D1-C660-FC7B-3B71EAEEBBFE}"/>
              </a:ext>
            </a:extLst>
          </p:cNvPr>
          <p:cNvSpPr txBox="1"/>
          <p:nvPr/>
        </p:nvSpPr>
        <p:spPr>
          <a:xfrm>
            <a:off x="4320495" y="1845961"/>
            <a:ext cx="923250" cy="6001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4D4E53"/>
                </a:solidFill>
                <a:effectLst/>
                <a:uLnTx/>
                <a:uFillTx/>
                <a:latin typeface="Cambria"/>
                <a:ea typeface="+mn-ea"/>
                <a:cs typeface="+mn-cs"/>
              </a:rPr>
              <a:t>Initial investment ($146)</a:t>
            </a:r>
          </a:p>
        </p:txBody>
      </p:sp>
    </p:spTree>
    <p:extLst>
      <p:ext uri="{BB962C8B-B14F-4D97-AF65-F5344CB8AC3E}">
        <p14:creationId xmlns:p14="http://schemas.microsoft.com/office/powerpoint/2010/main" val="382766891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50233034-ACA9-C92B-3727-E70B611983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47" imgH="348" progId="TCLayout.ActiveDocument.1">
                  <p:embed/>
                </p:oleObj>
              </mc:Choice>
              <mc:Fallback>
                <p:oleObj name="think-cell Slide" r:id="rId8" imgW="347" imgH="348" progId="TCLayout.ActiveDocument.1">
                  <p:embed/>
                  <p:pic>
                    <p:nvPicPr>
                      <p:cNvPr id="16" name="think-cell data - do not delete" hidden="1">
                        <a:extLst>
                          <a:ext uri="{FF2B5EF4-FFF2-40B4-BE49-F238E27FC236}">
                            <a16:creationId xmlns:a16="http://schemas.microsoft.com/office/drawing/2014/main" id="{50233034-ACA9-C92B-3727-E70B611983C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533400" y="360000"/>
            <a:ext cx="9257654" cy="468000"/>
          </a:xfrm>
        </p:spPr>
        <p:txBody>
          <a:bodyPr vert="horz">
            <a:noAutofit/>
          </a:bodyPr>
          <a:lstStyle/>
          <a:p>
            <a:r>
              <a:rPr lang="en-GB" sz="3200" dirty="0"/>
              <a:t>Private Capital</a:t>
            </a:r>
          </a:p>
        </p:txBody>
      </p:sp>
      <p:sp>
        <p:nvSpPr>
          <p:cNvPr id="4" name="Text Placeholder 3"/>
          <p:cNvSpPr>
            <a:spLocks noGrp="1"/>
          </p:cNvSpPr>
          <p:nvPr>
            <p:ph type="body" sz="half" idx="2"/>
          </p:nvPr>
        </p:nvSpPr>
        <p:spPr>
          <a:xfrm>
            <a:off x="533400" y="854275"/>
            <a:ext cx="9874250" cy="324000"/>
          </a:xfrm>
        </p:spPr>
        <p:txBody>
          <a:bodyPr>
            <a:normAutofit fontScale="92500"/>
          </a:bodyPr>
          <a:lstStyle/>
          <a:p>
            <a:r>
              <a:rPr lang="en-GB" sz="1800" b="1" i="0" u="none" strike="noStrike" dirty="0">
                <a:effectLst/>
                <a:latin typeface="Cambria" panose="02040503050406030204" pitchFamily="18" charset="0"/>
              </a:rPr>
              <a:t>AIR-</a:t>
            </a:r>
            <a:r>
              <a:rPr lang="en-GB" sz="1800" b="1" i="0" u="none" strike="noStrike" dirty="0" err="1">
                <a:effectLst/>
                <a:latin typeface="Cambria" panose="02040503050406030204" pitchFamily="18" charset="0"/>
              </a:rPr>
              <a:t>serv</a:t>
            </a:r>
            <a:r>
              <a:rPr lang="en-GB" sz="1800" b="1" i="0" u="none" strike="noStrike" dirty="0">
                <a:effectLst/>
                <a:latin typeface="Cambria" panose="02040503050406030204" pitchFamily="18" charset="0"/>
              </a:rPr>
              <a:t> Europe</a:t>
            </a:r>
            <a:r>
              <a:rPr lang="en-GB" sz="1800" dirty="0">
                <a:latin typeface="Cambria" panose="02040503050406030204" pitchFamily="18" charset="0"/>
              </a:rPr>
              <a:t>:</a:t>
            </a:r>
            <a:r>
              <a:rPr lang="en-GB" sz="1800" b="0" i="0" u="none" strike="noStrike" dirty="0">
                <a:effectLst/>
                <a:latin typeface="Cambria" panose="02040503050406030204" pitchFamily="18" charset="0"/>
              </a:rPr>
              <a:t> </a:t>
            </a:r>
            <a:r>
              <a:rPr lang="en-US" sz="1800" dirty="0">
                <a:latin typeface="Cambria" panose="02040503050406030204" pitchFamily="18" charset="0"/>
              </a:rPr>
              <a:t>L</a:t>
            </a:r>
            <a:r>
              <a:rPr lang="en-US" sz="1800" b="0" i="0" u="none" strike="noStrike" dirty="0">
                <a:effectLst/>
                <a:latin typeface="Cambria" panose="02040503050406030204" pitchFamily="18" charset="0"/>
              </a:rPr>
              <a:t>e</a:t>
            </a:r>
            <a:r>
              <a:rPr lang="en-US" sz="1800" dirty="0">
                <a:latin typeface="Cambria" panose="02040503050406030204" pitchFamily="18" charset="0"/>
              </a:rPr>
              <a:t>ading designer, manufacturer and operator of air, vacuum and jet wash machines </a:t>
            </a:r>
          </a:p>
          <a:p>
            <a:endParaRPr lang="en-GB" sz="1800" dirty="0"/>
          </a:p>
        </p:txBody>
      </p:sp>
      <p:sp>
        <p:nvSpPr>
          <p:cNvPr id="12" name="Slide Number Placeholder 11">
            <a:extLst>
              <a:ext uri="{FF2B5EF4-FFF2-40B4-BE49-F238E27FC236}">
                <a16:creationId xmlns:a16="http://schemas.microsoft.com/office/drawing/2014/main" id="{631349C6-AD68-B7BF-8F3F-93B9302B8A45}"/>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FCF0D39-BEE8-4D89-987A-40261FE54395}" type="slidenum">
              <a:rPr kumimoji="0" lang="en-GB" sz="1000" b="0" i="0" u="none" strike="noStrike" kern="1200" cap="none" spc="0" normalizeH="0" baseline="0" noProof="0" smtClean="0">
                <a:ln>
                  <a:noFill/>
                </a:ln>
                <a:solidFill>
                  <a:srgbClr val="4D4E53">
                    <a:lumMod val="60000"/>
                    <a:lumOff val="40000"/>
                  </a:srgbClr>
                </a:solidFill>
                <a:effectLst/>
                <a:uLnTx/>
                <a:uFillTx/>
                <a:latin typeface="Cambri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GB" sz="1000" b="0" i="0" u="none" strike="noStrike" kern="1200" cap="none" spc="0" normalizeH="0" baseline="0" noProof="0">
              <a:ln>
                <a:noFill/>
              </a:ln>
              <a:solidFill>
                <a:srgbClr val="4D4E53">
                  <a:lumMod val="60000"/>
                  <a:lumOff val="40000"/>
                </a:srgbClr>
              </a:solidFill>
              <a:effectLst/>
              <a:uLnTx/>
              <a:uFillTx/>
              <a:latin typeface="Cambria"/>
              <a:ea typeface="+mn-ea"/>
              <a:cs typeface="+mn-cs"/>
            </a:endParaRPr>
          </a:p>
        </p:txBody>
      </p:sp>
      <p:pic>
        <p:nvPicPr>
          <p:cNvPr id="3" name="Picture 2">
            <a:extLst>
              <a:ext uri="{FF2B5EF4-FFF2-40B4-BE49-F238E27FC236}">
                <a16:creationId xmlns:a16="http://schemas.microsoft.com/office/drawing/2014/main" id="{5E8A96E4-1967-0C76-5642-2FA48AE9E939}"/>
              </a:ext>
            </a:extLst>
          </p:cNvPr>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b="18747"/>
          <a:stretch/>
        </p:blipFill>
        <p:spPr bwMode="auto">
          <a:xfrm>
            <a:off x="10325162" y="901920"/>
            <a:ext cx="1352488" cy="699655"/>
          </a:xfrm>
          <a:prstGeom prst="rect">
            <a:avLst/>
          </a:prstGeom>
          <a:noFill/>
          <a:extLst>
            <a:ext uri="{909E8E84-426E-40DD-AFC4-6F175D3DCCD1}">
              <a14:hiddenFill xmlns:a14="http://schemas.microsoft.com/office/drawing/2010/main">
                <a:solidFill>
                  <a:srgbClr val="FFFFFF"/>
                </a:solidFill>
              </a14:hiddenFill>
            </a:ext>
          </a:extLst>
        </p:spPr>
      </p:pic>
      <p:sp>
        <p:nvSpPr>
          <p:cNvPr id="5" name="AutoShape 2">
            <a:extLst>
              <a:ext uri="{FF2B5EF4-FFF2-40B4-BE49-F238E27FC236}">
                <a16:creationId xmlns:a16="http://schemas.microsoft.com/office/drawing/2014/main" id="{F2B56D1E-71C0-5AAE-B31D-98E5CE2DF34F}"/>
              </a:ext>
            </a:extLst>
          </p:cNvPr>
          <p:cNvSpPr>
            <a:spLocks noChangeAspect="1" noChangeArrowheads="1"/>
          </p:cNvSpPr>
          <p:nvPr/>
        </p:nvSpPr>
        <p:spPr bwMode="auto">
          <a:xfrm>
            <a:off x="6206490" y="6751320"/>
            <a:ext cx="121853" cy="12185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D4E53"/>
              </a:solidFill>
              <a:effectLst/>
              <a:uLnTx/>
              <a:uFillTx/>
              <a:latin typeface="Cambria"/>
              <a:ea typeface="+mn-ea"/>
              <a:cs typeface="+mn-cs"/>
            </a:endParaRPr>
          </a:p>
        </p:txBody>
      </p:sp>
      <p:sp>
        <p:nvSpPr>
          <p:cNvPr id="7" name="AutoShape 6">
            <a:extLst>
              <a:ext uri="{FF2B5EF4-FFF2-40B4-BE49-F238E27FC236}">
                <a16:creationId xmlns:a16="http://schemas.microsoft.com/office/drawing/2014/main" id="{EE4808F2-B08A-CA5D-CC17-432580635B86}"/>
              </a:ext>
            </a:extLst>
          </p:cNvPr>
          <p:cNvSpPr>
            <a:spLocks noChangeAspect="1" noChangeArrowheads="1"/>
          </p:cNvSpPr>
          <p:nvPr/>
        </p:nvSpPr>
        <p:spPr bwMode="auto">
          <a:xfrm>
            <a:off x="6096000" y="3429000"/>
            <a:ext cx="3977310" cy="371555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D4E53"/>
              </a:solidFill>
              <a:effectLst/>
              <a:uLnTx/>
              <a:uFillTx/>
              <a:latin typeface="Cambria"/>
              <a:ea typeface="+mn-ea"/>
              <a:cs typeface="+mn-cs"/>
            </a:endParaRPr>
          </a:p>
        </p:txBody>
      </p:sp>
      <p:cxnSp>
        <p:nvCxnSpPr>
          <p:cNvPr id="1102" name="Straight Connector 1101">
            <a:extLst>
              <a:ext uri="{FF2B5EF4-FFF2-40B4-BE49-F238E27FC236}">
                <a16:creationId xmlns:a16="http://schemas.microsoft.com/office/drawing/2014/main" id="{AD19C747-AB05-26B4-B552-F44C24FAB09D}"/>
              </a:ext>
            </a:extLst>
          </p:cNvPr>
          <p:cNvCxnSpPr>
            <a:cxnSpLocks/>
          </p:cNvCxnSpPr>
          <p:nvPr/>
        </p:nvCxnSpPr>
        <p:spPr>
          <a:xfrm>
            <a:off x="526732" y="1238874"/>
            <a:ext cx="1340168"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graphicFrame>
        <p:nvGraphicFramePr>
          <p:cNvPr id="1157" name="Content Placeholder 10">
            <a:extLst>
              <a:ext uri="{FF2B5EF4-FFF2-40B4-BE49-F238E27FC236}">
                <a16:creationId xmlns:a16="http://schemas.microsoft.com/office/drawing/2014/main" id="{7CBE6C08-8451-753F-FCE5-D1BC3C5658B1}"/>
              </a:ext>
            </a:extLst>
          </p:cNvPr>
          <p:cNvGraphicFramePr>
            <a:graphicFrameLocks/>
          </p:cNvGraphicFramePr>
          <p:nvPr/>
        </p:nvGraphicFramePr>
        <p:xfrm>
          <a:off x="500141" y="4081528"/>
          <a:ext cx="3535812" cy="2048022"/>
        </p:xfrm>
        <a:graphic>
          <a:graphicData uri="http://schemas.openxmlformats.org/drawingml/2006/table">
            <a:tbl>
              <a:tblPr firstRow="1" bandRow="1">
                <a:tableStyleId>{5C22544A-7EE6-4342-B048-85BDC9FD1C3A}</a:tableStyleId>
              </a:tblPr>
              <a:tblGrid>
                <a:gridCol w="3535812">
                  <a:extLst>
                    <a:ext uri="{9D8B030D-6E8A-4147-A177-3AD203B41FA5}">
                      <a16:colId xmlns:a16="http://schemas.microsoft.com/office/drawing/2014/main" val="20000"/>
                    </a:ext>
                  </a:extLst>
                </a:gridCol>
              </a:tblGrid>
              <a:tr h="1477328">
                <a:tc>
                  <a:txBody>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lang="en-GB" sz="1600" b="1" kern="1200" dirty="0">
                        <a:solidFill>
                          <a:schemeClr val="tx2"/>
                        </a:solidFill>
                        <a:latin typeface="+mn-lt"/>
                        <a:ea typeface="+mn-ea"/>
                        <a:cs typeface="+mn-cs"/>
                      </a:endParaRPr>
                    </a:p>
                    <a:p>
                      <a:pPr marL="0" marR="0" lvl="0" indent="0" algn="l" defTabSz="914400" rtl="0" eaLnBrk="1" fontAlgn="auto" latinLnBrk="0" hangingPunct="1">
                        <a:lnSpc>
                          <a:spcPct val="100000"/>
                        </a:lnSpc>
                        <a:spcBef>
                          <a:spcPts val="600"/>
                        </a:spcBef>
                        <a:spcAft>
                          <a:spcPts val="0"/>
                        </a:spcAft>
                        <a:buClrTx/>
                        <a:buSzTx/>
                        <a:buFontTx/>
                        <a:buNone/>
                        <a:tabLst/>
                        <a:defRPr/>
                      </a:pPr>
                      <a:endParaRPr lang="en-GB" sz="1600" b="1" kern="1200" dirty="0">
                        <a:solidFill>
                          <a:schemeClr val="tx2"/>
                        </a:solidFill>
                        <a:latin typeface="+mn-lt"/>
                        <a:ea typeface="+mn-ea"/>
                        <a:cs typeface="+mn-cs"/>
                      </a:endParaRP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600" b="0" kern="1200" dirty="0">
                          <a:solidFill>
                            <a:srgbClr val="4D4E53"/>
                          </a:solidFill>
                          <a:latin typeface="Cambria" panose="02040503050406030204" pitchFamily="18" charset="0"/>
                          <a:ea typeface="Cambria" panose="02040503050406030204" pitchFamily="18" charset="0"/>
                          <a:cs typeface="Times New Roman" panose="02020603050405020304" pitchFamily="18" charset="0"/>
                        </a:rPr>
                        <a:t>Market leader in the supply of forecourt vending equipment</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GB" sz="1600" b="0" dirty="0">
                          <a:solidFill>
                            <a:srgbClr val="4D4E53"/>
                          </a:solidFill>
                          <a:latin typeface="Cambria" panose="02040503050406030204" pitchFamily="18" charset="0"/>
                          <a:ea typeface="Cambria" panose="02040503050406030204" pitchFamily="18" charset="0"/>
                          <a:cs typeface="Times New Roman" panose="02020603050405020304" pitchFamily="18" charset="0"/>
                        </a:rPr>
                        <a:t>Double digit growth in revenues and strong cash flow generation</a:t>
                      </a:r>
                      <a:br>
                        <a:rPr lang="en-GB" sz="1600" b="0" dirty="0">
                          <a:solidFill>
                            <a:srgbClr val="4D4E53"/>
                          </a:solidFill>
                          <a:latin typeface="Cambria" panose="02040503050406030204" pitchFamily="18" charset="0"/>
                          <a:ea typeface="Cambria" panose="02040503050406030204" pitchFamily="18" charset="0"/>
                          <a:cs typeface="Times New Roman" panose="02020603050405020304" pitchFamily="18" charset="0"/>
                        </a:rPr>
                      </a:br>
                      <a:endParaRPr lang="en-GB" sz="1600" b="0" dirty="0">
                        <a:solidFill>
                          <a:srgbClr val="4D4E53"/>
                        </a:solidFill>
                        <a:latin typeface="Cambria" panose="02040503050406030204" pitchFamily="18" charset="0"/>
                        <a:ea typeface="Cambria" panose="02040503050406030204" pitchFamily="18" charset="0"/>
                        <a:cs typeface="Times New Roman" panose="02020603050405020304" pitchFamily="18" charset="0"/>
                      </a:endParaRPr>
                    </a:p>
                  </a:txBody>
                  <a:tcPr marL="112542" marR="112542" marT="56271" marB="56271">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rgbClr val="C3AC78">
                        <a:alpha val="10196"/>
                      </a:srgbClr>
                    </a:solidFill>
                  </a:tcPr>
                </a:tc>
                <a:extLst>
                  <a:ext uri="{0D108BD9-81ED-4DB2-BD59-A6C34878D82A}">
                    <a16:rowId xmlns:a16="http://schemas.microsoft.com/office/drawing/2014/main" val="1233479539"/>
                  </a:ext>
                </a:extLst>
              </a:tr>
            </a:tbl>
          </a:graphicData>
        </a:graphic>
      </p:graphicFrame>
      <p:graphicFrame>
        <p:nvGraphicFramePr>
          <p:cNvPr id="1158" name="Content Placeholder 10">
            <a:extLst>
              <a:ext uri="{FF2B5EF4-FFF2-40B4-BE49-F238E27FC236}">
                <a16:creationId xmlns:a16="http://schemas.microsoft.com/office/drawing/2014/main" id="{97720D5D-1EBC-C5D8-24D8-AA8011AAE7D7}"/>
              </a:ext>
            </a:extLst>
          </p:cNvPr>
          <p:cNvGraphicFramePr>
            <a:graphicFrameLocks/>
          </p:cNvGraphicFramePr>
          <p:nvPr/>
        </p:nvGraphicFramePr>
        <p:xfrm>
          <a:off x="8165320" y="4067714"/>
          <a:ext cx="3535812" cy="2048023"/>
        </p:xfrm>
        <a:graphic>
          <a:graphicData uri="http://schemas.openxmlformats.org/drawingml/2006/table">
            <a:tbl>
              <a:tblPr firstRow="1" bandRow="1">
                <a:tableStyleId>{5C22544A-7EE6-4342-B048-85BDC9FD1C3A}</a:tableStyleId>
              </a:tblPr>
              <a:tblGrid>
                <a:gridCol w="3535812">
                  <a:extLst>
                    <a:ext uri="{9D8B030D-6E8A-4147-A177-3AD203B41FA5}">
                      <a16:colId xmlns:a16="http://schemas.microsoft.com/office/drawing/2014/main" val="20000"/>
                    </a:ext>
                  </a:extLst>
                </a:gridCol>
              </a:tblGrid>
              <a:tr h="204802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600" b="1" kern="1200" dirty="0">
                        <a:solidFill>
                          <a:schemeClr val="tx2"/>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600" b="1" kern="1200" dirty="0">
                        <a:solidFill>
                          <a:schemeClr val="tx2"/>
                        </a:solidFill>
                        <a:latin typeface="+mn-lt"/>
                        <a:ea typeface="+mn-ea"/>
                        <a:cs typeface="+mn-cs"/>
                      </a:endParaRP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GB" sz="1600" b="0" kern="1200" dirty="0">
                          <a:solidFill>
                            <a:srgbClr val="4D4E53"/>
                          </a:solidFill>
                          <a:latin typeface="Cambria" panose="02040503050406030204" pitchFamily="18" charset="0"/>
                          <a:ea typeface="Cambria" panose="02040503050406030204" pitchFamily="18" charset="0"/>
                          <a:cs typeface="Times New Roman" panose="02020603050405020304" pitchFamily="18" charset="0"/>
                        </a:rPr>
                        <a:t>Experienced industry operators</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GB" sz="1600" b="0" kern="1200" dirty="0">
                          <a:solidFill>
                            <a:srgbClr val="4D4E53"/>
                          </a:solidFill>
                          <a:latin typeface="Cambria" panose="02040503050406030204" pitchFamily="18" charset="0"/>
                          <a:ea typeface="Cambria" panose="02040503050406030204" pitchFamily="18" charset="0"/>
                          <a:cs typeface="Times New Roman" panose="02020603050405020304" pitchFamily="18" charset="0"/>
                        </a:rPr>
                        <a:t>Strong alignment of interest</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endParaRPr lang="en-GB" sz="1600" b="1" kern="1200" dirty="0">
                        <a:solidFill>
                          <a:schemeClr val="tx2"/>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600" b="1" kern="1200" dirty="0">
                        <a:solidFill>
                          <a:schemeClr val="tx2"/>
                        </a:solidFill>
                        <a:latin typeface="+mn-lt"/>
                        <a:ea typeface="+mn-ea"/>
                        <a:cs typeface="+mn-cs"/>
                      </a:endParaRPr>
                    </a:p>
                  </a:txBody>
                  <a:tcPr marL="112542" marR="112542" marT="56271" marB="56271">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rgbClr val="C3AC78">
                        <a:alpha val="10196"/>
                      </a:srgbClr>
                    </a:solidFill>
                  </a:tcPr>
                </a:tc>
                <a:extLst>
                  <a:ext uri="{0D108BD9-81ED-4DB2-BD59-A6C34878D82A}">
                    <a16:rowId xmlns:a16="http://schemas.microsoft.com/office/drawing/2014/main" val="1233479539"/>
                  </a:ext>
                </a:extLst>
              </a:tr>
            </a:tbl>
          </a:graphicData>
        </a:graphic>
      </p:graphicFrame>
      <p:graphicFrame>
        <p:nvGraphicFramePr>
          <p:cNvPr id="1159" name="Content Placeholder 10">
            <a:extLst>
              <a:ext uri="{FF2B5EF4-FFF2-40B4-BE49-F238E27FC236}">
                <a16:creationId xmlns:a16="http://schemas.microsoft.com/office/drawing/2014/main" id="{9078BDC2-B744-2422-387F-C3E67BB8BD49}"/>
              </a:ext>
            </a:extLst>
          </p:cNvPr>
          <p:cNvGraphicFramePr>
            <a:graphicFrameLocks/>
          </p:cNvGraphicFramePr>
          <p:nvPr/>
        </p:nvGraphicFramePr>
        <p:xfrm>
          <a:off x="4331482" y="4067715"/>
          <a:ext cx="3535812" cy="2048022"/>
        </p:xfrm>
        <a:graphic>
          <a:graphicData uri="http://schemas.openxmlformats.org/drawingml/2006/table">
            <a:tbl>
              <a:tblPr firstRow="1" bandRow="1">
                <a:tableStyleId>{5C22544A-7EE6-4342-B048-85BDC9FD1C3A}</a:tableStyleId>
              </a:tblPr>
              <a:tblGrid>
                <a:gridCol w="3535812">
                  <a:extLst>
                    <a:ext uri="{9D8B030D-6E8A-4147-A177-3AD203B41FA5}">
                      <a16:colId xmlns:a16="http://schemas.microsoft.com/office/drawing/2014/main" val="20000"/>
                    </a:ext>
                  </a:extLst>
                </a:gridCol>
              </a:tblGrid>
              <a:tr h="147732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600" b="1" kern="1200" dirty="0">
                        <a:solidFill>
                          <a:schemeClr val="tx2"/>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600" b="1" kern="1200" dirty="0">
                        <a:solidFill>
                          <a:schemeClr val="tx2"/>
                        </a:solidFill>
                        <a:latin typeface="+mn-lt"/>
                        <a:ea typeface="+mn-ea"/>
                        <a:cs typeface="+mn-cs"/>
                      </a:endParaRP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GB" sz="1600" b="0" kern="1200" dirty="0">
                          <a:solidFill>
                            <a:srgbClr val="4D4E53"/>
                          </a:solidFill>
                          <a:latin typeface="Cambria" panose="02040503050406030204" pitchFamily="18" charset="0"/>
                          <a:ea typeface="Cambria" panose="02040503050406030204" pitchFamily="18" charset="0"/>
                          <a:cs typeface="Times New Roman" panose="02020603050405020304" pitchFamily="18" charset="0"/>
                        </a:rPr>
                        <a:t>Opportunity for growth in existing markets and new geographies</a:t>
                      </a:r>
                    </a:p>
                    <a:p>
                      <a:pPr marL="0" marR="0" lvl="0" indent="0" algn="l" defTabSz="914400" rtl="0" eaLnBrk="1" fontAlgn="auto" latinLnBrk="0" hangingPunct="1">
                        <a:lnSpc>
                          <a:spcPct val="100000"/>
                        </a:lnSpc>
                        <a:spcBef>
                          <a:spcPts val="600"/>
                        </a:spcBef>
                        <a:spcAft>
                          <a:spcPts val="0"/>
                        </a:spcAft>
                        <a:buClrTx/>
                        <a:buSzTx/>
                        <a:buFontTx/>
                        <a:buNone/>
                        <a:tabLst/>
                        <a:defRPr/>
                      </a:pPr>
                      <a:endParaRPr lang="en-GB" sz="1600" b="1" kern="1200" dirty="0">
                        <a:solidFill>
                          <a:schemeClr val="tx2"/>
                        </a:solidFill>
                        <a:latin typeface="+mn-lt"/>
                        <a:ea typeface="+mn-ea"/>
                        <a:cs typeface="+mn-cs"/>
                      </a:endParaRPr>
                    </a:p>
                    <a:p>
                      <a:pPr marL="0" marR="0" lvl="0" indent="0" algn="l" defTabSz="914400" rtl="0" eaLnBrk="1" fontAlgn="auto" latinLnBrk="0" hangingPunct="1">
                        <a:lnSpc>
                          <a:spcPct val="100000"/>
                        </a:lnSpc>
                        <a:spcBef>
                          <a:spcPts val="600"/>
                        </a:spcBef>
                        <a:spcAft>
                          <a:spcPts val="0"/>
                        </a:spcAft>
                        <a:buClrTx/>
                        <a:buSzTx/>
                        <a:buFontTx/>
                        <a:buNone/>
                        <a:tabLst/>
                        <a:defRPr/>
                      </a:pPr>
                      <a:br>
                        <a:rPr lang="en-GB" sz="1600" b="1" kern="1200" dirty="0">
                          <a:solidFill>
                            <a:schemeClr val="tx2"/>
                          </a:solidFill>
                          <a:latin typeface="+mn-lt"/>
                          <a:ea typeface="+mn-ea"/>
                          <a:cs typeface="+mn-cs"/>
                        </a:rPr>
                      </a:br>
                      <a:endParaRPr lang="en-GB" sz="1600" b="1" kern="1200" dirty="0">
                        <a:solidFill>
                          <a:schemeClr val="tx2"/>
                        </a:solidFill>
                        <a:latin typeface="+mn-lt"/>
                        <a:ea typeface="+mn-ea"/>
                        <a:cs typeface="+mn-cs"/>
                      </a:endParaRPr>
                    </a:p>
                  </a:txBody>
                  <a:tcPr marL="112542" marR="112542" marT="56271" marB="56271">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rgbClr val="C3AC78">
                        <a:alpha val="10196"/>
                      </a:srgbClr>
                    </a:solidFill>
                  </a:tcPr>
                </a:tc>
                <a:extLst>
                  <a:ext uri="{0D108BD9-81ED-4DB2-BD59-A6C34878D82A}">
                    <a16:rowId xmlns:a16="http://schemas.microsoft.com/office/drawing/2014/main" val="1233479539"/>
                  </a:ext>
                </a:extLst>
              </a:tr>
            </a:tbl>
          </a:graphicData>
        </a:graphic>
      </p:graphicFrame>
      <p:sp>
        <p:nvSpPr>
          <p:cNvPr id="1160" name="TextBox 1159">
            <a:extLst>
              <a:ext uri="{FF2B5EF4-FFF2-40B4-BE49-F238E27FC236}">
                <a16:creationId xmlns:a16="http://schemas.microsoft.com/office/drawing/2014/main" id="{A4C13787-26AE-01D6-CB24-0015CD6FBB6E}"/>
              </a:ext>
            </a:extLst>
          </p:cNvPr>
          <p:cNvSpPr txBox="1"/>
          <p:nvPr/>
        </p:nvSpPr>
        <p:spPr>
          <a:xfrm>
            <a:off x="920219" y="4071579"/>
            <a:ext cx="3066776"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002868"/>
                </a:solidFill>
                <a:effectLst/>
                <a:uLnTx/>
                <a:uFillTx/>
                <a:latin typeface="Cambria"/>
                <a:ea typeface="+mn-ea"/>
                <a:cs typeface="+mn-cs"/>
              </a:rPr>
              <a:t>Strong market position and fundamentals</a:t>
            </a:r>
          </a:p>
        </p:txBody>
      </p:sp>
      <p:sp>
        <p:nvSpPr>
          <p:cNvPr id="1161" name="TextBox 1160">
            <a:extLst>
              <a:ext uri="{FF2B5EF4-FFF2-40B4-BE49-F238E27FC236}">
                <a16:creationId xmlns:a16="http://schemas.microsoft.com/office/drawing/2014/main" id="{3B8B9B3B-22D6-DFE5-A19E-F7A662119F49}"/>
              </a:ext>
            </a:extLst>
          </p:cNvPr>
          <p:cNvSpPr txBox="1"/>
          <p:nvPr/>
        </p:nvSpPr>
        <p:spPr>
          <a:xfrm>
            <a:off x="4805156" y="4142302"/>
            <a:ext cx="3787145"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002868"/>
                </a:solidFill>
                <a:effectLst/>
                <a:uLnTx/>
                <a:uFillTx/>
                <a:latin typeface="Cambria"/>
                <a:ea typeface="+mn-ea"/>
                <a:cs typeface="+mn-cs"/>
              </a:rPr>
              <a:t>Attractive underlying market</a:t>
            </a:r>
          </a:p>
        </p:txBody>
      </p:sp>
      <p:pic>
        <p:nvPicPr>
          <p:cNvPr id="1162" name="Graphic 1161" descr="Bar graph with upward trend outline">
            <a:extLst>
              <a:ext uri="{FF2B5EF4-FFF2-40B4-BE49-F238E27FC236}">
                <a16:creationId xmlns:a16="http://schemas.microsoft.com/office/drawing/2014/main" id="{766DCAAE-138B-CF09-F710-BDE6C9FB4C41}"/>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50066" y="4102944"/>
            <a:ext cx="457995" cy="450000"/>
          </a:xfrm>
          <a:prstGeom prst="rect">
            <a:avLst/>
          </a:prstGeom>
        </p:spPr>
      </p:pic>
      <p:pic>
        <p:nvPicPr>
          <p:cNvPr id="1163" name="Graphic 1162" descr="Bullseye outline">
            <a:extLst>
              <a:ext uri="{FF2B5EF4-FFF2-40B4-BE49-F238E27FC236}">
                <a16:creationId xmlns:a16="http://schemas.microsoft.com/office/drawing/2014/main" id="{1D03FD52-2C8B-BCD5-BD34-B9CDA6C118DF}"/>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4371184" y="4102942"/>
            <a:ext cx="450000" cy="450000"/>
          </a:xfrm>
          <a:prstGeom prst="rect">
            <a:avLst/>
          </a:prstGeom>
        </p:spPr>
      </p:pic>
      <p:sp>
        <p:nvSpPr>
          <p:cNvPr id="1164" name="TextBox 1163">
            <a:extLst>
              <a:ext uri="{FF2B5EF4-FFF2-40B4-BE49-F238E27FC236}">
                <a16:creationId xmlns:a16="http://schemas.microsoft.com/office/drawing/2014/main" id="{90979D89-D34E-30C7-47EF-B0DA6B78BEA5}"/>
              </a:ext>
            </a:extLst>
          </p:cNvPr>
          <p:cNvSpPr txBox="1"/>
          <p:nvPr/>
        </p:nvSpPr>
        <p:spPr>
          <a:xfrm>
            <a:off x="8776926" y="4142302"/>
            <a:ext cx="3535812"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002868"/>
                </a:solidFill>
                <a:effectLst/>
                <a:uLnTx/>
                <a:uFillTx/>
                <a:latin typeface="Cambria"/>
                <a:ea typeface="+mn-ea"/>
                <a:cs typeface="+mn-cs"/>
              </a:rPr>
              <a:t>Well managed with strong alignment</a:t>
            </a:r>
          </a:p>
        </p:txBody>
      </p:sp>
      <p:pic>
        <p:nvPicPr>
          <p:cNvPr id="1165" name="Graphic 1164" descr="Boardroom outline">
            <a:extLst>
              <a:ext uri="{FF2B5EF4-FFF2-40B4-BE49-F238E27FC236}">
                <a16:creationId xmlns:a16="http://schemas.microsoft.com/office/drawing/2014/main" id="{B5064532-4A91-6A38-51B5-467F6AFFC363}"/>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8246123" y="4102942"/>
            <a:ext cx="450000" cy="450000"/>
          </a:xfrm>
          <a:prstGeom prst="rect">
            <a:avLst/>
          </a:prstGeom>
        </p:spPr>
      </p:pic>
      <p:cxnSp>
        <p:nvCxnSpPr>
          <p:cNvPr id="1166" name="Straight Connector 1165">
            <a:extLst>
              <a:ext uri="{FF2B5EF4-FFF2-40B4-BE49-F238E27FC236}">
                <a16:creationId xmlns:a16="http://schemas.microsoft.com/office/drawing/2014/main" id="{F20ECBB0-290C-2933-3A37-4D0A6F4E345B}"/>
              </a:ext>
            </a:extLst>
          </p:cNvPr>
          <p:cNvCxnSpPr>
            <a:cxnSpLocks/>
          </p:cNvCxnSpPr>
          <p:nvPr/>
        </p:nvCxnSpPr>
        <p:spPr>
          <a:xfrm>
            <a:off x="507761" y="4081528"/>
            <a:ext cx="3528192"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70" name="Straight Connector 1169">
            <a:extLst>
              <a:ext uri="{FF2B5EF4-FFF2-40B4-BE49-F238E27FC236}">
                <a16:creationId xmlns:a16="http://schemas.microsoft.com/office/drawing/2014/main" id="{A67D505B-5546-1778-3FCD-CBF9635DCC76}"/>
              </a:ext>
            </a:extLst>
          </p:cNvPr>
          <p:cNvCxnSpPr>
            <a:cxnSpLocks/>
          </p:cNvCxnSpPr>
          <p:nvPr/>
        </p:nvCxnSpPr>
        <p:spPr>
          <a:xfrm>
            <a:off x="4330461" y="4068828"/>
            <a:ext cx="3528192"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71" name="Straight Connector 1170">
            <a:extLst>
              <a:ext uri="{FF2B5EF4-FFF2-40B4-BE49-F238E27FC236}">
                <a16:creationId xmlns:a16="http://schemas.microsoft.com/office/drawing/2014/main" id="{C3E9E107-8EC9-C52D-D98B-6615EC5E6D16}"/>
              </a:ext>
            </a:extLst>
          </p:cNvPr>
          <p:cNvCxnSpPr>
            <a:cxnSpLocks/>
          </p:cNvCxnSpPr>
          <p:nvPr/>
        </p:nvCxnSpPr>
        <p:spPr>
          <a:xfrm>
            <a:off x="8165861" y="4068828"/>
            <a:ext cx="3528192"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0DFC8CBA-B256-1A59-EC02-A617B8B80DDE}"/>
              </a:ext>
            </a:extLst>
          </p:cNvPr>
          <p:cNvSpPr txBox="1"/>
          <p:nvPr/>
        </p:nvSpPr>
        <p:spPr>
          <a:xfrm>
            <a:off x="6826610" y="1952222"/>
            <a:ext cx="1573200"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4D4E53"/>
                </a:solidFill>
                <a:effectLst/>
                <a:uLnTx/>
                <a:uFillTx/>
                <a:latin typeface="Cambria"/>
                <a:ea typeface="+mn-ea"/>
                <a:cs typeface="+mn-cs"/>
              </a:rPr>
              <a:t>Air, Vacuum &amp; </a:t>
            </a:r>
            <a:br>
              <a:rPr kumimoji="0" lang="en-GB" sz="1200" b="1" i="0" u="none" strike="noStrike" kern="1200" cap="none" spc="0" normalizeH="0" baseline="0" noProof="0" dirty="0">
                <a:ln>
                  <a:noFill/>
                </a:ln>
                <a:solidFill>
                  <a:srgbClr val="4D4E53"/>
                </a:solidFill>
                <a:effectLst/>
                <a:uLnTx/>
                <a:uFillTx/>
                <a:latin typeface="Cambria"/>
                <a:ea typeface="+mn-ea"/>
                <a:cs typeface="+mn-cs"/>
              </a:rPr>
            </a:br>
            <a:r>
              <a:rPr kumimoji="0" lang="en-GB" sz="1200" b="1" i="0" u="none" strike="noStrike" kern="1200" cap="none" spc="0" normalizeH="0" baseline="0" noProof="0" dirty="0">
                <a:ln>
                  <a:noFill/>
                </a:ln>
                <a:solidFill>
                  <a:srgbClr val="4D4E53"/>
                </a:solidFill>
                <a:effectLst/>
                <a:uLnTx/>
                <a:uFillTx/>
                <a:latin typeface="Cambria"/>
                <a:ea typeface="+mn-ea"/>
                <a:cs typeface="+mn-cs"/>
              </a:rPr>
              <a:t>Fragrance</a:t>
            </a:r>
            <a:endParaRPr kumimoji="0" lang="en-US" sz="1050" b="1" i="0" u="none" strike="noStrike" kern="1200" cap="none" spc="0" normalizeH="0" baseline="0" noProof="0" dirty="0">
              <a:ln>
                <a:noFill/>
              </a:ln>
              <a:solidFill>
                <a:srgbClr val="4D4E53"/>
              </a:solidFill>
              <a:effectLst/>
              <a:uLnTx/>
              <a:uFillTx/>
              <a:latin typeface="Cambria"/>
              <a:ea typeface="+mn-ea"/>
              <a:cs typeface="+mn-cs"/>
            </a:endParaRPr>
          </a:p>
        </p:txBody>
      </p:sp>
      <p:pic>
        <p:nvPicPr>
          <p:cNvPr id="8" name="Picture 7" descr="A picture containing text, indoor&#10;&#10;Description automatically generated">
            <a:extLst>
              <a:ext uri="{FF2B5EF4-FFF2-40B4-BE49-F238E27FC236}">
                <a16:creationId xmlns:a16="http://schemas.microsoft.com/office/drawing/2014/main" id="{8B2BC631-884C-D5A1-88F3-B9B1CA6166C1}"/>
              </a:ext>
            </a:extLst>
          </p:cNvPr>
          <p:cNvPicPr>
            <a:picLocks noChangeAspect="1"/>
          </p:cNvPicPr>
          <p:nvPr>
            <p:custDataLst>
              <p:tags r:id="rId2"/>
            </p:custDataLst>
          </p:nvPr>
        </p:nvPicPr>
        <p:blipFill>
          <a:blip r:embed="rId17"/>
          <a:stretch>
            <a:fillRect/>
          </a:stretch>
        </p:blipFill>
        <p:spPr>
          <a:xfrm>
            <a:off x="6800614" y="2457150"/>
            <a:ext cx="1500983" cy="1253589"/>
          </a:xfrm>
          <a:prstGeom prst="rect">
            <a:avLst/>
          </a:prstGeom>
        </p:spPr>
      </p:pic>
      <p:sp>
        <p:nvSpPr>
          <p:cNvPr id="9" name="TextBox 8">
            <a:extLst>
              <a:ext uri="{FF2B5EF4-FFF2-40B4-BE49-F238E27FC236}">
                <a16:creationId xmlns:a16="http://schemas.microsoft.com/office/drawing/2014/main" id="{28D4F5CA-6CF7-1A5A-0BAF-C477807D0BE6}"/>
              </a:ext>
            </a:extLst>
          </p:cNvPr>
          <p:cNvSpPr txBox="1"/>
          <p:nvPr>
            <p:custDataLst>
              <p:tags r:id="rId3"/>
            </p:custDataLst>
          </p:nvPr>
        </p:nvSpPr>
        <p:spPr>
          <a:xfrm>
            <a:off x="5307957" y="1952222"/>
            <a:ext cx="1573200"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4D4E53"/>
                </a:solidFill>
                <a:effectLst/>
                <a:uLnTx/>
                <a:uFillTx/>
                <a:latin typeface="Cambria"/>
                <a:ea typeface="+mn-ea"/>
                <a:cs typeface="+mn-cs"/>
              </a:rPr>
              <a:t>Standard Air</a:t>
            </a:r>
            <a:endParaRPr kumimoji="0" lang="en-US" sz="1050" b="1" i="0" u="none" strike="noStrike" kern="1200" cap="none" spc="0" normalizeH="0" baseline="0" noProof="0" dirty="0">
              <a:ln>
                <a:noFill/>
              </a:ln>
              <a:solidFill>
                <a:srgbClr val="4D4E53"/>
              </a:solidFill>
              <a:effectLst/>
              <a:uLnTx/>
              <a:uFillTx/>
              <a:latin typeface="Cambria"/>
              <a:ea typeface="+mn-ea"/>
              <a:cs typeface="+mn-cs"/>
            </a:endParaRPr>
          </a:p>
        </p:txBody>
      </p:sp>
      <p:pic>
        <p:nvPicPr>
          <p:cNvPr id="11" name="Picture 10">
            <a:extLst>
              <a:ext uri="{FF2B5EF4-FFF2-40B4-BE49-F238E27FC236}">
                <a16:creationId xmlns:a16="http://schemas.microsoft.com/office/drawing/2014/main" id="{BE286A2A-A23C-77B0-C215-4DFAD4D9430B}"/>
              </a:ext>
            </a:extLst>
          </p:cNvPr>
          <p:cNvPicPr>
            <a:picLocks noChangeAspect="1"/>
          </p:cNvPicPr>
          <p:nvPr/>
        </p:nvPicPr>
        <p:blipFill>
          <a:blip r:embed="rId18"/>
          <a:stretch>
            <a:fillRect/>
          </a:stretch>
        </p:blipFill>
        <p:spPr>
          <a:xfrm>
            <a:off x="5634044" y="2431112"/>
            <a:ext cx="674508" cy="1305665"/>
          </a:xfrm>
          <a:prstGeom prst="rect">
            <a:avLst/>
          </a:prstGeom>
        </p:spPr>
      </p:pic>
      <p:sp>
        <p:nvSpPr>
          <p:cNvPr id="14" name="TextBox 13">
            <a:extLst>
              <a:ext uri="{FF2B5EF4-FFF2-40B4-BE49-F238E27FC236}">
                <a16:creationId xmlns:a16="http://schemas.microsoft.com/office/drawing/2014/main" id="{72724B64-FC64-ADA4-FDB2-4A1BCEE2D8D7}"/>
              </a:ext>
            </a:extLst>
          </p:cNvPr>
          <p:cNvSpPr txBox="1"/>
          <p:nvPr>
            <p:custDataLst>
              <p:tags r:id="rId4"/>
            </p:custDataLst>
          </p:nvPr>
        </p:nvSpPr>
        <p:spPr>
          <a:xfrm>
            <a:off x="8370688" y="1952222"/>
            <a:ext cx="1573200"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4D4E53"/>
                </a:solidFill>
                <a:effectLst/>
                <a:uLnTx/>
                <a:uFillTx/>
                <a:latin typeface="Cambria"/>
                <a:ea typeface="+mn-ea"/>
                <a:cs typeface="+mn-cs"/>
              </a:rPr>
              <a:t>Twin Jet Wash</a:t>
            </a:r>
            <a:endParaRPr kumimoji="0" lang="en-US" sz="1200" b="1" i="0" u="none" strike="noStrike" kern="1200" cap="none" spc="0" normalizeH="0" baseline="0" noProof="0" dirty="0">
              <a:ln>
                <a:noFill/>
              </a:ln>
              <a:solidFill>
                <a:srgbClr val="4D4E53"/>
              </a:solidFill>
              <a:effectLst/>
              <a:uLnTx/>
              <a:uFillTx/>
              <a:latin typeface="Cambria"/>
              <a:ea typeface="+mn-ea"/>
              <a:cs typeface="+mn-cs"/>
            </a:endParaRPr>
          </a:p>
        </p:txBody>
      </p:sp>
      <p:pic>
        <p:nvPicPr>
          <p:cNvPr id="15" name="Picture 14" descr="Text&#10;&#10;Description automatically generated with low confidence">
            <a:extLst>
              <a:ext uri="{FF2B5EF4-FFF2-40B4-BE49-F238E27FC236}">
                <a16:creationId xmlns:a16="http://schemas.microsoft.com/office/drawing/2014/main" id="{4460CF07-EBC6-71D8-9096-53F0AD1E2F41}"/>
              </a:ext>
            </a:extLst>
          </p:cNvPr>
          <p:cNvPicPr>
            <a:picLocks noChangeAspect="1"/>
          </p:cNvPicPr>
          <p:nvPr/>
        </p:nvPicPr>
        <p:blipFill>
          <a:blip r:embed="rId19"/>
          <a:stretch>
            <a:fillRect/>
          </a:stretch>
        </p:blipFill>
        <p:spPr>
          <a:xfrm>
            <a:off x="8697626" y="2367288"/>
            <a:ext cx="978571" cy="1433312"/>
          </a:xfrm>
          <a:prstGeom prst="rect">
            <a:avLst/>
          </a:prstGeom>
        </p:spPr>
      </p:pic>
      <p:sp>
        <p:nvSpPr>
          <p:cNvPr id="17" name="TextBox 16">
            <a:extLst>
              <a:ext uri="{FF2B5EF4-FFF2-40B4-BE49-F238E27FC236}">
                <a16:creationId xmlns:a16="http://schemas.microsoft.com/office/drawing/2014/main" id="{E98674A6-02FE-E5D9-7463-8B45B2B6B2A2}"/>
              </a:ext>
            </a:extLst>
          </p:cNvPr>
          <p:cNvSpPr txBox="1"/>
          <p:nvPr/>
        </p:nvSpPr>
        <p:spPr>
          <a:xfrm>
            <a:off x="10015640" y="1952222"/>
            <a:ext cx="1573200"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4D4E53"/>
                </a:solidFill>
                <a:effectLst/>
                <a:uLnTx/>
                <a:uFillTx/>
                <a:latin typeface="Cambria"/>
                <a:ea typeface="+mn-ea"/>
                <a:cs typeface="+mn-cs"/>
              </a:rPr>
              <a:t>Deluxe Light </a:t>
            </a:r>
            <a:br>
              <a:rPr kumimoji="0" lang="en-GB" sz="1200" b="1" i="0" u="none" strike="noStrike" kern="1200" cap="none" spc="0" normalizeH="0" baseline="0" noProof="0" dirty="0">
                <a:ln>
                  <a:noFill/>
                </a:ln>
                <a:solidFill>
                  <a:srgbClr val="4D4E53"/>
                </a:solidFill>
                <a:effectLst/>
                <a:uLnTx/>
                <a:uFillTx/>
                <a:latin typeface="Cambria"/>
                <a:ea typeface="+mn-ea"/>
                <a:cs typeface="+mn-cs"/>
              </a:rPr>
            </a:br>
            <a:r>
              <a:rPr kumimoji="0" lang="en-GB" sz="1200" b="1" i="0" u="none" strike="noStrike" kern="1200" cap="none" spc="0" normalizeH="0" baseline="0" noProof="0" dirty="0">
                <a:ln>
                  <a:noFill/>
                </a:ln>
                <a:solidFill>
                  <a:srgbClr val="4D4E53"/>
                </a:solidFill>
                <a:effectLst/>
                <a:uLnTx/>
                <a:uFillTx/>
                <a:latin typeface="Cambria"/>
                <a:ea typeface="+mn-ea"/>
                <a:cs typeface="+mn-cs"/>
              </a:rPr>
              <a:t>Jet Wash</a:t>
            </a:r>
            <a:endParaRPr kumimoji="0" lang="en-US" sz="1200" b="1" i="0" u="none" strike="noStrike" kern="1200" cap="none" spc="0" normalizeH="0" baseline="0" noProof="0" dirty="0">
              <a:ln>
                <a:noFill/>
              </a:ln>
              <a:solidFill>
                <a:srgbClr val="4D4E53"/>
              </a:solidFill>
              <a:effectLst/>
              <a:uLnTx/>
              <a:uFillTx/>
              <a:latin typeface="Cambria"/>
              <a:ea typeface="+mn-ea"/>
              <a:cs typeface="+mn-cs"/>
            </a:endParaRPr>
          </a:p>
        </p:txBody>
      </p:sp>
      <p:pic>
        <p:nvPicPr>
          <p:cNvPr id="18" name="Picture 17" descr="A picture containing text, appliance, kitchen appliance&#10;&#10;Description automatically generated">
            <a:extLst>
              <a:ext uri="{FF2B5EF4-FFF2-40B4-BE49-F238E27FC236}">
                <a16:creationId xmlns:a16="http://schemas.microsoft.com/office/drawing/2014/main" id="{655DF82F-48C2-7669-C878-FE7F448F2645}"/>
              </a:ext>
            </a:extLst>
          </p:cNvPr>
          <p:cNvPicPr>
            <a:picLocks noChangeAspect="1"/>
          </p:cNvPicPr>
          <p:nvPr>
            <p:custDataLst>
              <p:tags r:id="rId5"/>
            </p:custDataLst>
          </p:nvPr>
        </p:nvPicPr>
        <p:blipFill>
          <a:blip r:embed="rId20"/>
          <a:stretch>
            <a:fillRect/>
          </a:stretch>
        </p:blipFill>
        <p:spPr>
          <a:xfrm>
            <a:off x="10325934" y="2265854"/>
            <a:ext cx="1040118" cy="1636181"/>
          </a:xfrm>
          <a:prstGeom prst="rect">
            <a:avLst/>
          </a:prstGeom>
        </p:spPr>
      </p:pic>
      <p:sp>
        <p:nvSpPr>
          <p:cNvPr id="31" name="TextBox 30">
            <a:extLst>
              <a:ext uri="{FF2B5EF4-FFF2-40B4-BE49-F238E27FC236}">
                <a16:creationId xmlns:a16="http://schemas.microsoft.com/office/drawing/2014/main" id="{6A2722B5-502A-755D-BD47-B4B122F02F59}"/>
              </a:ext>
            </a:extLst>
          </p:cNvPr>
          <p:cNvSpPr txBox="1"/>
          <p:nvPr/>
        </p:nvSpPr>
        <p:spPr>
          <a:xfrm>
            <a:off x="493339" y="1960864"/>
            <a:ext cx="3877845" cy="16312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srgbClr val="002868"/>
                </a:solidFill>
                <a:effectLst/>
                <a:uLnTx/>
                <a:uFillTx/>
                <a:latin typeface="Cambria" panose="02040503050406030204" pitchFamily="18" charset="0"/>
                <a:ea typeface="Cambria" panose="02040503050406030204" pitchFamily="18" charset="0"/>
                <a:cs typeface="Times New Roman" panose="02020603050405020304" pitchFamily="18" charset="0"/>
              </a:rPr>
              <a:t>Serves a large and embedded customer base of fuel station forecourt operators across the UK and Western Europe </a:t>
            </a:r>
            <a:endParaRPr kumimoji="0" lang="en-GB" sz="2000" b="1" i="0" u="none" strike="noStrike" kern="1200" cap="none" spc="0" normalizeH="0" baseline="0" noProof="0" dirty="0">
              <a:ln>
                <a:noFill/>
              </a:ln>
              <a:solidFill>
                <a:srgbClr val="002868"/>
              </a:solidFill>
              <a:effectLst/>
              <a:uLnTx/>
              <a:uFillTx/>
              <a:latin typeface="Cambri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1" i="0" u="none" strike="noStrike" kern="1200" cap="none" spc="0" normalizeH="0" baseline="0" noProof="0" dirty="0">
              <a:ln>
                <a:noFill/>
              </a:ln>
              <a:solidFill>
                <a:srgbClr val="002868"/>
              </a:solidFill>
              <a:effectLst/>
              <a:uLnTx/>
              <a:uFillTx/>
              <a:latin typeface="Cambria"/>
              <a:ea typeface="+mn-ea"/>
              <a:cs typeface="+mn-cs"/>
            </a:endParaRPr>
          </a:p>
        </p:txBody>
      </p:sp>
      <p:sp>
        <p:nvSpPr>
          <p:cNvPr id="13" name="TextBox 12">
            <a:extLst>
              <a:ext uri="{FF2B5EF4-FFF2-40B4-BE49-F238E27FC236}">
                <a16:creationId xmlns:a16="http://schemas.microsoft.com/office/drawing/2014/main" id="{5D3B3208-B440-8597-FF55-597145E0CCB6}"/>
              </a:ext>
            </a:extLst>
          </p:cNvPr>
          <p:cNvSpPr txBox="1"/>
          <p:nvPr/>
        </p:nvSpPr>
        <p:spPr>
          <a:xfrm>
            <a:off x="457609" y="6368534"/>
            <a:ext cx="6122894" cy="338554"/>
          </a:xfrm>
          <a:prstGeom prst="rect">
            <a:avLst/>
          </a:prstGeom>
          <a:noFill/>
        </p:spPr>
        <p:txBody>
          <a:bodyPr wrap="square">
            <a:spAutoFit/>
          </a:bodyPr>
          <a:lstStyle/>
          <a:p>
            <a:r>
              <a:rPr lang="en-US" sz="800" dirty="0">
                <a:solidFill>
                  <a:schemeClr val="tx1"/>
                </a:solidFill>
                <a:latin typeface="Cambria" panose="02040503050406030204" pitchFamily="18" charset="0"/>
                <a:ea typeface="Cambria" panose="02040503050406030204" pitchFamily="18" charset="0"/>
              </a:rPr>
              <a:t>Past performance is not a reliable indicator of future results</a:t>
            </a:r>
          </a:p>
          <a:p>
            <a:r>
              <a:rPr lang="en-US" sz="800" dirty="0">
                <a:latin typeface="Cambria" panose="02040503050406030204" pitchFamily="18" charset="0"/>
                <a:ea typeface="Cambria" panose="02040503050406030204" pitchFamily="18" charset="0"/>
              </a:rPr>
              <a:t>Caledonia financial information at 31 March 2025</a:t>
            </a:r>
            <a:endParaRPr lang="en-GB" sz="800" dirty="0"/>
          </a:p>
        </p:txBody>
      </p:sp>
    </p:spTree>
    <p:extLst>
      <p:ext uri="{BB962C8B-B14F-4D97-AF65-F5344CB8AC3E}">
        <p14:creationId xmlns:p14="http://schemas.microsoft.com/office/powerpoint/2010/main" val="139042951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LEFT" val="272.3225"/>
  <p:tag name="TOP" val="271.9875"/>
</p:tagLst>
</file>

<file path=ppt/tags/tag11.xml><?xml version="1.0" encoding="utf-8"?>
<p:tagLst xmlns:a="http://schemas.openxmlformats.org/drawingml/2006/main" xmlns:r="http://schemas.openxmlformats.org/officeDocument/2006/relationships" xmlns:p="http://schemas.openxmlformats.org/presentationml/2006/main">
  <p:tag name="WIDTH" val="35.2011795043945"/>
  <p:tag name="HEIGHT" val="67.1393737792969"/>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AFSPANMODE" val="span"/>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AFSPANMODE" val="span"/>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WIDTH" val="35.2011795043945"/>
  <p:tag name="HEIGHT" val="67.1393737792969"/>
  <p:tag name="LEFT" val="234.4182"/>
  <p:tag name="TOP" val="160.3517"/>
</p:tagLst>
</file>

<file path=ppt/tags/tag9.xml><?xml version="1.0" encoding="utf-8"?>
<p:tagLst xmlns:a="http://schemas.openxmlformats.org/drawingml/2006/main" xmlns:r="http://schemas.openxmlformats.org/officeDocument/2006/relationships" xmlns:p="http://schemas.openxmlformats.org/presentationml/2006/main">
  <p:tag name="LEFT" val="272.3225"/>
  <p:tag name="TOP" val="271.9875"/>
</p:tagLst>
</file>

<file path=ppt/theme/theme1.xml><?xml version="1.0" encoding="utf-8"?>
<a:theme xmlns:a="http://schemas.openxmlformats.org/drawingml/2006/main" name="Office Theme">
  <a:themeElements>
    <a:clrScheme name="Caledonia Theme Colours 30-03-23">
      <a:dk1>
        <a:srgbClr val="4D4E53"/>
      </a:dk1>
      <a:lt1>
        <a:srgbClr val="FFFFFF"/>
      </a:lt1>
      <a:dk2>
        <a:srgbClr val="002868"/>
      </a:dk2>
      <a:lt2>
        <a:srgbClr val="D8D8D8"/>
      </a:lt2>
      <a:accent1>
        <a:srgbClr val="C3AC78"/>
      </a:accent1>
      <a:accent2>
        <a:srgbClr val="863478"/>
      </a:accent2>
      <a:accent3>
        <a:srgbClr val="247E74"/>
      </a:accent3>
      <a:accent4>
        <a:srgbClr val="2C92CB"/>
      </a:accent4>
      <a:accent5>
        <a:srgbClr val="9DC31A"/>
      </a:accent5>
      <a:accent6>
        <a:srgbClr val="AF5746"/>
      </a:accent6>
      <a:hlink>
        <a:srgbClr val="000000"/>
      </a:hlink>
      <a:folHlink>
        <a:srgbClr val="4D4E53"/>
      </a:folHlink>
    </a:clrScheme>
    <a:fontScheme name="CI">
      <a:majorFont>
        <a:latin typeface="Cambria"/>
        <a:ea typeface=""/>
        <a:cs typeface=""/>
      </a:majorFont>
      <a:minorFont>
        <a:latin typeface="Cambria"/>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aledonia_Presentation Template_DMv3.pptx  -  Read-Only" id="{B72BA0F5-2995-419F-91C5-865CC2CC2C8B}" vid="{19F4422A-179A-43C4-98B6-9604D67BF3E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f6a7b3ec-a24f-41ef-a8a9-9d61296d1180" xsi:nil="true"/>
    <lcf76f155ced4ddcb4097134ff3c332f xmlns="3abad3e3-1cb3-42ab-bdc2-e550d2136f83">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D0BC6AC6A777054283E7377454A72C9A" ma:contentTypeVersion="17" ma:contentTypeDescription="Create a new document." ma:contentTypeScope="" ma:versionID="6c6750f759cc96f968d82fb0c503b60e">
  <xsd:schema xmlns:xsd="http://www.w3.org/2001/XMLSchema" xmlns:xs="http://www.w3.org/2001/XMLSchema" xmlns:p="http://schemas.microsoft.com/office/2006/metadata/properties" xmlns:ns2="3abad3e3-1cb3-42ab-bdc2-e550d2136f83" xmlns:ns3="f6a7b3ec-a24f-41ef-a8a9-9d61296d1180" targetNamespace="http://schemas.microsoft.com/office/2006/metadata/properties" ma:root="true" ma:fieldsID="b188818bed7cdf02eb004baf5347cc6a" ns2:_="" ns3:_="">
    <xsd:import namespace="3abad3e3-1cb3-42ab-bdc2-e550d2136f83"/>
    <xsd:import namespace="f6a7b3ec-a24f-41ef-a8a9-9d61296d1180"/>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lcf76f155ced4ddcb4097134ff3c332f" minOccurs="0"/>
                <xsd:element ref="ns3:TaxCatchAll" minOccurs="0"/>
                <xsd:element ref="ns2:MediaServiceDateTaken" minOccurs="0"/>
                <xsd:element ref="ns2:MediaServiceLocation" minOccurs="0"/>
                <xsd:element ref="ns2:MediaServiceGenerationTime" minOccurs="0"/>
                <xsd:element ref="ns2:MediaServiceEventHashCode" minOccurs="0"/>
                <xsd:element ref="ns2:MediaLengthInSeconds" minOccurs="0"/>
                <xsd:element ref="ns3:SharedWithUsers" minOccurs="0"/>
                <xsd:element ref="ns3:SharedWithDetails" minOccurs="0"/>
                <xsd:element ref="ns2:MediaServiceSearchProperties" minOccurs="0"/>
                <xsd:element ref="ns2:MediaServiceOCR"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abad3e3-1cb3-42ab-bdc2-e550d2136f8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lcf76f155ced4ddcb4097134ff3c332f" ma:index="12" nillable="true" ma:taxonomy="true" ma:internalName="lcf76f155ced4ddcb4097134ff3c332f" ma:taxonomyFieldName="MediaServiceImageTags" ma:displayName="Image Tags" ma:readOnly="false" ma:fieldId="{5cf76f15-5ced-4ddc-b409-7134ff3c332f}" ma:taxonomyMulti="true" ma:sspId="71452da2-da94-4045-bdb5-58da990be826" ma:termSetId="09814cd3-568e-fe90-9814-8d621ff8fb84" ma:anchorId="fba54fb3-c3e1-fe81-a776-ca4b69148c4d" ma:open="true" ma:isKeyword="false">
      <xsd:complexType>
        <xsd:sequence>
          <xsd:element ref="pc:Terms" minOccurs="0" maxOccurs="1"/>
        </xsd:sequence>
      </xsd:complex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Location" ma:index="15" nillable="true" ma:displayName="Location" ma:indexed="true" ma:internalName="MediaServiceLocatio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element name="MediaServiceSearchProperties" ma:index="21" nillable="true" ma:displayName="MediaServiceSearchProperties" ma:hidden="true" ma:internalName="MediaServiceSearchProperties" ma:readOnly="true">
      <xsd:simpleType>
        <xsd:restriction base="dms:Note"/>
      </xsd:simpleType>
    </xsd:element>
    <xsd:element name="MediaServiceOCR" ma:index="22" nillable="true" ma:displayName="Extracted Text" ma:internalName="MediaServiceOCR" ma:readOnly="true">
      <xsd:simpleType>
        <xsd:restriction base="dms:Note">
          <xsd:maxLength value="255"/>
        </xsd:restriction>
      </xsd:simpleType>
    </xsd:element>
    <xsd:element name="MediaServiceBillingMetadata" ma:index="23"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f6a7b3ec-a24f-41ef-a8a9-9d61296d1180" elementFormDefault="qualified">
    <xsd:import namespace="http://schemas.microsoft.com/office/2006/documentManagement/types"/>
    <xsd:import namespace="http://schemas.microsoft.com/office/infopath/2007/PartnerControls"/>
    <xsd:element name="TaxCatchAll" ma:index="13" nillable="true" ma:displayName="Taxonomy Catch All Column" ma:hidden="true" ma:list="{7edb1c2b-44f9-45c3-b900-7fb9939850a9}" ma:internalName="TaxCatchAll" ma:showField="CatchAllData" ma:web="f6a7b3ec-a24f-41ef-a8a9-9d61296d1180">
      <xsd:complexType>
        <xsd:complexContent>
          <xsd:extension base="dms:MultiChoiceLookup">
            <xsd:sequence>
              <xsd:element name="Value" type="dms:Lookup" maxOccurs="unbounded" minOccurs="0" nillable="true"/>
            </xsd:sequence>
          </xsd:extension>
        </xsd:complexContent>
      </xsd:complexType>
    </xsd:element>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DF5A4FE-3B64-4CEC-A13C-BFA986A5E1B3}">
  <ds:schemaRefs>
    <ds:schemaRef ds:uri="http://schemas.microsoft.com/office/2006/documentManagement/types"/>
    <ds:schemaRef ds:uri="http://purl.org/dc/dcmitype/"/>
    <ds:schemaRef ds:uri="http://www.w3.org/XML/1998/namespace"/>
    <ds:schemaRef ds:uri="1039e27a-1a2d-45df-9b0d-15361db345e5"/>
    <ds:schemaRef ds:uri="http://purl.org/dc/elements/1.1/"/>
    <ds:schemaRef ds:uri="http://schemas.openxmlformats.org/package/2006/metadata/core-properties"/>
    <ds:schemaRef ds:uri="http://purl.org/dc/terms/"/>
    <ds:schemaRef ds:uri="http://schemas.microsoft.com/office/infopath/2007/PartnerControls"/>
    <ds:schemaRef ds:uri="eefda3e1-1b13-4332-b965-431304d97ad5"/>
    <ds:schemaRef ds:uri="http://schemas.microsoft.com/office/2006/metadata/properties"/>
    <ds:schemaRef ds:uri="f6a7b3ec-a24f-41ef-a8a9-9d61296d1180"/>
    <ds:schemaRef ds:uri="3abad3e3-1cb3-42ab-bdc2-e550d2136f83"/>
  </ds:schemaRefs>
</ds:datastoreItem>
</file>

<file path=customXml/itemProps2.xml><?xml version="1.0" encoding="utf-8"?>
<ds:datastoreItem xmlns:ds="http://schemas.openxmlformats.org/officeDocument/2006/customXml" ds:itemID="{EC0F3E2C-F982-4DB4-9F21-7FB6C34E803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abad3e3-1cb3-42ab-bdc2-e550d2136f83"/>
    <ds:schemaRef ds:uri="f6a7b3ec-a24f-41ef-a8a9-9d61296d118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90650E5-24B5-4587-9980-7EA50F28947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Caledonia_Presentation Template_DMv3</Template>
  <TotalTime>501</TotalTime>
  <Words>2207</Words>
  <Application>Microsoft Office PowerPoint</Application>
  <PresentationFormat>Widescreen</PresentationFormat>
  <Paragraphs>301</Paragraphs>
  <Slides>15</Slides>
  <Notes>5</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5</vt:i4>
      </vt:variant>
    </vt:vector>
  </HeadingPairs>
  <TitlesOfParts>
    <vt:vector size="21" baseType="lpstr">
      <vt:lpstr>Arial</vt:lpstr>
      <vt:lpstr>Calibri</vt:lpstr>
      <vt:lpstr>Cambria</vt:lpstr>
      <vt:lpstr>Times New Roman</vt:lpstr>
      <vt:lpstr>Office Theme</vt:lpstr>
      <vt:lpstr>think-cell Slide</vt:lpstr>
      <vt:lpstr>Time Well Invested</vt:lpstr>
      <vt:lpstr>Cautionary statement</vt:lpstr>
      <vt:lpstr>Caledonia</vt:lpstr>
      <vt:lpstr>Time well invested</vt:lpstr>
      <vt:lpstr>The power of long-term compounding returns</vt:lpstr>
      <vt:lpstr>We are driven by fundamentals</vt:lpstr>
      <vt:lpstr>Public Companies</vt:lpstr>
      <vt:lpstr>Public Companies (cont’d)</vt:lpstr>
      <vt:lpstr>Private Capital</vt:lpstr>
      <vt:lpstr>Private Capital (cont’d)</vt:lpstr>
      <vt:lpstr>KLH Capital</vt:lpstr>
      <vt:lpstr>KLH Capital</vt:lpstr>
      <vt:lpstr>Our strategy has driven long-term performance</vt:lpstr>
      <vt:lpstr>Why Caledonia</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structions</dc:title>
  <dc:creator>Laura Houghton</dc:creator>
  <cp:lastModifiedBy>Bex Hughes</cp:lastModifiedBy>
  <cp:revision>32</cp:revision>
  <cp:lastPrinted>2023-11-16T13:28:02Z</cp:lastPrinted>
  <dcterms:created xsi:type="dcterms:W3CDTF">2023-09-12T09:08:29Z</dcterms:created>
  <dcterms:modified xsi:type="dcterms:W3CDTF">2025-05-21T13:34: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0BC6AC6A777054283E7377454A72C9A</vt:lpwstr>
  </property>
  <property fmtid="{D5CDD505-2E9C-101B-9397-08002B2CF9AE}" pid="3" name="MediaServiceImageTags">
    <vt:lpwstr/>
  </property>
</Properties>
</file>